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1.xml" ContentType="application/vnd.openxmlformats-officedocument.presentationml.slide+xml"/>
  <Override PartName="/ppt/slides/slide16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5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7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ppt/tags/tag8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9.xml" ContentType="application/vnd.openxmlformats-officedocument.presentationml.tags+xml"/>
  <Override PartName="/ppt/tags/tag13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7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671" r:id="rId2"/>
    <p:sldMasterId id="2147483684" r:id="rId3"/>
  </p:sldMasterIdLst>
  <p:notesMasterIdLst>
    <p:notesMasterId r:id="rId22"/>
  </p:notesMasterIdLst>
  <p:handoutMasterIdLst>
    <p:handoutMasterId r:id="rId23"/>
  </p:handoutMasterIdLst>
  <p:sldIdLst>
    <p:sldId id="352" r:id="rId4"/>
    <p:sldId id="373" r:id="rId5"/>
    <p:sldId id="355" r:id="rId6"/>
    <p:sldId id="363" r:id="rId7"/>
    <p:sldId id="376" r:id="rId8"/>
    <p:sldId id="392" r:id="rId9"/>
    <p:sldId id="360" r:id="rId10"/>
    <p:sldId id="389" r:id="rId11"/>
    <p:sldId id="391" r:id="rId12"/>
    <p:sldId id="387" r:id="rId13"/>
    <p:sldId id="388" r:id="rId14"/>
    <p:sldId id="390" r:id="rId15"/>
    <p:sldId id="374" r:id="rId16"/>
    <p:sldId id="379" r:id="rId17"/>
    <p:sldId id="378" r:id="rId18"/>
    <p:sldId id="383" r:id="rId19"/>
    <p:sldId id="384" r:id="rId20"/>
    <p:sldId id="385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4032" userDrawn="1">
          <p15:clr>
            <a:srgbClr val="A4A3A4"/>
          </p15:clr>
        </p15:guide>
        <p15:guide id="6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anda Rehker" initials="AR" lastIdx="1" clrIdx="0">
    <p:extLst>
      <p:ext uri="{19B8F6BF-5375-455C-9EA6-DF929625EA0E}">
        <p15:presenceInfo xmlns:p15="http://schemas.microsoft.com/office/powerpoint/2012/main" userId="S-1-5-21-1275210071-1078145449-725345543-496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8D6F8"/>
    <a:srgbClr val="79232E"/>
    <a:srgbClr val="C9E1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01" autoAdjust="0"/>
    <p:restoredTop sz="93800" autoAdjust="0"/>
  </p:normalViewPr>
  <p:slideViewPr>
    <p:cSldViewPr snapToGrid="0" snapToObjects="1">
      <p:cViewPr varScale="1">
        <p:scale>
          <a:sx n="117" d="100"/>
          <a:sy n="117" d="100"/>
        </p:scale>
        <p:origin x="278" y="67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160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647" y="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customXml" Target="../customXml/item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23A9BAA-7895-C244-A2F2-566B6DCDD8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EE0F18B-8F73-8E42-A269-341E50F1204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86C306-3403-DD4F-9A5E-E0DBE86DE9D2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2CA91-41A0-514A-9224-8DF93B9249F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81157B-218A-6440-84F4-8F92C811327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5BA005-1AB9-F747-8EA5-BA259D3F97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9696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6D8D4B-380E-4547-B05B-1BCB28DA2136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11969C-FC0F-CC47-B600-A70D72F320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476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C29C57B-050C-594C-A1E9-31CFFA7C06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064666" y="5489114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258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36" userDrawn="1">
          <p15:clr>
            <a:srgbClr val="FBAE40"/>
          </p15:clr>
        </p15:guide>
        <p15:guide id="2" orient="horz" pos="278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079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11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037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277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36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631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415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4825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1002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4" y="6464919"/>
            <a:ext cx="2232192" cy="371001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357239" y="6585678"/>
            <a:ext cx="4464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>
                <a:solidFill>
                  <a:schemeClr val="bg1"/>
                </a:solidFill>
              </a:rPr>
              <a:t>Integr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Commitmen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Humil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Respec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 </a:t>
            </a:r>
            <a:r>
              <a:rPr lang="en-US" sz="1400" b="0" dirty="0" smtClean="0">
                <a:solidFill>
                  <a:schemeClr val="bg1"/>
                </a:solidFill>
              </a:rPr>
              <a:t>Optimism</a:t>
            </a:r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652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46D947-639D-CF47-A96F-79A23C79A6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3852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>
              <a:defRPr sz="2400"/>
            </a:lvl2pPr>
            <a:lvl3pPr>
              <a:defRPr sz="2000" baseline="0"/>
            </a:lvl3pPr>
          </a:lstStyle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fld id="{20DD0A89-8628-43ED-96CC-3EE338E42DD9}" type="datetime1">
              <a:rPr lang="en-US" smtClean="0"/>
              <a:t>10/7/2023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8386" y="644683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4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EBB9CB1D-BE26-EE4A-A75C-165C47044F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43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12C7C016-412F-4D45-84DB-BB076A59B426}"/>
              </a:ext>
            </a:extLst>
          </p:cNvPr>
          <p:cNvGrpSpPr/>
          <p:nvPr userDrawn="1"/>
        </p:nvGrpSpPr>
        <p:grpSpPr>
          <a:xfrm>
            <a:off x="0" y="6400800"/>
            <a:ext cx="12192000" cy="457200"/>
            <a:chOff x="0" y="6400800"/>
            <a:chExt cx="12192000" cy="4572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ACB58EF-B72A-E34E-8C7D-EC7DFB7B9A35}"/>
                </a:ext>
              </a:extLst>
            </p:cNvPr>
            <p:cNvSpPr/>
            <p:nvPr/>
          </p:nvSpPr>
          <p:spPr>
            <a:xfrm>
              <a:off x="0" y="6400800"/>
              <a:ext cx="12192000" cy="457200"/>
            </a:xfrm>
            <a:prstGeom prst="rect">
              <a:avLst/>
            </a:prstGeom>
            <a:solidFill>
              <a:srgbClr val="000000">
                <a:alpha val="74902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7C1BE6E-BF16-724A-BD33-67E564389E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35576" y="6507237"/>
              <a:ext cx="1542978" cy="2579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9130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912">
          <p15:clr>
            <a:srgbClr val="FBAE40"/>
          </p15:clr>
        </p15:guide>
        <p15:guide id="3" orient="horz" pos="37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7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1" y="1577340"/>
            <a:ext cx="530352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1824">
              <a:lnSpc>
                <a:spcPts val="1336"/>
              </a:lnSpc>
            </a:pPr>
            <a:r>
              <a:rPr lang="en-US" spc="-251" dirty="0" smtClean="0"/>
              <a:t>C</a:t>
            </a:r>
            <a:r>
              <a:rPr lang="en-US" spc="-37" dirty="0" smtClean="0"/>
              <a:t>o</a:t>
            </a:r>
            <a:r>
              <a:rPr lang="en-US" spc="-42" dirty="0" smtClean="0"/>
              <a:t>mm</a:t>
            </a:r>
            <a:r>
              <a:rPr lang="en-US" spc="-9" dirty="0" smtClean="0"/>
              <a:t>i</a:t>
            </a:r>
            <a:r>
              <a:rPr lang="en-US" spc="70" dirty="0" smtClean="0"/>
              <a:t>t</a:t>
            </a:r>
            <a:r>
              <a:rPr lang="en-US" spc="-79" dirty="0" smtClean="0"/>
              <a:t>m</a:t>
            </a:r>
            <a:r>
              <a:rPr lang="en-US" spc="-51" dirty="0" smtClean="0"/>
              <a:t>e</a:t>
            </a:r>
            <a:r>
              <a:rPr lang="en-US" spc="-61" dirty="0" smtClean="0"/>
              <a:t>n</a:t>
            </a:r>
            <a:r>
              <a:rPr lang="en-US" spc="74" dirty="0" smtClean="0"/>
              <a:t>t</a:t>
            </a:r>
            <a:endParaRPr lang="en-US" spc="74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11824">
              <a:lnSpc>
                <a:spcPts val="1336"/>
              </a:lnSpc>
            </a:pPr>
            <a:r>
              <a:rPr lang="en-US" spc="-98" dirty="0" smtClean="0"/>
              <a:t>H</a:t>
            </a:r>
            <a:r>
              <a:rPr lang="en-US" spc="-84" dirty="0" smtClean="0"/>
              <a:t>u</a:t>
            </a:r>
            <a:r>
              <a:rPr lang="en-US" spc="-51" dirty="0" smtClean="0"/>
              <a:t>m</a:t>
            </a:r>
            <a:r>
              <a:rPr lang="en-US" spc="9" dirty="0" smtClean="0"/>
              <a:t>ili</a:t>
            </a:r>
            <a:r>
              <a:rPr lang="en-US" spc="70" dirty="0" smtClean="0"/>
              <a:t>t</a:t>
            </a:r>
            <a:r>
              <a:rPr lang="en-US" spc="-61" dirty="0" smtClean="0"/>
              <a:t>y</a:t>
            </a:r>
            <a:endParaRPr lang="en-US" spc="-61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03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592959">
              <a:lnSpc>
                <a:spcPts val="1299"/>
              </a:lnSpc>
            </a:pPr>
            <a:r>
              <a:rPr lang="en-US" spc="-190" dirty="0" smtClean="0"/>
              <a:t>P</a:t>
            </a:r>
            <a:r>
              <a:rPr lang="en-US" spc="-135" dirty="0" smtClean="0"/>
              <a:t>a</a:t>
            </a:r>
            <a:r>
              <a:rPr lang="en-US" spc="-126" dirty="0" smtClean="0"/>
              <a:t>g</a:t>
            </a:r>
            <a:r>
              <a:rPr lang="en-US" spc="-74" dirty="0" smtClean="0"/>
              <a:t>e</a:t>
            </a:r>
            <a:r>
              <a:rPr lang="en-US" spc="-65" dirty="0" smtClean="0"/>
              <a:t> </a:t>
            </a:r>
            <a:fld id="{81D60167-4931-47E6-BA6A-407CBD079E47}" type="slidenum">
              <a:rPr spc="-65" smtClean="0"/>
              <a:pPr marL="592959">
                <a:lnSpc>
                  <a:spcPts val="1299"/>
                </a:lnSpc>
              </a:pPr>
              <a:t>‹#›</a:t>
            </a:fld>
            <a:endParaRPr spc="-65" dirty="0" smtClean="0"/>
          </a:p>
          <a:p>
            <a:pPr marL="11824">
              <a:lnSpc>
                <a:spcPts val="1196"/>
              </a:lnSpc>
            </a:pPr>
            <a:r>
              <a:rPr sz="1024" spc="-126" dirty="0" smtClean="0"/>
              <a:t>T</a:t>
            </a:r>
            <a:r>
              <a:rPr sz="1024" spc="-37" dirty="0" smtClean="0"/>
              <a:t>ran</a:t>
            </a:r>
            <a:r>
              <a:rPr sz="1024" spc="-112" dirty="0" smtClean="0"/>
              <a:t>s</a:t>
            </a:r>
            <a:r>
              <a:rPr sz="1024" spc="56" dirty="0" smtClean="0"/>
              <a:t>t</a:t>
            </a:r>
            <a:r>
              <a:rPr sz="1024" spc="-47" dirty="0" smtClean="0"/>
              <a:t>a</a:t>
            </a:r>
            <a:r>
              <a:rPr sz="1024" spc="-23" dirty="0" smtClean="0"/>
              <a:t>r</a:t>
            </a:r>
            <a:r>
              <a:rPr sz="1024" spc="-74" dirty="0" smtClean="0"/>
              <a:t> </a:t>
            </a:r>
            <a:r>
              <a:rPr sz="1024" spc="-200" dirty="0" smtClean="0"/>
              <a:t>C</a:t>
            </a:r>
            <a:r>
              <a:rPr sz="1024" spc="-23" dirty="0" smtClean="0"/>
              <a:t>o</a:t>
            </a:r>
            <a:r>
              <a:rPr sz="1024" spc="-37" dirty="0" smtClean="0"/>
              <a:t>n</a:t>
            </a:r>
            <a:r>
              <a:rPr sz="1024" spc="-5" dirty="0" smtClean="0"/>
              <a:t>fid</a:t>
            </a:r>
            <a:r>
              <a:rPr sz="1024" spc="-61" dirty="0" smtClean="0"/>
              <a:t>e</a:t>
            </a:r>
            <a:r>
              <a:rPr sz="1024" spc="-37" dirty="0" smtClean="0"/>
              <a:t>n</a:t>
            </a:r>
            <a:r>
              <a:rPr sz="1024" spc="56" dirty="0" smtClean="0"/>
              <a:t>t</a:t>
            </a:r>
            <a:r>
              <a:rPr sz="1024" spc="-28" dirty="0" smtClean="0"/>
              <a:t>ial</a:t>
            </a:r>
            <a:endParaRPr sz="1024" dirty="0"/>
          </a:p>
        </p:txBody>
      </p:sp>
    </p:spTree>
    <p:extLst>
      <p:ext uri="{BB962C8B-B14F-4D97-AF65-F5344CB8AC3E}">
        <p14:creationId xmlns:p14="http://schemas.microsoft.com/office/powerpoint/2010/main" val="775232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5B3081-3EA6-1543-86ED-0CD8E5929A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963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1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1289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946D947-639D-CF47-A96F-79A23C79A6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59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5DDE644-5D7E-5048-8AF8-B69CB751C3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99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C242323-236A-BD41-A660-1AFB433A7F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BFD82E-2B8B-5048-9094-661DF3E440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7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17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90E1E1E-E268-334B-868A-5CCF0FDBB1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93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B604C56-46DD-584E-8725-1FEC5914BF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55158" y="3155218"/>
            <a:ext cx="3275951" cy="54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163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663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3582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8837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11" imgW="404" imgH="405" progId="TCLayout.ActiveDocument.1">
                  <p:embed/>
                </p:oleObj>
              </mc:Choice>
              <mc:Fallback>
                <p:oleObj name="think-cell Slide" r:id="rId11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104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0" r:id="rId2"/>
    <p:sldLayoutId id="2147483667" r:id="rId3"/>
    <p:sldLayoutId id="2147483669" r:id="rId4"/>
    <p:sldLayoutId id="2147483666" r:id="rId5"/>
    <p:sldLayoutId id="2147483665" r:id="rId6"/>
    <p:sldLayoutId id="2147483668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all" baseline="0">
          <a:solidFill>
            <a:schemeClr val="tx1"/>
          </a:solidFill>
          <a:latin typeface="Oswald" panose="02000503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" userDrawn="1">
          <p15:clr>
            <a:srgbClr val="F26B43"/>
          </p15:clr>
        </p15:guide>
        <p15:guide id="2" orient="horz" pos="4032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orient="horz" pos="288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3984" userDrawn="1">
          <p15:clr>
            <a:srgbClr val="F26B43"/>
          </p15:clr>
        </p15:guide>
        <p15:guide id="7" pos="3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00158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Slide" r:id="rId15" imgW="404" imgH="405" progId="TCLayout.ActiveDocument.1">
                  <p:embed/>
                </p:oleObj>
              </mc:Choice>
              <mc:Fallback>
                <p:oleObj name="think-cell Slide" r:id="rId15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479E73-34FC-439F-B09D-0CA489FDAC37}" type="datetimeFigureOut">
              <a:rPr lang="en-US" smtClean="0"/>
              <a:t>10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05214-D4C5-4316-8D5D-65017F8CDC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3304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66185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6753" y="973375"/>
            <a:ext cx="11520239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994471" y="6666778"/>
            <a:ext cx="2349927" cy="1944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88386" y="644683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56754" y="731520"/>
            <a:ext cx="11843657" cy="0"/>
          </a:xfrm>
          <a:prstGeom prst="line">
            <a:avLst/>
          </a:prstGeom>
          <a:ln w="317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4" y="6464919"/>
            <a:ext cx="2232192" cy="371001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2357239" y="6585678"/>
            <a:ext cx="44644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smtClean="0">
                <a:solidFill>
                  <a:schemeClr val="bg1"/>
                </a:solidFill>
              </a:rPr>
              <a:t>Integr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Commitmen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Humility</a:t>
            </a:r>
            <a:r>
              <a:rPr lang="en-US" sz="1400" b="0" baseline="0" dirty="0" smtClean="0">
                <a:solidFill>
                  <a:schemeClr val="bg1"/>
                </a:solidFill>
              </a:rPr>
              <a:t> |</a:t>
            </a:r>
            <a:r>
              <a:rPr lang="en-US" sz="1400" b="0" dirty="0" smtClean="0">
                <a:solidFill>
                  <a:schemeClr val="bg1"/>
                </a:solidFill>
              </a:rPr>
              <a:t> Respect</a:t>
            </a:r>
            <a:r>
              <a:rPr lang="en-US" sz="1400" b="0" baseline="0" dirty="0" smtClean="0">
                <a:solidFill>
                  <a:schemeClr val="bg1"/>
                </a:solidFill>
              </a:rPr>
              <a:t> | </a:t>
            </a:r>
            <a:r>
              <a:rPr lang="en-US" sz="1400" b="0" dirty="0" smtClean="0">
                <a:solidFill>
                  <a:schemeClr val="bg1"/>
                </a:solidFill>
              </a:rPr>
              <a:t>Optimism</a:t>
            </a:r>
            <a:endParaRPr lang="en-US" sz="14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7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0070C0"/>
        </a:buClr>
        <a:buFont typeface="Courier New" panose="02070309020205020404" pitchFamily="49" charset="0"/>
        <a:buChar char="o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png"/><Relationship Id="rId9" Type="http://schemas.openxmlformats.org/officeDocument/2006/relationships/image" Target="../media/image17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1.emf"/><Relationship Id="rId10" Type="http://schemas.openxmlformats.org/officeDocument/2006/relationships/image" Target="../media/image8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hyperlink" Target="http://www.transtar1.com/cor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GR@Transtar1.com" TargetMode="External"/><Relationship Id="rId7" Type="http://schemas.openxmlformats.org/officeDocument/2006/relationships/image" Target="../media/image101.png"/><Relationship Id="rId2" Type="http://schemas.openxmlformats.org/officeDocument/2006/relationships/hyperlink" Target="mailto:jreville@transtar1.com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0.png"/><Relationship Id="rId5" Type="http://schemas.openxmlformats.org/officeDocument/2006/relationships/hyperlink" Target="mailto:nmiele@transtar1.com" TargetMode="External"/><Relationship Id="rId4" Type="http://schemas.openxmlformats.org/officeDocument/2006/relationships/hyperlink" Target="mailto:mmelaragno@Transtar1.com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transend.us/" TargetMode="Externa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4.jpg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png"/><Relationship Id="rId18" Type="http://schemas.openxmlformats.org/officeDocument/2006/relationships/image" Target="../media/image55.png"/><Relationship Id="rId26" Type="http://schemas.openxmlformats.org/officeDocument/2006/relationships/image" Target="../media/image63.pn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34" Type="http://schemas.openxmlformats.org/officeDocument/2006/relationships/image" Target="../media/image71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2" Type="http://schemas.openxmlformats.org/officeDocument/2006/relationships/image" Target="../media/image39.png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32" Type="http://schemas.openxmlformats.org/officeDocument/2006/relationships/image" Target="../media/image69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28" Type="http://schemas.openxmlformats.org/officeDocument/2006/relationships/image" Target="../media/image65.png"/><Relationship Id="rId36" Type="http://schemas.openxmlformats.org/officeDocument/2006/relationships/image" Target="../media/image73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31" Type="http://schemas.openxmlformats.org/officeDocument/2006/relationships/image" Target="../media/image68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Relationship Id="rId27" Type="http://schemas.openxmlformats.org/officeDocument/2006/relationships/image" Target="../media/image64.png"/><Relationship Id="rId30" Type="http://schemas.openxmlformats.org/officeDocument/2006/relationships/image" Target="../media/image67.png"/><Relationship Id="rId35" Type="http://schemas.openxmlformats.org/officeDocument/2006/relationships/image" Target="../media/image72.png"/><Relationship Id="rId8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7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transend.us/" TargetMode="External"/><Relationship Id="rId5" Type="http://schemas.openxmlformats.org/officeDocument/2006/relationships/image" Target="../media/image1.emf"/><Relationship Id="rId10" Type="http://schemas.openxmlformats.org/officeDocument/2006/relationships/hyperlink" Target="mailto:GR@Transtar1.com" TargetMode="External"/><Relationship Id="rId4" Type="http://schemas.openxmlformats.org/officeDocument/2006/relationships/oleObject" Target="../embeddings/oleObject6.bin"/><Relationship Id="rId9" Type="http://schemas.openxmlformats.org/officeDocument/2006/relationships/hyperlink" Target="mailto:jreville@Transtar1.com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hyperlink" Target="https://cdn.jwplayer.com/previews/XpPZSvxD-K8fwWdbc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hyperlink" Target="https://cdn.jwplayer.com/previews/1F8gJEb8-K8fwWdbc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utdoor object, honeycomb&#10;&#10;Description automatically generate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4964" y="4325112"/>
            <a:ext cx="2327036" cy="1923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4307" y="501256"/>
            <a:ext cx="10876267" cy="3823855"/>
          </a:xfrm>
        </p:spPr>
        <p:txBody>
          <a:bodyPr vert="horz" anchor="b" anchorCtr="0">
            <a:normAutofit/>
          </a:bodyPr>
          <a:lstStyle/>
          <a:p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Transtar Overview</a:t>
            </a:r>
            <a:b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sz="6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	 </a:t>
            </a:r>
            <a:r>
              <a:rPr lang="en-US" sz="5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ike </a:t>
            </a:r>
            <a:r>
              <a:rPr lang="en-US" sz="5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Melaragno</a:t>
            </a:r>
            <a:endParaRPr lang="en-US" sz="5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821617"/>
            <a:ext cx="10058400" cy="930826"/>
          </a:xfrm>
        </p:spPr>
        <p:txBody>
          <a:bodyPr>
            <a:normAutofit/>
          </a:bodyPr>
          <a:lstStyle/>
          <a:p>
            <a:pPr algn="ctr"/>
            <a:r>
              <a:rPr lang="en-US" sz="2200" dirty="0" smtClean="0"/>
              <a:t> </a:t>
            </a:r>
            <a:r>
              <a:rPr lang="en-US" sz="2200" dirty="0" smtClean="0"/>
              <a:t>OCT</a:t>
            </a:r>
            <a:r>
              <a:rPr lang="en-US" sz="2200" dirty="0" smtClean="0"/>
              <a:t> </a:t>
            </a:r>
            <a:r>
              <a:rPr lang="en-US" sz="2200" dirty="0" smtClean="0"/>
              <a:t>2023 </a:t>
            </a:r>
            <a:r>
              <a:rPr lang="en-US" sz="2200" dirty="0" smtClean="0"/>
              <a:t>MDA Regional meeting – Woburn, MA</a:t>
            </a:r>
            <a:endParaRPr lang="en-US" sz="2200" dirty="0" smtClean="0"/>
          </a:p>
        </p:txBody>
      </p:sp>
      <p:pic>
        <p:nvPicPr>
          <p:cNvPr id="14" name="Picture 6" descr="Transtar Industries | Facebook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131" y="501255"/>
            <a:ext cx="2223083" cy="222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6524" y="1075128"/>
            <a:ext cx="5850147" cy="107533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6524" y="5226449"/>
            <a:ext cx="2097024" cy="950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r Conditioning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34" y="823655"/>
            <a:ext cx="8262722" cy="480208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672251" y="1940917"/>
            <a:ext cx="350084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en-US" dirty="0" smtClean="0"/>
              <a:t>A/C Lifetime Warranty –</a:t>
            </a:r>
          </a:p>
          <a:p>
            <a:pPr lvl="2"/>
            <a:r>
              <a:rPr lang="en-US" dirty="0" smtClean="0"/>
              <a:t>Original </a:t>
            </a:r>
            <a:r>
              <a:rPr lang="en-US" dirty="0"/>
              <a:t>Purchase Invoice to ensure a </a:t>
            </a:r>
            <a:r>
              <a:rPr lang="en-US" dirty="0">
                <a:solidFill>
                  <a:srgbClr val="FF0000"/>
                </a:solidFill>
              </a:rPr>
              <a:t>Compressor</a:t>
            </a:r>
            <a:r>
              <a:rPr lang="en-US" dirty="0"/>
              <a:t> purchased </a:t>
            </a:r>
            <a:r>
              <a:rPr lang="en-US" dirty="0">
                <a:solidFill>
                  <a:srgbClr val="FF0000"/>
                </a:solidFill>
              </a:rPr>
              <a:t>with Accumulator or Receiver </a:t>
            </a:r>
            <a:r>
              <a:rPr lang="en-US" dirty="0" smtClean="0">
                <a:solidFill>
                  <a:srgbClr val="FF0000"/>
                </a:solidFill>
              </a:rPr>
              <a:t>Dryer</a:t>
            </a:r>
            <a:r>
              <a:rPr lang="en-US" dirty="0" smtClean="0"/>
              <a:t> </a:t>
            </a:r>
            <a:r>
              <a:rPr lang="en-US" u="sng" dirty="0" smtClean="0"/>
              <a:t>AND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0000"/>
                </a:solidFill>
              </a:rPr>
              <a:t>Orifice </a:t>
            </a:r>
            <a:r>
              <a:rPr lang="en-US" dirty="0">
                <a:solidFill>
                  <a:srgbClr val="FF0000"/>
                </a:solidFill>
              </a:rPr>
              <a:t>Tube or Expansion Valve</a:t>
            </a:r>
            <a:r>
              <a:rPr lang="en-US" dirty="0"/>
              <a:t>. </a:t>
            </a:r>
            <a:endParaRPr lang="en-US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Original </a:t>
            </a:r>
            <a:r>
              <a:rPr lang="en-US" dirty="0"/>
              <a:t>Repair Invoice with proof of system flush or inline filter replacement.</a:t>
            </a:r>
          </a:p>
        </p:txBody>
      </p:sp>
    </p:spTree>
    <p:extLst>
      <p:ext uri="{BB962C8B-B14F-4D97-AF65-F5344CB8AC3E}">
        <p14:creationId xmlns:p14="http://schemas.microsoft.com/office/powerpoint/2010/main" val="2795175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1080653" y="1195205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3694377" y="1186973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301950" y="1199203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8929991" y="1199202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1080656" y="3424979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697972" y="3424979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6307936" y="3415801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8926267" y="3419912"/>
            <a:ext cx="2038839" cy="1937397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4" name="object 51"/>
          <p:cNvSpPr txBox="1"/>
          <p:nvPr/>
        </p:nvSpPr>
        <p:spPr>
          <a:xfrm>
            <a:off x="2681916" y="765781"/>
            <a:ext cx="8119775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 b="1" spc="-40" dirty="0" smtClean="0">
                <a:latin typeface="Arial"/>
                <a:cs typeface="Arial"/>
              </a:rPr>
              <a:t>DISTRIBUTION OF COMPLEX VEHICLE REPAIR PRODUCTS</a:t>
            </a:r>
            <a:endParaRPr sz="1800" dirty="0">
              <a:latin typeface="Arial"/>
              <a:cs typeface="Arial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1395" y="1701668"/>
            <a:ext cx="1634064" cy="758229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9252315" y="2618013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bochargers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757" y="1617739"/>
            <a:ext cx="1488486" cy="1052193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457483" y="2657697"/>
            <a:ext cx="12607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cs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6347" y="3716838"/>
            <a:ext cx="1388108" cy="1146349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594220" y="4940182"/>
            <a:ext cx="108769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6899" y="3759175"/>
            <a:ext cx="1336842" cy="110401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4112699" y="4956175"/>
            <a:ext cx="132104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pension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6503" y="1701668"/>
            <a:ext cx="1041188" cy="859850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741803" y="2623686"/>
            <a:ext cx="1368723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System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1725" y="1461037"/>
            <a:ext cx="1447190" cy="1195141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886626" y="2675962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 System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3712" y="5625751"/>
            <a:ext cx="11665175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anstar is expanding its product offering into select complex repair categories both organically and through acquisitions</a:t>
            </a:r>
            <a:r>
              <a:rPr lang="en-US" dirty="0" smtClean="0"/>
              <a:t>.  We have added 3 additional locations in the past month!</a:t>
            </a:r>
            <a:r>
              <a:rPr lang="en-US" dirty="0"/>
              <a:t> 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77092" y="3605522"/>
            <a:ext cx="1560010" cy="128831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6840819" y="4957956"/>
            <a:ext cx="1925678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haust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58195" y="3886245"/>
            <a:ext cx="1820465" cy="976942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9252315" y="4940183"/>
            <a:ext cx="143607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brid and EV</a:t>
            </a:r>
            <a:endParaRPr lang="en-US" sz="14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12"/>
          <p:cNvSpPr txBox="1">
            <a:spLocks noGrp="1"/>
          </p:cNvSpPr>
          <p:nvPr>
            <p:ph type="title"/>
          </p:nvPr>
        </p:nvSpPr>
        <p:spPr>
          <a:xfrm>
            <a:off x="156754" y="165339"/>
            <a:ext cx="10058400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3600" spc="-270" dirty="0" smtClean="0">
                <a:latin typeface="+mn-lt"/>
              </a:rPr>
              <a:t>Product Category Expansion – Happening Now!! </a:t>
            </a:r>
            <a:endParaRPr sz="3600" spc="-445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83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3 </a:t>
            </a:r>
            <a:r>
              <a:rPr lang="en-US" dirty="0" smtClean="0"/>
              <a:t>2023 Rebate 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44431" y="1078318"/>
            <a:ext cx="9270278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$20,695 in Transmission Sales</a:t>
            </a:r>
          </a:p>
          <a:p>
            <a:r>
              <a:rPr lang="en-US" sz="2800" dirty="0" smtClean="0"/>
              <a:t>$</a:t>
            </a:r>
            <a:r>
              <a:rPr lang="en-US" sz="2800" dirty="0" smtClean="0"/>
              <a:t>22,295 </a:t>
            </a:r>
            <a:r>
              <a:rPr lang="en-US" sz="2800" dirty="0" smtClean="0"/>
              <a:t>in Part Sales</a:t>
            </a:r>
          </a:p>
          <a:p>
            <a:endParaRPr lang="en-US" sz="2800" dirty="0"/>
          </a:p>
          <a:p>
            <a:r>
              <a:rPr lang="en-US" sz="2800" dirty="0" smtClean="0"/>
              <a:t>The sales resulted in about </a:t>
            </a:r>
            <a:r>
              <a:rPr lang="en-US" sz="2800" dirty="0" smtClean="0"/>
              <a:t>$1,990 </a:t>
            </a:r>
            <a:r>
              <a:rPr lang="en-US" sz="2800" dirty="0" smtClean="0"/>
              <a:t>in rebates back to MDPCI</a:t>
            </a:r>
          </a:p>
          <a:p>
            <a:endParaRPr lang="en-US" sz="2800" dirty="0"/>
          </a:p>
          <a:p>
            <a:r>
              <a:rPr lang="en-US" sz="2800" dirty="0" smtClean="0"/>
              <a:t>47</a:t>
            </a:r>
            <a:r>
              <a:rPr lang="en-US" sz="2800" dirty="0" smtClean="0"/>
              <a:t> </a:t>
            </a:r>
            <a:r>
              <a:rPr lang="en-US" sz="2800" dirty="0"/>
              <a:t>different Meineke centers contributed to the </a:t>
            </a:r>
            <a:r>
              <a:rPr lang="en-US" sz="2800" dirty="0" smtClean="0"/>
              <a:t>sales</a:t>
            </a:r>
          </a:p>
          <a:p>
            <a:endParaRPr lang="en-US" sz="2800" dirty="0"/>
          </a:p>
          <a:p>
            <a:r>
              <a:rPr lang="en-US" sz="2800" dirty="0"/>
              <a:t>	</a:t>
            </a:r>
            <a:r>
              <a:rPr lang="en-US" sz="2800" dirty="0" smtClean="0"/>
              <a:t>Thank you!</a:t>
            </a:r>
            <a:endParaRPr lang="en-US" sz="28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67911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81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3" y="69669"/>
            <a:ext cx="6343799" cy="661851"/>
          </a:xfrm>
        </p:spPr>
        <p:txBody>
          <a:bodyPr vert="horz">
            <a:normAutofit fontScale="90000"/>
          </a:bodyPr>
          <a:lstStyle/>
          <a:p>
            <a:r>
              <a:rPr lang="en-US" dirty="0" smtClean="0"/>
              <a:t>Transend Online Ordering Platfor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0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378998" y="172535"/>
            <a:ext cx="1487423" cy="417575"/>
          </a:xfrm>
          <a:prstGeom prst="rect">
            <a:avLst/>
          </a:prstGeom>
        </p:spPr>
      </p:pic>
      <p:pic>
        <p:nvPicPr>
          <p:cNvPr id="11" name="object 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0409478" y="532199"/>
            <a:ext cx="1440179" cy="169163"/>
          </a:xfrm>
          <a:prstGeom prst="rect">
            <a:avLst/>
          </a:prstGeom>
        </p:spPr>
      </p:pic>
      <p:pic>
        <p:nvPicPr>
          <p:cNvPr id="12" name="object 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427765" y="795850"/>
            <a:ext cx="1438655" cy="301751"/>
          </a:xfrm>
          <a:prstGeom prst="rect">
            <a:avLst/>
          </a:prstGeom>
        </p:spPr>
      </p:pic>
      <p:pic>
        <p:nvPicPr>
          <p:cNvPr id="13" name="object 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0420146" y="1091506"/>
            <a:ext cx="1516379" cy="344423"/>
          </a:xfrm>
          <a:prstGeom prst="rect">
            <a:avLst/>
          </a:prstGeom>
        </p:spPr>
      </p:pic>
      <p:pic>
        <p:nvPicPr>
          <p:cNvPr id="15" name="object 27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558" y="1320800"/>
            <a:ext cx="3939702" cy="1138744"/>
          </a:xfrm>
          <a:prstGeom prst="rect">
            <a:avLst/>
          </a:prstGeom>
        </p:spPr>
      </p:pic>
      <p:pic>
        <p:nvPicPr>
          <p:cNvPr id="18" name="object 30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9149801" y="264775"/>
            <a:ext cx="841247" cy="387082"/>
          </a:xfrm>
          <a:prstGeom prst="rect">
            <a:avLst/>
          </a:prstGeom>
        </p:spPr>
      </p:pic>
      <p:sp>
        <p:nvSpPr>
          <p:cNvPr id="3" name="Hexagon 2"/>
          <p:cNvSpPr/>
          <p:nvPr/>
        </p:nvSpPr>
        <p:spPr>
          <a:xfrm>
            <a:off x="1409277" y="3016029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earch</a:t>
            </a:r>
            <a:endParaRPr lang="en-US" sz="2000" b="1" dirty="0"/>
          </a:p>
        </p:txBody>
      </p:sp>
      <p:sp>
        <p:nvSpPr>
          <p:cNvPr id="35" name="Hexagon 34"/>
          <p:cNvSpPr/>
          <p:nvPr/>
        </p:nvSpPr>
        <p:spPr>
          <a:xfrm>
            <a:off x="5147836" y="3008060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elect</a:t>
            </a:r>
            <a:endParaRPr lang="en-US" sz="2000" b="1" dirty="0"/>
          </a:p>
        </p:txBody>
      </p:sp>
      <p:sp>
        <p:nvSpPr>
          <p:cNvPr id="36" name="Hexagon 35"/>
          <p:cNvSpPr/>
          <p:nvPr/>
        </p:nvSpPr>
        <p:spPr>
          <a:xfrm>
            <a:off x="8485863" y="3003256"/>
            <a:ext cx="1478604" cy="1314214"/>
          </a:xfrm>
          <a:prstGeom prst="hexagon">
            <a:avLst/>
          </a:prstGeom>
          <a:solidFill>
            <a:srgbClr val="88D6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Ship</a:t>
            </a:r>
            <a:endParaRPr lang="en-US" sz="20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01558" y="4518203"/>
            <a:ext cx="3939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Look up </a:t>
            </a:r>
            <a:r>
              <a:rPr lang="en-US" sz="1600" dirty="0"/>
              <a:t>parts that match the vehicle you’re working on using its license plate number, </a:t>
            </a:r>
            <a:r>
              <a:rPr lang="en-US" sz="1600" dirty="0" smtClean="0"/>
              <a:t>VIN, year/make/model/engine</a:t>
            </a:r>
            <a:r>
              <a:rPr lang="en-US" sz="1600" dirty="0"/>
              <a:t>, or transmission.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4241260" y="2790179"/>
            <a:ext cx="0" cy="2710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7872482" y="2790179"/>
            <a:ext cx="0" cy="27104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4400427" y="4518203"/>
            <a:ext cx="34516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Choose parts or products – even select recommended rebuilds. Then filter by brand, price, and availability.</a:t>
            </a:r>
            <a:endParaRPr lang="en-US" sz="1600" dirty="0"/>
          </a:p>
        </p:txBody>
      </p:sp>
      <p:sp>
        <p:nvSpPr>
          <p:cNvPr id="39" name="Rectangle 38"/>
          <p:cNvSpPr/>
          <p:nvPr/>
        </p:nvSpPr>
        <p:spPr>
          <a:xfrm>
            <a:off x="8282047" y="4515842"/>
            <a:ext cx="33648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ustomize shipping options, view previous shipments, and quickly reorder frequently purchased parts.</a:t>
            </a:r>
            <a:endParaRPr lang="en-US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4402375" y="1511133"/>
            <a:ext cx="77896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irect integrations with the leading shop management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utomated return process for parts and c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nline bill payment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863" y="795850"/>
            <a:ext cx="1820535" cy="26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55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2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8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end.us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753" y="731520"/>
            <a:ext cx="6688551" cy="462772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52289" y="2133486"/>
            <a:ext cx="5017719" cy="4060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09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2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end – Account Manag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593" y="1186300"/>
            <a:ext cx="7691063" cy="3724145"/>
          </a:xfrm>
          <a:prstGeom prst="rect">
            <a:avLst/>
          </a:prstGeom>
        </p:spPr>
      </p:pic>
      <p:sp>
        <p:nvSpPr>
          <p:cNvPr id="3" name="Up Arrow 2"/>
          <p:cNvSpPr/>
          <p:nvPr/>
        </p:nvSpPr>
        <p:spPr>
          <a:xfrm rot="18731732">
            <a:off x="10200987" y="1130604"/>
            <a:ext cx="263749" cy="515343"/>
          </a:xfrm>
          <a:prstGeom prst="upArrow">
            <a:avLst/>
          </a:prstGeom>
          <a:solidFill>
            <a:srgbClr val="00B0F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/>
          <a:srcRect b="4744"/>
          <a:stretch/>
        </p:blipFill>
        <p:spPr>
          <a:xfrm>
            <a:off x="8576365" y="488294"/>
            <a:ext cx="3277578" cy="558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98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562098"/>
          </a:xfrm>
        </p:spPr>
        <p:txBody>
          <a:bodyPr vert="horz">
            <a:noAutofit/>
          </a:bodyPr>
          <a:lstStyle/>
          <a:p>
            <a:r>
              <a:rPr lang="en-US" sz="3200" dirty="0" smtClean="0"/>
              <a:t>Asking for a Core Retur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872612"/>
            <a:ext cx="11520239" cy="5336995"/>
          </a:xfrm>
        </p:spPr>
        <p:txBody>
          <a:bodyPr>
            <a:normAutofit lnSpcReduction="10000"/>
          </a:bodyPr>
          <a:lstStyle/>
          <a:p>
            <a:r>
              <a:rPr lang="en-US" sz="2000" dirty="0" smtClean="0"/>
              <a:t>Return your cores within 2 weeks to get your deposit money back quickly.  </a:t>
            </a:r>
          </a:p>
          <a:p>
            <a:r>
              <a:rPr lang="en-US" sz="2000" dirty="0" smtClean="0"/>
              <a:t>Two ways to </a:t>
            </a:r>
            <a:r>
              <a:rPr lang="en-US" sz="2000" dirty="0"/>
              <a:t>do </a:t>
            </a:r>
            <a:r>
              <a:rPr lang="en-US" sz="2000" dirty="0" smtClean="0"/>
              <a:t>it.  The </a:t>
            </a:r>
            <a:r>
              <a:rPr lang="en-US" sz="2000" dirty="0"/>
              <a:t>process is fast and </a:t>
            </a:r>
            <a:r>
              <a:rPr lang="en-US" sz="2000" dirty="0" smtClean="0"/>
              <a:t>simple! 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749808" lvl="1" indent="-457200">
              <a:buFont typeface="+mj-lt"/>
              <a:buAutoNum type="arabicPeriod"/>
            </a:pPr>
            <a:r>
              <a:rPr lang="en-US" sz="2000" dirty="0" smtClean="0">
                <a:hlinkClick r:id="rId6"/>
              </a:rPr>
              <a:t>www.transtar1.com/core</a:t>
            </a:r>
            <a:r>
              <a:rPr lang="en-US" sz="2000" dirty="0" smtClean="0"/>
              <a:t>  - </a:t>
            </a:r>
            <a:r>
              <a:rPr lang="en-US" sz="2000" b="1" dirty="0" smtClean="0"/>
              <a:t>choose the Core option</a:t>
            </a:r>
            <a:r>
              <a:rPr lang="en-US" sz="2000" dirty="0" smtClean="0"/>
              <a:t>. </a:t>
            </a:r>
          </a:p>
          <a:p>
            <a:pPr lvl="1"/>
            <a:r>
              <a:rPr lang="en-US" sz="2000" dirty="0"/>
              <a:t>Complete all required </a:t>
            </a:r>
            <a:r>
              <a:rPr lang="en-US" sz="2000" dirty="0" smtClean="0"/>
              <a:t>information including the serial number and Transtar invoice number.</a:t>
            </a:r>
          </a:p>
          <a:p>
            <a:pPr lvl="1"/>
            <a:r>
              <a:rPr lang="en-US" sz="2000" dirty="0" smtClean="0"/>
              <a:t>You </a:t>
            </a:r>
            <a:r>
              <a:rPr lang="en-US" sz="2000" dirty="0"/>
              <a:t>will be sent a Bill of Lading to </a:t>
            </a:r>
            <a:r>
              <a:rPr lang="en-US" sz="2000" dirty="0" smtClean="0"/>
              <a:t>have your core picked up and sent </a:t>
            </a:r>
            <a:r>
              <a:rPr lang="en-US" sz="2000" dirty="0"/>
              <a:t>back directly to the transmission </a:t>
            </a:r>
            <a:r>
              <a:rPr lang="en-US" sz="2000" dirty="0" smtClean="0"/>
              <a:t>vendor.</a:t>
            </a:r>
          </a:p>
          <a:p>
            <a:pPr marL="384048" lvl="2" indent="0" algn="ctr">
              <a:buNone/>
            </a:pPr>
            <a:r>
              <a:rPr lang="en-US" sz="1600" b="1" dirty="0" smtClean="0"/>
              <a:t>OR</a:t>
            </a:r>
          </a:p>
          <a:p>
            <a:pPr marL="635508" lvl="1" indent="-342900">
              <a:buFont typeface="+mj-lt"/>
              <a:buAutoNum type="arabicPeriod" startAt="2"/>
            </a:pPr>
            <a:r>
              <a:rPr lang="en-US" sz="2000" dirty="0" smtClean="0"/>
              <a:t>Log onto your </a:t>
            </a:r>
            <a:r>
              <a:rPr lang="en-US" sz="2000" dirty="0"/>
              <a:t>T</a:t>
            </a:r>
            <a:r>
              <a:rPr lang="en-US" sz="2000" dirty="0" smtClean="0"/>
              <a:t>ransend account, Go to your name, select Initiate Return, then choose Core: Transmission or Transfer case.</a:t>
            </a:r>
          </a:p>
          <a:p>
            <a:pPr>
              <a:lnSpc>
                <a:spcPct val="100000"/>
              </a:lnSpc>
            </a:pPr>
            <a:r>
              <a:rPr lang="en-US" sz="1800" dirty="0" smtClean="0"/>
              <a:t>The link in </a:t>
            </a:r>
            <a:r>
              <a:rPr lang="en-US" sz="1800" dirty="0"/>
              <a:t>T</a:t>
            </a:r>
            <a:r>
              <a:rPr lang="en-US" sz="1800" dirty="0" smtClean="0"/>
              <a:t>ransend brings you to the same</a:t>
            </a:r>
          </a:p>
          <a:p>
            <a:pPr>
              <a:lnSpc>
                <a:spcPct val="100000"/>
              </a:lnSpc>
            </a:pPr>
            <a:r>
              <a:rPr lang="en-US" sz="1800" dirty="0" smtClean="0"/>
              <a:t>Bill of Lading page as transtar1.com/core</a:t>
            </a:r>
          </a:p>
          <a:p>
            <a:endParaRPr lang="en-US" sz="1400" i="1" dirty="0" smtClean="0"/>
          </a:p>
          <a:p>
            <a:endParaRPr lang="en-US" sz="1400" i="1" dirty="0"/>
          </a:p>
          <a:p>
            <a:r>
              <a:rPr lang="en-US" sz="1400" i="1" dirty="0" smtClean="0"/>
              <a:t>Core credit will be provided within 48 hours of the</a:t>
            </a:r>
          </a:p>
          <a:p>
            <a:r>
              <a:rPr lang="en-US" sz="1400" i="1" dirty="0"/>
              <a:t>c</a:t>
            </a:r>
            <a:r>
              <a:rPr lang="en-US" sz="1400" i="1" dirty="0" smtClean="0"/>
              <a:t>ore being picked up by the carrier.</a:t>
            </a:r>
            <a:endParaRPr lang="en-US" sz="1400" i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4376" y="3511158"/>
            <a:ext cx="5301455" cy="29183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19775" y="3541109"/>
            <a:ext cx="837758" cy="1678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60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754" y="69669"/>
            <a:ext cx="10058400" cy="562098"/>
          </a:xfrm>
        </p:spPr>
        <p:txBody>
          <a:bodyPr vert="horz">
            <a:noAutofit/>
          </a:bodyPr>
          <a:lstStyle/>
          <a:p>
            <a:r>
              <a:rPr lang="en-US" sz="3200" dirty="0" smtClean="0"/>
              <a:t>The Warranty Center – www.transtarcts.com/warranty-center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872612"/>
            <a:ext cx="4124301" cy="5336995"/>
          </a:xfrm>
        </p:spPr>
        <p:txBody>
          <a:bodyPr>
            <a:normAutofit fontScale="92500" lnSpcReduction="10000"/>
          </a:bodyPr>
          <a:lstStyle/>
          <a:p>
            <a:r>
              <a:rPr lang="en-US" sz="2000" dirty="0" smtClean="0"/>
              <a:t>Transtar’s new warranty center offers a convenient way to: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egister your new transmission for warranty coverage by simply using your invoice information and answering installation questions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Initiate a warranty clai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Submit your labor invoic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Request a bill of lading for a warranty/defect unit</a:t>
            </a:r>
          </a:p>
          <a:p>
            <a:pPr marL="0" indent="0">
              <a:buNone/>
            </a:pPr>
            <a:endParaRPr lang="en-US" sz="2000" dirty="0" smtClean="0"/>
          </a:p>
          <a:p>
            <a:pPr marL="0" indent="0">
              <a:buNone/>
            </a:pPr>
            <a:r>
              <a:rPr lang="en-US" sz="1600" i="1" dirty="0" smtClean="0"/>
              <a:t>We require that warranty registrations are completed within 3 working days of installation.  A warranty registration is required in order to submit a claim.</a:t>
            </a:r>
          </a:p>
          <a:p>
            <a:pPr marL="0" indent="0">
              <a:buNone/>
            </a:pPr>
            <a:r>
              <a:rPr lang="en-US" sz="1600" i="1" dirty="0" smtClean="0"/>
              <a:t>If help is needed, please click on the chat button on the bottom right of the screen or email ctswarranty@transtar1.com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9204" y="1506351"/>
            <a:ext cx="7691207" cy="47032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09755" y="1783165"/>
            <a:ext cx="3010798" cy="289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663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Infor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2" y="803474"/>
            <a:ext cx="11520239" cy="5434040"/>
          </a:xfrm>
        </p:spPr>
        <p:txBody>
          <a:bodyPr/>
          <a:lstStyle/>
          <a:p>
            <a:r>
              <a:rPr lang="en-US" sz="2200" dirty="0" smtClean="0"/>
              <a:t>JR (James) Reville – Account Manager</a:t>
            </a:r>
          </a:p>
          <a:p>
            <a:r>
              <a:rPr lang="en-US" sz="2200" dirty="0" smtClean="0"/>
              <a:t>(440) 359-7690 – </a:t>
            </a:r>
            <a:r>
              <a:rPr lang="en-US" sz="2200" dirty="0" smtClean="0">
                <a:hlinkClick r:id="rId2"/>
              </a:rPr>
              <a:t>jreville@Transtar1.com</a:t>
            </a:r>
            <a:r>
              <a:rPr lang="en-US" sz="2200" dirty="0" smtClean="0"/>
              <a:t> </a:t>
            </a:r>
            <a:endParaRPr lang="en-US" sz="2200" dirty="0"/>
          </a:p>
          <a:p>
            <a:endParaRPr lang="en-US" sz="1100" dirty="0" smtClean="0"/>
          </a:p>
          <a:p>
            <a:r>
              <a:rPr lang="en-US" sz="2200" dirty="0" smtClean="0"/>
              <a:t>Dedicated Customer Service – 1-833-363-1938 / </a:t>
            </a:r>
            <a:r>
              <a:rPr lang="en-US" sz="2200" dirty="0" smtClean="0">
                <a:hlinkClick r:id="rId3"/>
              </a:rPr>
              <a:t>GR@Transtar1.com</a:t>
            </a:r>
            <a:endParaRPr lang="en-US" sz="2200" dirty="0" smtClean="0"/>
          </a:p>
          <a:p>
            <a:endParaRPr lang="en-US" sz="1100" dirty="0"/>
          </a:p>
          <a:p>
            <a:r>
              <a:rPr lang="en-US" sz="2200" dirty="0" smtClean="0"/>
              <a:t>Mike Melaragno – Director of Sales Operations</a:t>
            </a:r>
          </a:p>
          <a:p>
            <a:r>
              <a:rPr lang="en-US" sz="2200" dirty="0" smtClean="0"/>
              <a:t>(440) 201-8252 – </a:t>
            </a:r>
            <a:r>
              <a:rPr lang="en-US" sz="2200" dirty="0" smtClean="0">
                <a:hlinkClick r:id="rId4"/>
              </a:rPr>
              <a:t>mmelaragno@Transtar1.com</a:t>
            </a:r>
            <a:r>
              <a:rPr lang="en-US" sz="2200" dirty="0" smtClean="0"/>
              <a:t>	</a:t>
            </a:r>
          </a:p>
          <a:p>
            <a:endParaRPr lang="en-US" sz="1100" dirty="0"/>
          </a:p>
          <a:p>
            <a:r>
              <a:rPr lang="en-US" dirty="0" smtClean="0"/>
              <a:t>Nick Miele – Regional Vice President</a:t>
            </a:r>
          </a:p>
          <a:p>
            <a:r>
              <a:rPr lang="en-US" dirty="0" smtClean="0"/>
              <a:t>(914) 490-3638 – </a:t>
            </a:r>
            <a:r>
              <a:rPr lang="en-US" dirty="0" smtClean="0">
                <a:hlinkClick r:id="rId5"/>
              </a:rPr>
              <a:t>nmiele@transtar1.com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en-US" dirty="0" smtClean="0"/>
              <a:t>Need online help?					M-F   8:00am to 6:00pm EST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6822" y="5351331"/>
            <a:ext cx="1905770" cy="7146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67157" y="5351331"/>
            <a:ext cx="895712" cy="88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894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6753" y="973375"/>
            <a:ext cx="11520239" cy="5006006"/>
          </a:xfrm>
        </p:spPr>
        <p:txBody>
          <a:bodyPr>
            <a:normAutofit/>
          </a:bodyPr>
          <a:lstStyle/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Welcome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eam </a:t>
            </a:r>
            <a:r>
              <a:rPr lang="en-US" dirty="0"/>
              <a:t>i</a:t>
            </a:r>
            <a:r>
              <a:rPr lang="en-US" dirty="0" smtClean="0"/>
              <a:t>ntroduct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nstar overview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Who we are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Product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Brand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US" dirty="0" smtClean="0"/>
              <a:t>Meineke program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What’s New – Training videos, products and location expansion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Q3 </a:t>
            </a:r>
            <a:r>
              <a:rPr lang="en-US" dirty="0" smtClean="0"/>
              <a:t>Results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Transend – </a:t>
            </a:r>
            <a:r>
              <a:rPr lang="en-US" dirty="0" smtClean="0">
                <a:hlinkClick r:id="rId2"/>
              </a:rPr>
              <a:t>www.transend.us</a:t>
            </a:r>
            <a:r>
              <a:rPr lang="en-US" dirty="0" smtClean="0"/>
              <a:t>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dirty="0" smtClean="0"/>
              <a:t>Contacts	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676992" y="6446837"/>
            <a:ext cx="323419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AutoShape 4" descr="data:image/png;base64,iVBORw0KGgoAAAANSUhEUgAAAHcAAABCCAMAAABaULmmAAAAb1BMVEX///8AAAAjHyAgHB0aFRYdGBkJAADm5uYXEhMSCw0FAADa2tofGhv09PQVDxH8/Pzs7OzGxsaVlJTQ0NCLioqrqqo3NDVPTU7AwMCjoqK4uLh0c3OwsLCAf38MAAU/PD1kYmNcW1tsa2srKClIRkeO1g/gAAAIA0lEQVRYhb1Zh5KjOBCdVgBEzphswv9/43ULsLEHPJ6w17VVZkGjp85BHx9vUxA6URan9XXOJ6Yp74uxjcsqMb33t/kOBUnTFnkHYChfSJdtxF1hKQUArL/Gl/BPMcNL2iOgT3BcWgrRd0QH4ZwOgPBqLJ3gT0CdePZBIaK0DNyXz3VaZlWUJI7jJEkSVWXcXnPLxm8C0XHRNFa/FbqTTqAk4wJZnOsyck43DJMqvTIA30VsgKH5ObRX5sSoq8AdyuSdfQKzanMDLMYESjz5EapTg4GgHfRx8i2NmdVog8WR6z77tqqTAnzGFIKa3/1TpOBSWyCZC1b8LXE7Awjm2tA6L/Y2kyhKTk/lNTPKmxtW/DbP4UiokJ9KKYxiMiFNqj31Wac2FCFX78GWyifUywlmVfeLy6xxQ1nnDJktaotD8YauzB44g/zwjIET5wDWPVhpguzFdmGLshMQfwXb4DLreJmTolstbHLpGyRkm46gXm/qFMTI8Nq+asDzDwcaC6p5BeXCAFG0GEPC4CPrcP2JRu68WBby8sKbvcJgEpoD1JKhWyDJDsSY3aJWYuCr6QtYFHYBqOWDfdfPuc9Uf2ADmbKJVYwhc7w/dowS5PDC1x5WQnkCOwkG18/G6eRAqBbk5cOZohyVIiF6AxYXY+w7NhsvR9j26KhSoz6F22gANKpueodbfXpfHlt+4TNIP70NrkBqhfpR/JcZ7R79o30/AJuTe2SCKTCoD05jkIf2D7xSnpJ0mOFdZhdg4Nx+tp4LMH/4vHbsCPZBDInOU8hr8d08lwAT8+OrQLqcf3btBoXM98Ix456yK6q7eM+eHqiEZ6NOO3bg2J6Phnx/b2a9Lng4GPW3JHyjwWKwD0qhwdWBKRO7mw2aZWGQBWP1MWU/LRvN7hGH2N1JeXu8YkgfKNNesMzqpAbN05+xulDcPTAMTO1tZ+5HqhmbiTM51EOuKDRzHyCP1yLVM5EO9sX356UffQdm3DWMxrw/RQQu1sgGGBSmpIUmJ7EyzutmQ/JKSkaHQQDfv8w8rXLz239qS+x96ErFeNeprluy3pQP6eXGXRDVFjq1fWAP2mBfVxfoS3DbqneNh8ObCRbjRBixkePNUbE7quJBAVm5KA42DdFBry9hPz6me2LC5SdJxZwoXElb9EPRT4L6BeHSWbjxLM20rtteMjGmbXua8ZBG4W+SchD3JM56KdY1kmNTZAkkH9sGVqM3fcpCDShfF0ACm7RX5VSsbjqN0JxP13lNPU9ayX1xbUvUc219TqUoMt2YKqTXxVQFbr8+XmBnY0cUeEibRDJg1ni0IsfU3oRhaGJ5UvRnmeoCfLo9foG77W06yQVhmWhTpLZt0+rDrPGXPqcGs67rfoYQxm3LuB7ne4hHXLY+RsDP5fyhW72yxRafU3ttkzgt5fv4z1eQFp2vI7hJMVUrNgXeibvZVmCJndnu5HxqV6HTpGNOMaLDHp/zxZ0JXZfQ3MADy1XZ8/ZQA0cNO+DX6+YY6tjd+nd2deRHXlSOubU1Bi42+dhYG2Q7EFeRibbFOpYlGEmXlBoDk5qPFmGR/8xY3MWb0MrlLuvu/Og5bnh6rNAJl4YHFrE3FXWcYdMdq6U4K6kuRctBSTFdQtCDPjuqn/K1t6XtwigK7u9i2y5uPMRJrymWsQIXCmyOTf7F2WwZ82I3Lr+c4mEo1uo0yF3W0eaoZQ0yW0tZfbVF2Lu70hnj5L3WuecFbLZB0pTCBjnEl8fhEC6z5oU5LcsAK9BFynW36nC0iG2vUEu5MAL+PJTYmBf6+45oH5QHvZqabSzPd7nnTmj2cvIITi67YgV6E+7SJWmjbjLsS3R6wL4/o3d3q33Mg2veT7jS5Xl8OAmKbO4qOg2akBbciLFbCzehUlcLbKnHbC4JNhhsMgZ0nLtZbXnfXBBCqj/Io7FQPikn8Cvv6Btav09KbhHDZYGuTxGNwkSI5j3lYEOPC00sF+hUhZRDky1UCkZ1jjmWabMxLJFZuz8rYppVp/rIxDbBMhvZMrmgCgh5cjBt8smrSlpXYbQg2JKaGXslY5ELhrjr2vPomHDUpqzyAeauheUsZbE0rIxzHY7yAYHtuAVXbpkKLcUlIWPzi5/WkYSuxVG7ZlO3RbgwHHUnJYSm+g4boOXKulfSouyfXUGIEN0aDQv7nMtouVMSOKlQWsUxdjMcsii6JEnilGo1/3a8FNGynSe5nE9QvcJmQqwaIFdllov9KnHcCX8KddRgusPVLkbTRKB+Fh2P+f5Wf2MRu/Ypl9GJ05v+zjpKh/nMn25+pRVG/erVJ6yZ3LbFrA9+pL8qlwvD0DnYwSNct4LRZPe+LKw2O2r9W3p6ohKTgDHvAkgLoPOaKTE7rTk+Sdt16pS0cz6U6/LwPt9y1GEfehXHYvaoD31qFL11V6+6vD2NO+u7R+sQt7Jo/nQyIPgGnc4ZUsXlpyhlDrhcsZ/NVXe0zFUOx1xoevZT+RmkNGCE668vDhp1PkfyMHA8fPJiQK/0xata+C36Ym6WwV6RTmvZFK2vv72o+HpOqEd1qq2iS1ZbuhdR8281+9ZcFEOqbjbBtnQBJ4dfXoy8OwduGCzjXRcLOkmp+NXc+wva5t7+G3PvoBowxNnGNFb/+5w/NNeiar3XUD+514Af32sQ6XscTtDyO/c49u/ucTQt91b8/723WqHfuaeb/viebuXl+V7Shh39o3vJlZ7uYbfrlH96D3sH/8t75/8AC3GCBTKj64MAAAAASUVORK5CYII="/>
          <p:cNvSpPr>
            <a:spLocks noChangeAspect="1" noChangeArrowheads="1"/>
          </p:cNvSpPr>
          <p:nvPr/>
        </p:nvSpPr>
        <p:spPr bwMode="auto">
          <a:xfrm>
            <a:off x="4614363" y="1100863"/>
            <a:ext cx="1868754" cy="1868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12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chemeClr val="tx1"/>
                </a:solidFill>
                <a:latin typeface="+mn-lt"/>
              </a:rPr>
              <a:t>Who are we</a:t>
            </a:r>
            <a:endParaRPr lang="en-US" sz="3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786634" y="4251237"/>
            <a:ext cx="5843683" cy="2018934"/>
            <a:chOff x="5110347" y="1182259"/>
            <a:chExt cx="6989293" cy="2553636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/>
            <a:srcRect t="-1" b="42755"/>
            <a:stretch/>
          </p:blipFill>
          <p:spPr>
            <a:xfrm>
              <a:off x="5110347" y="1182259"/>
              <a:ext cx="6989293" cy="2553636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71372" y="2661339"/>
              <a:ext cx="521093" cy="51364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071594" y="2691115"/>
              <a:ext cx="662534" cy="454096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39641" y="2639006"/>
              <a:ext cx="565758" cy="558314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6"/>
            <a:srcRect l="-1" r="1068" b="9936"/>
            <a:stretch/>
          </p:blipFill>
          <p:spPr>
            <a:xfrm>
              <a:off x="9681304" y="2639006"/>
              <a:ext cx="530259" cy="52295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954030" y="2622032"/>
              <a:ext cx="521093" cy="506205"/>
            </a:xfrm>
            <a:prstGeom prst="rect">
              <a:avLst/>
            </a:prstGeom>
          </p:spPr>
        </p:pic>
      </p:grpSp>
      <p:cxnSp>
        <p:nvCxnSpPr>
          <p:cNvPr id="15" name="Straight Connector 14"/>
          <p:cNvCxnSpPr/>
          <p:nvPr/>
        </p:nvCxnSpPr>
        <p:spPr>
          <a:xfrm>
            <a:off x="5551934" y="1709266"/>
            <a:ext cx="26125" cy="2290016"/>
          </a:xfrm>
          <a:prstGeom prst="line">
            <a:avLst/>
          </a:prstGeom>
          <a:ln>
            <a:solidFill>
              <a:srgbClr val="79232E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915883" y="1077845"/>
            <a:ext cx="9222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 smtClean="0">
                <a:solidFill>
                  <a:srgbClr val="79232E"/>
                </a:solidFill>
              </a:rPr>
              <a:t>Simplifying complex vehicle repair to keep the world moving </a:t>
            </a:r>
            <a:endParaRPr lang="en-US" sz="2400" b="1" i="1" dirty="0">
              <a:solidFill>
                <a:srgbClr val="79232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60191" y="1814068"/>
            <a:ext cx="432079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PRODU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ir Conditionin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Remanufactured &amp; OE </a:t>
            </a:r>
            <a:r>
              <a:rPr lang="en-US" dirty="0" err="1" smtClean="0"/>
              <a:t>Recylced</a:t>
            </a:r>
            <a:r>
              <a:rPr lang="en-US" dirty="0" smtClean="0"/>
              <a:t> Transmission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Specialty Fluid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Transmission </a:t>
            </a:r>
            <a:r>
              <a:rPr lang="en-US" dirty="0"/>
              <a:t>Filters &amp; Filter Kits </a:t>
            </a:r>
            <a:endParaRPr lang="en-US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Remote </a:t>
            </a:r>
            <a:r>
              <a:rPr lang="en-US" dirty="0"/>
              <a:t>Assisted Programming RAP® </a:t>
            </a:r>
            <a:r>
              <a:rPr lang="en-US" dirty="0" smtClean="0"/>
              <a:t>2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Driveline 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187816" y="1862117"/>
            <a:ext cx="43207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QUICK FAC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/>
              <a:t>Founded in </a:t>
            </a:r>
            <a:r>
              <a:rPr lang="en-US" sz="2000" b="1" dirty="0" smtClean="0"/>
              <a:t>1975 </a:t>
            </a:r>
            <a:r>
              <a:rPr lang="en-US" sz="2000" dirty="0" smtClean="0"/>
              <a:t>in Cleveland, O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 smtClean="0"/>
              <a:t>Global leader in transmission and driveline-related solu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b="1" dirty="0" smtClean="0"/>
              <a:t>70 locations </a:t>
            </a:r>
            <a:r>
              <a:rPr lang="en-US" sz="2000" dirty="0" smtClean="0"/>
              <a:t>in the US &amp; Canada  </a:t>
            </a:r>
          </a:p>
        </p:txBody>
      </p:sp>
    </p:spTree>
    <p:extLst>
      <p:ext uri="{BB962C8B-B14F-4D97-AF65-F5344CB8AC3E}">
        <p14:creationId xmlns:p14="http://schemas.microsoft.com/office/powerpoint/2010/main" val="1722560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6545" y="71043"/>
            <a:ext cx="7985443" cy="565341"/>
          </a:xfrm>
          <a:prstGeom prst="rect">
            <a:avLst/>
          </a:prstGeom>
        </p:spPr>
        <p:txBody>
          <a:bodyPr vert="horz" wrap="square" lIns="0" tIns="11233" rIns="0" bIns="0" rtlCol="0" anchor="b">
            <a:spAutoFit/>
          </a:bodyPr>
          <a:lstStyle/>
          <a:p>
            <a:pPr marL="11824">
              <a:lnSpc>
                <a:spcPct val="100000"/>
              </a:lnSpc>
              <a:spcBef>
                <a:spcPts val="88"/>
              </a:spcBef>
            </a:pPr>
            <a:r>
              <a:rPr lang="en-US" sz="3600" spc="-219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ompany Locations and Service</a:t>
            </a:r>
            <a:endParaRPr sz="3600" spc="-219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06665" y="1443017"/>
            <a:ext cx="1471514" cy="246533"/>
          </a:xfrm>
          <a:custGeom>
            <a:avLst/>
            <a:gdLst/>
            <a:ahLst/>
            <a:cxnLst/>
            <a:rect l="l" t="t" r="r" b="b"/>
            <a:pathLst>
              <a:path w="1580514" h="264794">
                <a:moveTo>
                  <a:pt x="1580261" y="0"/>
                </a:moveTo>
                <a:lnTo>
                  <a:pt x="0" y="0"/>
                </a:lnTo>
                <a:lnTo>
                  <a:pt x="0" y="264667"/>
                </a:lnTo>
                <a:lnTo>
                  <a:pt x="1580261" y="264667"/>
                </a:lnTo>
                <a:lnTo>
                  <a:pt x="158026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76" dirty="0"/>
          </a:p>
        </p:txBody>
      </p:sp>
      <p:sp>
        <p:nvSpPr>
          <p:cNvPr id="19" name="object 19"/>
          <p:cNvSpPr/>
          <p:nvPr/>
        </p:nvSpPr>
        <p:spPr>
          <a:xfrm>
            <a:off x="5833249" y="1458716"/>
            <a:ext cx="255401" cy="246533"/>
          </a:xfrm>
          <a:custGeom>
            <a:avLst/>
            <a:gdLst/>
            <a:ahLst/>
            <a:cxnLst/>
            <a:rect l="l" t="t" r="r" b="b"/>
            <a:pathLst>
              <a:path w="274320" h="264794">
                <a:moveTo>
                  <a:pt x="274320" y="0"/>
                </a:moveTo>
                <a:lnTo>
                  <a:pt x="0" y="0"/>
                </a:lnTo>
                <a:lnTo>
                  <a:pt x="0" y="264667"/>
                </a:lnTo>
                <a:lnTo>
                  <a:pt x="274320" y="264667"/>
                </a:lnTo>
                <a:lnTo>
                  <a:pt x="2743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76" dirty="0"/>
          </a:p>
        </p:txBody>
      </p: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C96FF0FE-473F-A740-BC9C-B205B4142EF7}"/>
              </a:ext>
            </a:extLst>
          </p:cNvPr>
          <p:cNvGrpSpPr/>
          <p:nvPr/>
        </p:nvGrpSpPr>
        <p:grpSpPr>
          <a:xfrm>
            <a:off x="1390648" y="2449804"/>
            <a:ext cx="383528" cy="391352"/>
            <a:chOff x="2790131" y="1614856"/>
            <a:chExt cx="816960" cy="833624"/>
          </a:xfrm>
        </p:grpSpPr>
        <p:sp>
          <p:nvSpPr>
            <p:cNvPr id="454" name="Teardrop 453">
              <a:extLst>
                <a:ext uri="{FF2B5EF4-FFF2-40B4-BE49-F238E27FC236}">
                  <a16:creationId xmlns:a16="http://schemas.microsoft.com/office/drawing/2014/main" id="{C3CD3E79-BFB1-604D-9478-7CB59A366BE9}"/>
                </a:ext>
              </a:extLst>
            </p:cNvPr>
            <p:cNvSpPr/>
            <p:nvPr/>
          </p:nvSpPr>
          <p:spPr bwMode="auto">
            <a:xfrm rot="8100000">
              <a:off x="2797324" y="1614856"/>
              <a:ext cx="809767" cy="833624"/>
            </a:xfrm>
            <a:prstGeom prst="teardrop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55" name="Picture 454">
              <a:extLst>
                <a:ext uri="{FF2B5EF4-FFF2-40B4-BE49-F238E27FC236}">
                  <a16:creationId xmlns:a16="http://schemas.microsoft.com/office/drawing/2014/main" id="{1094FCA7-5090-7A4E-A4F5-24A4A2526D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90131" y="1717291"/>
              <a:ext cx="795291" cy="659922"/>
            </a:xfrm>
            <a:prstGeom prst="rect">
              <a:avLst/>
            </a:prstGeom>
          </p:spPr>
        </p:pic>
      </p:grpSp>
      <p:sp>
        <p:nvSpPr>
          <p:cNvPr id="456" name="TextBox 455">
            <a:extLst>
              <a:ext uri="{FF2B5EF4-FFF2-40B4-BE49-F238E27FC236}">
                <a16:creationId xmlns:a16="http://schemas.microsoft.com/office/drawing/2014/main" id="{BC7EE99F-0EC4-B34D-9FA4-1A53739ADE88}"/>
              </a:ext>
            </a:extLst>
          </p:cNvPr>
          <p:cNvSpPr txBox="1"/>
          <p:nvPr/>
        </p:nvSpPr>
        <p:spPr>
          <a:xfrm>
            <a:off x="1829412" y="2491163"/>
            <a:ext cx="3223107" cy="20943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2234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stribution Centers</a:t>
            </a:r>
          </a:p>
          <a:p>
            <a:pPr>
              <a:spcAft>
                <a:spcPts val="2234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S Branch Warehouses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anada Branch Warehouses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Remanufacturing</a:t>
            </a: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66"/>
              </a:spcBef>
              <a:spcAft>
                <a:spcPts val="466"/>
              </a:spcAft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7" name="Group 456">
            <a:extLst>
              <a:ext uri="{FF2B5EF4-FFF2-40B4-BE49-F238E27FC236}">
                <a16:creationId xmlns:a16="http://schemas.microsoft.com/office/drawing/2014/main" id="{2E629B0D-4DC2-C44B-87A2-E58D988F9B2A}"/>
              </a:ext>
            </a:extLst>
          </p:cNvPr>
          <p:cNvGrpSpPr/>
          <p:nvPr/>
        </p:nvGrpSpPr>
        <p:grpSpPr>
          <a:xfrm>
            <a:off x="1390468" y="4222636"/>
            <a:ext cx="383102" cy="391615"/>
            <a:chOff x="9436847" y="2410387"/>
            <a:chExt cx="714838" cy="730722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458" name="Teardrop 457">
              <a:extLst>
                <a:ext uri="{FF2B5EF4-FFF2-40B4-BE49-F238E27FC236}">
                  <a16:creationId xmlns:a16="http://schemas.microsoft.com/office/drawing/2014/main" id="{0F5AD18C-1A90-EF4D-A97B-AAE69E78A94A}"/>
                </a:ext>
              </a:extLst>
            </p:cNvPr>
            <p:cNvSpPr/>
            <p:nvPr/>
          </p:nvSpPr>
          <p:spPr bwMode="auto">
            <a:xfrm rot="8100000">
              <a:off x="9436847" y="2410387"/>
              <a:ext cx="714838" cy="730722"/>
            </a:xfrm>
            <a:prstGeom prst="teardrop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59" name="Picture 458">
              <a:extLst>
                <a:ext uri="{FF2B5EF4-FFF2-40B4-BE49-F238E27FC236}">
                  <a16:creationId xmlns:a16="http://schemas.microsoft.com/office/drawing/2014/main" id="{B4EB372E-012E-DA4F-9BA5-692309D2B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7746" y="2497191"/>
              <a:ext cx="469966" cy="469965"/>
            </a:xfrm>
            <a:prstGeom prst="rect">
              <a:avLst/>
            </a:prstGeom>
            <a:grpFill/>
          </p:spPr>
        </p:pic>
      </p:grpSp>
      <p:grpSp>
        <p:nvGrpSpPr>
          <p:cNvPr id="463" name="Group 462">
            <a:extLst>
              <a:ext uri="{FF2B5EF4-FFF2-40B4-BE49-F238E27FC236}">
                <a16:creationId xmlns:a16="http://schemas.microsoft.com/office/drawing/2014/main" id="{53FD3F97-E93E-1741-BB21-8713A535D4AC}"/>
              </a:ext>
            </a:extLst>
          </p:cNvPr>
          <p:cNvGrpSpPr/>
          <p:nvPr/>
        </p:nvGrpSpPr>
        <p:grpSpPr>
          <a:xfrm>
            <a:off x="1398830" y="3052285"/>
            <a:ext cx="383102" cy="391615"/>
            <a:chOff x="5383925" y="5263569"/>
            <a:chExt cx="809767" cy="833624"/>
          </a:xfrm>
        </p:grpSpPr>
        <p:sp>
          <p:nvSpPr>
            <p:cNvPr id="464" name="Teardrop 463">
              <a:extLst>
                <a:ext uri="{FF2B5EF4-FFF2-40B4-BE49-F238E27FC236}">
                  <a16:creationId xmlns:a16="http://schemas.microsoft.com/office/drawing/2014/main" id="{869684CC-759F-0842-A377-67B1D07AC953}"/>
                </a:ext>
              </a:extLst>
            </p:cNvPr>
            <p:cNvSpPr/>
            <p:nvPr/>
          </p:nvSpPr>
          <p:spPr bwMode="auto">
            <a:xfrm rot="8100000">
              <a:off x="5383925" y="5263569"/>
              <a:ext cx="809767" cy="833624"/>
            </a:xfrm>
            <a:prstGeom prst="teardrop">
              <a:avLst/>
            </a:prstGeom>
            <a:solidFill>
              <a:srgbClr val="F971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65" name="Picture 464">
              <a:extLst>
                <a:ext uri="{FF2B5EF4-FFF2-40B4-BE49-F238E27FC236}">
                  <a16:creationId xmlns:a16="http://schemas.microsoft.com/office/drawing/2014/main" id="{3F1C924B-611A-2D40-959C-21D816BF57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5417640" y="5339584"/>
              <a:ext cx="745986" cy="745986"/>
            </a:xfrm>
            <a:prstGeom prst="rect">
              <a:avLst/>
            </a:prstGeom>
          </p:spPr>
        </p:pic>
      </p:grpSp>
      <p:grpSp>
        <p:nvGrpSpPr>
          <p:cNvPr id="466" name="Group 465">
            <a:extLst>
              <a:ext uri="{FF2B5EF4-FFF2-40B4-BE49-F238E27FC236}">
                <a16:creationId xmlns:a16="http://schemas.microsoft.com/office/drawing/2014/main" id="{423D226C-2529-B342-BD82-CD9410AD9EE6}"/>
              </a:ext>
            </a:extLst>
          </p:cNvPr>
          <p:cNvGrpSpPr/>
          <p:nvPr/>
        </p:nvGrpSpPr>
        <p:grpSpPr>
          <a:xfrm>
            <a:off x="1398830" y="3610984"/>
            <a:ext cx="383102" cy="396316"/>
            <a:chOff x="317047" y="4829599"/>
            <a:chExt cx="411480" cy="425673"/>
          </a:xfrm>
        </p:grpSpPr>
        <p:sp>
          <p:nvSpPr>
            <p:cNvPr id="467" name="Teardrop 466">
              <a:extLst>
                <a:ext uri="{FF2B5EF4-FFF2-40B4-BE49-F238E27FC236}">
                  <a16:creationId xmlns:a16="http://schemas.microsoft.com/office/drawing/2014/main" id="{772CD5C8-AF2E-2C45-9974-8CF6638E5885}"/>
                </a:ext>
              </a:extLst>
            </p:cNvPr>
            <p:cNvSpPr/>
            <p:nvPr/>
          </p:nvSpPr>
          <p:spPr bwMode="auto">
            <a:xfrm rot="8100000">
              <a:off x="317047" y="4829599"/>
              <a:ext cx="411480" cy="420624"/>
            </a:xfrm>
            <a:prstGeom prst="teardrop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321" tIns="32161" rIns="64321" bIns="32161" anchor="ctr"/>
            <a:lstStyle/>
            <a:p>
              <a:pPr algn="ctr">
                <a:defRPr/>
              </a:pPr>
              <a:endParaRPr lang="en-US" sz="1055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pic>
          <p:nvPicPr>
            <p:cNvPr id="468" name="Picture 467">
              <a:extLst>
                <a:ext uri="{FF2B5EF4-FFF2-40B4-BE49-F238E27FC236}">
                  <a16:creationId xmlns:a16="http://schemas.microsoft.com/office/drawing/2014/main" id="{B3188F69-C1CF-1447-B24B-DD0659CE0A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335512" y="4877535"/>
              <a:ext cx="376404" cy="379070"/>
            </a:xfrm>
            <a:prstGeom prst="rect">
              <a:avLst/>
            </a:prstGeom>
          </p:spPr>
        </p:pic>
      </p:grpSp>
      <p:sp>
        <p:nvSpPr>
          <p:cNvPr id="4" name="TextBox 3"/>
          <p:cNvSpPr txBox="1"/>
          <p:nvPr/>
        </p:nvSpPr>
        <p:spPr>
          <a:xfrm>
            <a:off x="596433" y="1057038"/>
            <a:ext cx="6201632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rving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0,000+ 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customer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same or next day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eliveries.  </a:t>
            </a:r>
          </a:p>
        </p:txBody>
      </p:sp>
      <p:pic>
        <p:nvPicPr>
          <p:cNvPr id="470" name="Picture 469">
            <a:extLst>
              <a:ext uri="{FF2B5EF4-FFF2-40B4-BE49-F238E27FC236}">
                <a16:creationId xmlns:a16="http://schemas.microsoft.com/office/drawing/2014/main" id="{EEABD533-AA9B-F047-BB8B-830FF9C5EBB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591519" y="3295096"/>
            <a:ext cx="108892" cy="110755"/>
          </a:xfrm>
          <a:prstGeom prst="rect">
            <a:avLst/>
          </a:prstGeom>
        </p:spPr>
      </p:pic>
      <p:sp>
        <p:nvSpPr>
          <p:cNvPr id="472" name="Teardrop 471">
            <a:extLst>
              <a:ext uri="{FF2B5EF4-FFF2-40B4-BE49-F238E27FC236}">
                <a16:creationId xmlns:a16="http://schemas.microsoft.com/office/drawing/2014/main" id="{D245744E-235D-E34B-9986-8DCC6C2A03B1}"/>
              </a:ext>
            </a:extLst>
          </p:cNvPr>
          <p:cNvSpPr/>
          <p:nvPr/>
        </p:nvSpPr>
        <p:spPr bwMode="auto">
          <a:xfrm rot="8100000">
            <a:off x="8675950" y="3210001"/>
            <a:ext cx="120224" cy="121684"/>
          </a:xfrm>
          <a:prstGeom prst="teardrop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321" tIns="32161" rIns="64321" bIns="32161" anchor="ctr"/>
          <a:lstStyle/>
          <a:p>
            <a:pPr algn="ctr" defTabSz="851306">
              <a:defRPr/>
            </a:pPr>
            <a:endParaRPr lang="en-US" sz="1055" b="1" kern="0" dirty="0">
              <a:solidFill>
                <a:srgbClr val="44546A">
                  <a:lumMod val="50000"/>
                </a:srgbClr>
              </a:solidFill>
              <a:latin typeface="Calibri" panose="020F050202020403020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149038" y="870376"/>
            <a:ext cx="5864500" cy="5276651"/>
            <a:chOff x="5091453" y="399391"/>
            <a:chExt cx="5285399" cy="5051743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254867F-0E16-F248-8771-C52E77291964}"/>
                </a:ext>
              </a:extLst>
            </p:cNvPr>
            <p:cNvGrpSpPr/>
            <p:nvPr/>
          </p:nvGrpSpPr>
          <p:grpSpPr>
            <a:xfrm>
              <a:off x="5091453" y="399391"/>
              <a:ext cx="5285399" cy="5051743"/>
              <a:chOff x="4410830" y="1147491"/>
              <a:chExt cx="6606073" cy="6376906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3268CEF0-4C0A-1341-93D4-1A4F40EA0072}"/>
                  </a:ext>
                </a:extLst>
              </p:cNvPr>
              <p:cNvGrpSpPr/>
              <p:nvPr/>
            </p:nvGrpSpPr>
            <p:grpSpPr>
              <a:xfrm rot="21265713">
                <a:off x="4460674" y="1147491"/>
                <a:ext cx="6556229" cy="4170053"/>
                <a:chOff x="13017546" y="3273350"/>
                <a:chExt cx="10283367" cy="6947373"/>
              </a:xfrm>
            </p:grpSpPr>
            <p:sp>
              <p:nvSpPr>
                <p:cNvPr id="377" name="Freeform 6">
                  <a:extLst>
                    <a:ext uri="{FF2B5EF4-FFF2-40B4-BE49-F238E27FC236}">
                      <a16:creationId xmlns:a16="http://schemas.microsoft.com/office/drawing/2014/main" id="{DCC0E20D-414A-3943-86CA-1E822D15C4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72874" y="3991979"/>
                  <a:ext cx="426764" cy="559971"/>
                </a:xfrm>
                <a:custGeom>
                  <a:avLst/>
                  <a:gdLst>
                    <a:gd name="T0" fmla="*/ 72 w 78"/>
                    <a:gd name="T1" fmla="*/ 39 h 113"/>
                    <a:gd name="T2" fmla="*/ 66 w 78"/>
                    <a:gd name="T3" fmla="*/ 44 h 113"/>
                    <a:gd name="T4" fmla="*/ 61 w 78"/>
                    <a:gd name="T5" fmla="*/ 44 h 113"/>
                    <a:gd name="T6" fmla="*/ 65 w 78"/>
                    <a:gd name="T7" fmla="*/ 38 h 113"/>
                    <a:gd name="T8" fmla="*/ 72 w 78"/>
                    <a:gd name="T9" fmla="*/ 14 h 113"/>
                    <a:gd name="T10" fmla="*/ 66 w 78"/>
                    <a:gd name="T11" fmla="*/ 12 h 113"/>
                    <a:gd name="T12" fmla="*/ 65 w 78"/>
                    <a:gd name="T13" fmla="*/ 1 h 113"/>
                    <a:gd name="T14" fmla="*/ 51 w 78"/>
                    <a:gd name="T15" fmla="*/ 4 h 113"/>
                    <a:gd name="T16" fmla="*/ 46 w 78"/>
                    <a:gd name="T17" fmla="*/ 9 h 113"/>
                    <a:gd name="T18" fmla="*/ 40 w 78"/>
                    <a:gd name="T19" fmla="*/ 6 h 113"/>
                    <a:gd name="T20" fmla="*/ 36 w 78"/>
                    <a:gd name="T21" fmla="*/ 7 h 113"/>
                    <a:gd name="T22" fmla="*/ 25 w 78"/>
                    <a:gd name="T23" fmla="*/ 16 h 113"/>
                    <a:gd name="T24" fmla="*/ 24 w 78"/>
                    <a:gd name="T25" fmla="*/ 17 h 113"/>
                    <a:gd name="T26" fmla="*/ 19 w 78"/>
                    <a:gd name="T27" fmla="*/ 26 h 113"/>
                    <a:gd name="T28" fmla="*/ 31 w 78"/>
                    <a:gd name="T29" fmla="*/ 33 h 113"/>
                    <a:gd name="T30" fmla="*/ 30 w 78"/>
                    <a:gd name="T31" fmla="*/ 35 h 113"/>
                    <a:gd name="T32" fmla="*/ 30 w 78"/>
                    <a:gd name="T33" fmla="*/ 49 h 113"/>
                    <a:gd name="T34" fmla="*/ 27 w 78"/>
                    <a:gd name="T35" fmla="*/ 51 h 113"/>
                    <a:gd name="T36" fmla="*/ 20 w 78"/>
                    <a:gd name="T37" fmla="*/ 44 h 113"/>
                    <a:gd name="T38" fmla="*/ 11 w 78"/>
                    <a:gd name="T39" fmla="*/ 33 h 113"/>
                    <a:gd name="T40" fmla="*/ 0 w 78"/>
                    <a:gd name="T41" fmla="*/ 47 h 113"/>
                    <a:gd name="T42" fmla="*/ 6 w 78"/>
                    <a:gd name="T43" fmla="*/ 63 h 113"/>
                    <a:gd name="T44" fmla="*/ 15 w 78"/>
                    <a:gd name="T45" fmla="*/ 71 h 113"/>
                    <a:gd name="T46" fmla="*/ 22 w 78"/>
                    <a:gd name="T47" fmla="*/ 82 h 113"/>
                    <a:gd name="T48" fmla="*/ 33 w 78"/>
                    <a:gd name="T49" fmla="*/ 107 h 113"/>
                    <a:gd name="T50" fmla="*/ 48 w 78"/>
                    <a:gd name="T51" fmla="*/ 111 h 113"/>
                    <a:gd name="T52" fmla="*/ 56 w 78"/>
                    <a:gd name="T53" fmla="*/ 103 h 113"/>
                    <a:gd name="T54" fmla="*/ 70 w 78"/>
                    <a:gd name="T55" fmla="*/ 89 h 113"/>
                    <a:gd name="T56" fmla="*/ 72 w 78"/>
                    <a:gd name="T57" fmla="*/ 79 h 113"/>
                    <a:gd name="T58" fmla="*/ 71 w 78"/>
                    <a:gd name="T59" fmla="*/ 58 h 113"/>
                    <a:gd name="T60" fmla="*/ 69 w 78"/>
                    <a:gd name="T61" fmla="*/ 54 h 113"/>
                    <a:gd name="T62" fmla="*/ 77 w 78"/>
                    <a:gd name="T63" fmla="*/ 5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8" h="113">
                      <a:moveTo>
                        <a:pt x="77" y="42"/>
                      </a:moveTo>
                      <a:cubicBezTo>
                        <a:pt x="76" y="40"/>
                        <a:pt x="74" y="39"/>
                        <a:pt x="72" y="39"/>
                      </a:cubicBezTo>
                      <a:cubicBezTo>
                        <a:pt x="71" y="39"/>
                        <a:pt x="71" y="39"/>
                        <a:pt x="71" y="39"/>
                      </a:cubicBezTo>
                      <a:cubicBezTo>
                        <a:pt x="69" y="39"/>
                        <a:pt x="67" y="41"/>
                        <a:pt x="66" y="44"/>
                      </a:cubicBezTo>
                      <a:cubicBezTo>
                        <a:pt x="65" y="44"/>
                        <a:pt x="65" y="45"/>
                        <a:pt x="65" y="45"/>
                      </a:cubicBezTo>
                      <a:cubicBezTo>
                        <a:pt x="64" y="44"/>
                        <a:pt x="62" y="44"/>
                        <a:pt x="61" y="44"/>
                      </a:cubicBezTo>
                      <a:cubicBezTo>
                        <a:pt x="60" y="44"/>
                        <a:pt x="59" y="44"/>
                        <a:pt x="59" y="43"/>
                      </a:cubicBezTo>
                      <a:cubicBezTo>
                        <a:pt x="60" y="42"/>
                        <a:pt x="63" y="39"/>
                        <a:pt x="65" y="38"/>
                      </a:cubicBezTo>
                      <a:cubicBezTo>
                        <a:pt x="69" y="36"/>
                        <a:pt x="71" y="34"/>
                        <a:pt x="72" y="33"/>
                      </a:cubicBezTo>
                      <a:cubicBezTo>
                        <a:pt x="74" y="28"/>
                        <a:pt x="78" y="18"/>
                        <a:pt x="72" y="14"/>
                      </a:cubicBezTo>
                      <a:cubicBezTo>
                        <a:pt x="71" y="13"/>
                        <a:pt x="69" y="13"/>
                        <a:pt x="68" y="12"/>
                      </a:cubicBezTo>
                      <a:cubicBezTo>
                        <a:pt x="67" y="12"/>
                        <a:pt x="67" y="12"/>
                        <a:pt x="66" y="12"/>
                      </a:cubicBezTo>
                      <a:cubicBezTo>
                        <a:pt x="66" y="11"/>
                        <a:pt x="67" y="10"/>
                        <a:pt x="67" y="9"/>
                      </a:cubicBezTo>
                      <a:cubicBezTo>
                        <a:pt x="68" y="8"/>
                        <a:pt x="69" y="4"/>
                        <a:pt x="65" y="1"/>
                      </a:cubicBezTo>
                      <a:cubicBezTo>
                        <a:pt x="65" y="0"/>
                        <a:pt x="63" y="0"/>
                        <a:pt x="62" y="0"/>
                      </a:cubicBezTo>
                      <a:cubicBezTo>
                        <a:pt x="58" y="0"/>
                        <a:pt x="53" y="3"/>
                        <a:pt x="51" y="4"/>
                      </a:cubicBezTo>
                      <a:cubicBezTo>
                        <a:pt x="51" y="5"/>
                        <a:pt x="50" y="6"/>
                        <a:pt x="49" y="6"/>
                      </a:cubicBezTo>
                      <a:cubicBezTo>
                        <a:pt x="48" y="7"/>
                        <a:pt x="47" y="9"/>
                        <a:pt x="46" y="9"/>
                      </a:cubicBezTo>
                      <a:cubicBezTo>
                        <a:pt x="45" y="9"/>
                        <a:pt x="45" y="8"/>
                        <a:pt x="44" y="8"/>
                      </a:cubicBezTo>
                      <a:cubicBezTo>
                        <a:pt x="43" y="7"/>
                        <a:pt x="42" y="6"/>
                        <a:pt x="40" y="6"/>
                      </a:cubicBezTo>
                      <a:cubicBezTo>
                        <a:pt x="39" y="6"/>
                        <a:pt x="39" y="7"/>
                        <a:pt x="38" y="7"/>
                      </a:cubicBezTo>
                      <a:cubicBezTo>
                        <a:pt x="37" y="7"/>
                        <a:pt x="36" y="7"/>
                        <a:pt x="36" y="7"/>
                      </a:cubicBezTo>
                      <a:cubicBezTo>
                        <a:pt x="29" y="9"/>
                        <a:pt x="27" y="9"/>
                        <a:pt x="26" y="11"/>
                      </a:cubicBezTo>
                      <a:cubicBezTo>
                        <a:pt x="24" y="13"/>
                        <a:pt x="25" y="15"/>
                        <a:pt x="25" y="1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25" y="16"/>
                        <a:pt x="25" y="16"/>
                        <a:pt x="24" y="17"/>
                      </a:cubicBezTo>
                      <a:cubicBezTo>
                        <a:pt x="23" y="17"/>
                        <a:pt x="22" y="18"/>
                        <a:pt x="21" y="19"/>
                      </a:cubicBezTo>
                      <a:cubicBezTo>
                        <a:pt x="20" y="20"/>
                        <a:pt x="17" y="23"/>
                        <a:pt x="19" y="26"/>
                      </a:cubicBezTo>
                      <a:cubicBezTo>
                        <a:pt x="20" y="30"/>
                        <a:pt x="24" y="31"/>
                        <a:pt x="28" y="32"/>
                      </a:cubicBezTo>
                      <a:cubicBezTo>
                        <a:pt x="29" y="32"/>
                        <a:pt x="30" y="32"/>
                        <a:pt x="31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3"/>
                        <a:pt x="30" y="34"/>
                        <a:pt x="30" y="35"/>
                      </a:cubicBezTo>
                      <a:cubicBezTo>
                        <a:pt x="29" y="37"/>
                        <a:pt x="27" y="40"/>
                        <a:pt x="29" y="43"/>
                      </a:cubicBezTo>
                      <a:cubicBezTo>
                        <a:pt x="30" y="45"/>
                        <a:pt x="30" y="47"/>
                        <a:pt x="30" y="49"/>
                      </a:cubicBezTo>
                      <a:cubicBezTo>
                        <a:pt x="30" y="49"/>
                        <a:pt x="30" y="50"/>
                        <a:pt x="29" y="50"/>
                      </a:cubicBezTo>
                      <a:cubicBezTo>
                        <a:pt x="28" y="51"/>
                        <a:pt x="28" y="51"/>
                        <a:pt x="27" y="51"/>
                      </a:cubicBezTo>
                      <a:cubicBezTo>
                        <a:pt x="25" y="51"/>
                        <a:pt x="22" y="49"/>
                        <a:pt x="21" y="47"/>
                      </a:cubicBezTo>
                      <a:cubicBezTo>
                        <a:pt x="21" y="46"/>
                        <a:pt x="20" y="45"/>
                        <a:pt x="20" y="44"/>
                      </a:cubicBezTo>
                      <a:cubicBezTo>
                        <a:pt x="19" y="40"/>
                        <a:pt x="17" y="35"/>
                        <a:pt x="13" y="33"/>
                      </a:cubicBezTo>
                      <a:cubicBezTo>
                        <a:pt x="12" y="33"/>
                        <a:pt x="11" y="33"/>
                        <a:pt x="11" y="33"/>
                      </a:cubicBezTo>
                      <a:cubicBezTo>
                        <a:pt x="9" y="33"/>
                        <a:pt x="7" y="34"/>
                        <a:pt x="5" y="36"/>
                      </a:cubicBezTo>
                      <a:cubicBezTo>
                        <a:pt x="2" y="39"/>
                        <a:pt x="0" y="44"/>
                        <a:pt x="0" y="47"/>
                      </a:cubicBezTo>
                      <a:cubicBezTo>
                        <a:pt x="1" y="51"/>
                        <a:pt x="2" y="54"/>
                        <a:pt x="4" y="57"/>
                      </a:cubicBezTo>
                      <a:cubicBezTo>
                        <a:pt x="5" y="59"/>
                        <a:pt x="6" y="61"/>
                        <a:pt x="6" y="63"/>
                      </a:cubicBezTo>
                      <a:cubicBezTo>
                        <a:pt x="8" y="67"/>
                        <a:pt x="10" y="69"/>
                        <a:pt x="12" y="70"/>
                      </a:cubicBezTo>
                      <a:cubicBezTo>
                        <a:pt x="13" y="70"/>
                        <a:pt x="14" y="71"/>
                        <a:pt x="15" y="71"/>
                      </a:cubicBezTo>
                      <a:cubicBezTo>
                        <a:pt x="16" y="73"/>
                        <a:pt x="17" y="75"/>
                        <a:pt x="19" y="77"/>
                      </a:cubicBezTo>
                      <a:cubicBezTo>
                        <a:pt x="20" y="79"/>
                        <a:pt x="21" y="80"/>
                        <a:pt x="22" y="82"/>
                      </a:cubicBezTo>
                      <a:cubicBezTo>
                        <a:pt x="25" y="86"/>
                        <a:pt x="26" y="90"/>
                        <a:pt x="28" y="94"/>
                      </a:cubicBezTo>
                      <a:cubicBezTo>
                        <a:pt x="29" y="99"/>
                        <a:pt x="30" y="103"/>
                        <a:pt x="33" y="107"/>
                      </a:cubicBezTo>
                      <a:cubicBezTo>
                        <a:pt x="35" y="109"/>
                        <a:pt x="38" y="113"/>
                        <a:pt x="42" y="113"/>
                      </a:cubicBezTo>
                      <a:cubicBezTo>
                        <a:pt x="45" y="113"/>
                        <a:pt x="47" y="112"/>
                        <a:pt x="48" y="111"/>
                      </a:cubicBezTo>
                      <a:cubicBezTo>
                        <a:pt x="51" y="108"/>
                        <a:pt x="51" y="105"/>
                        <a:pt x="51" y="102"/>
                      </a:cubicBezTo>
                      <a:cubicBezTo>
                        <a:pt x="53" y="102"/>
                        <a:pt x="54" y="103"/>
                        <a:pt x="56" y="103"/>
                      </a:cubicBezTo>
                      <a:cubicBezTo>
                        <a:pt x="59" y="103"/>
                        <a:pt x="61" y="102"/>
                        <a:pt x="63" y="101"/>
                      </a:cubicBezTo>
                      <a:cubicBezTo>
                        <a:pt x="68" y="97"/>
                        <a:pt x="69" y="93"/>
                        <a:pt x="70" y="89"/>
                      </a:cubicBezTo>
                      <a:cubicBezTo>
                        <a:pt x="70" y="87"/>
                        <a:pt x="70" y="86"/>
                        <a:pt x="70" y="85"/>
                      </a:cubicBezTo>
                      <a:cubicBezTo>
                        <a:pt x="71" y="83"/>
                        <a:pt x="72" y="81"/>
                        <a:pt x="72" y="79"/>
                      </a:cubicBezTo>
                      <a:cubicBezTo>
                        <a:pt x="74" y="76"/>
                        <a:pt x="75" y="73"/>
                        <a:pt x="75" y="69"/>
                      </a:cubicBezTo>
                      <a:cubicBezTo>
                        <a:pt x="76" y="64"/>
                        <a:pt x="74" y="61"/>
                        <a:pt x="71" y="58"/>
                      </a:cubicBezTo>
                      <a:cubicBezTo>
                        <a:pt x="71" y="58"/>
                        <a:pt x="70" y="57"/>
                        <a:pt x="69" y="56"/>
                      </a:cubicBezTo>
                      <a:cubicBezTo>
                        <a:pt x="69" y="55"/>
                        <a:pt x="69" y="55"/>
                        <a:pt x="69" y="54"/>
                      </a:cubicBezTo>
                      <a:cubicBezTo>
                        <a:pt x="69" y="54"/>
                        <a:pt x="70" y="54"/>
                        <a:pt x="70" y="54"/>
                      </a:cubicBezTo>
                      <a:cubicBezTo>
                        <a:pt x="73" y="54"/>
                        <a:pt x="76" y="52"/>
                        <a:pt x="77" y="50"/>
                      </a:cubicBezTo>
                      <a:cubicBezTo>
                        <a:pt x="78" y="48"/>
                        <a:pt x="78" y="45"/>
                        <a:pt x="77" y="4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8" name="Freeform 7">
                  <a:extLst>
                    <a:ext uri="{FF2B5EF4-FFF2-40B4-BE49-F238E27FC236}">
                      <a16:creationId xmlns:a16="http://schemas.microsoft.com/office/drawing/2014/main" id="{34E04D56-7C5C-8C41-B044-4B6A4DF15F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44685" y="4809537"/>
                  <a:ext cx="342642" cy="304251"/>
                </a:xfrm>
                <a:custGeom>
                  <a:avLst/>
                  <a:gdLst>
                    <a:gd name="T0" fmla="*/ 63 w 63"/>
                    <a:gd name="T1" fmla="*/ 46 h 61"/>
                    <a:gd name="T2" fmla="*/ 58 w 63"/>
                    <a:gd name="T3" fmla="*/ 40 h 61"/>
                    <a:gd name="T4" fmla="*/ 55 w 63"/>
                    <a:gd name="T5" fmla="*/ 37 h 61"/>
                    <a:gd name="T6" fmla="*/ 53 w 63"/>
                    <a:gd name="T7" fmla="*/ 30 h 61"/>
                    <a:gd name="T8" fmla="*/ 50 w 63"/>
                    <a:gd name="T9" fmla="*/ 19 h 61"/>
                    <a:gd name="T10" fmla="*/ 44 w 63"/>
                    <a:gd name="T11" fmla="*/ 13 h 61"/>
                    <a:gd name="T12" fmla="*/ 37 w 63"/>
                    <a:gd name="T13" fmla="*/ 6 h 61"/>
                    <a:gd name="T14" fmla="*/ 29 w 63"/>
                    <a:gd name="T15" fmla="*/ 0 h 61"/>
                    <a:gd name="T16" fmla="*/ 20 w 63"/>
                    <a:gd name="T17" fmla="*/ 6 h 61"/>
                    <a:gd name="T18" fmla="*/ 17 w 63"/>
                    <a:gd name="T19" fmla="*/ 16 h 61"/>
                    <a:gd name="T20" fmla="*/ 14 w 63"/>
                    <a:gd name="T21" fmla="*/ 24 h 61"/>
                    <a:gd name="T22" fmla="*/ 10 w 63"/>
                    <a:gd name="T23" fmla="*/ 25 h 61"/>
                    <a:gd name="T24" fmla="*/ 1 w 63"/>
                    <a:gd name="T25" fmla="*/ 31 h 61"/>
                    <a:gd name="T26" fmla="*/ 1 w 63"/>
                    <a:gd name="T27" fmla="*/ 37 h 61"/>
                    <a:gd name="T28" fmla="*/ 12 w 63"/>
                    <a:gd name="T29" fmla="*/ 42 h 61"/>
                    <a:gd name="T30" fmla="*/ 15 w 63"/>
                    <a:gd name="T31" fmla="*/ 43 h 61"/>
                    <a:gd name="T32" fmla="*/ 21 w 63"/>
                    <a:gd name="T33" fmla="*/ 48 h 61"/>
                    <a:gd name="T34" fmla="*/ 26 w 63"/>
                    <a:gd name="T35" fmla="*/ 54 h 61"/>
                    <a:gd name="T36" fmla="*/ 43 w 63"/>
                    <a:gd name="T37" fmla="*/ 61 h 61"/>
                    <a:gd name="T38" fmla="*/ 43 w 63"/>
                    <a:gd name="T39" fmla="*/ 61 h 61"/>
                    <a:gd name="T40" fmla="*/ 61 w 63"/>
                    <a:gd name="T41" fmla="*/ 51 h 61"/>
                    <a:gd name="T42" fmla="*/ 63 w 63"/>
                    <a:gd name="T43" fmla="*/ 46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63" h="61">
                      <a:moveTo>
                        <a:pt x="63" y="46"/>
                      </a:moveTo>
                      <a:cubicBezTo>
                        <a:pt x="63" y="43"/>
                        <a:pt x="60" y="41"/>
                        <a:pt x="58" y="40"/>
                      </a:cubicBezTo>
                      <a:cubicBezTo>
                        <a:pt x="57" y="39"/>
                        <a:pt x="56" y="38"/>
                        <a:pt x="55" y="37"/>
                      </a:cubicBezTo>
                      <a:cubicBezTo>
                        <a:pt x="54" y="35"/>
                        <a:pt x="53" y="33"/>
                        <a:pt x="53" y="30"/>
                      </a:cubicBezTo>
                      <a:cubicBezTo>
                        <a:pt x="53" y="26"/>
                        <a:pt x="53" y="22"/>
                        <a:pt x="50" y="19"/>
                      </a:cubicBezTo>
                      <a:cubicBezTo>
                        <a:pt x="48" y="16"/>
                        <a:pt x="46" y="14"/>
                        <a:pt x="44" y="13"/>
                      </a:cubicBezTo>
                      <a:cubicBezTo>
                        <a:pt x="41" y="11"/>
                        <a:pt x="39" y="9"/>
                        <a:pt x="37" y="6"/>
                      </a:cubicBezTo>
                      <a:cubicBezTo>
                        <a:pt x="35" y="2"/>
                        <a:pt x="32" y="0"/>
                        <a:pt x="29" y="0"/>
                      </a:cubicBezTo>
                      <a:cubicBezTo>
                        <a:pt x="26" y="0"/>
                        <a:pt x="23" y="2"/>
                        <a:pt x="20" y="6"/>
                      </a:cubicBezTo>
                      <a:cubicBezTo>
                        <a:pt x="18" y="9"/>
                        <a:pt x="18" y="13"/>
                        <a:pt x="17" y="16"/>
                      </a:cubicBezTo>
                      <a:cubicBezTo>
                        <a:pt x="17" y="19"/>
                        <a:pt x="16" y="23"/>
                        <a:pt x="14" y="24"/>
                      </a:cubicBezTo>
                      <a:cubicBezTo>
                        <a:pt x="13" y="25"/>
                        <a:pt x="12" y="25"/>
                        <a:pt x="10" y="25"/>
                      </a:cubicBezTo>
                      <a:cubicBezTo>
                        <a:pt x="7" y="26"/>
                        <a:pt x="3" y="27"/>
                        <a:pt x="1" y="31"/>
                      </a:cubicBezTo>
                      <a:cubicBezTo>
                        <a:pt x="0" y="34"/>
                        <a:pt x="1" y="36"/>
                        <a:pt x="1" y="37"/>
                      </a:cubicBezTo>
                      <a:cubicBezTo>
                        <a:pt x="3" y="41"/>
                        <a:pt x="8" y="41"/>
                        <a:pt x="12" y="42"/>
                      </a:cubicBezTo>
                      <a:cubicBezTo>
                        <a:pt x="13" y="42"/>
                        <a:pt x="14" y="42"/>
                        <a:pt x="15" y="43"/>
                      </a:cubicBezTo>
                      <a:cubicBezTo>
                        <a:pt x="18" y="43"/>
                        <a:pt x="19" y="46"/>
                        <a:pt x="21" y="48"/>
                      </a:cubicBezTo>
                      <a:cubicBezTo>
                        <a:pt x="22" y="50"/>
                        <a:pt x="24" y="52"/>
                        <a:pt x="26" y="54"/>
                      </a:cubicBezTo>
                      <a:cubicBezTo>
                        <a:pt x="27" y="54"/>
                        <a:pt x="37" y="61"/>
                        <a:pt x="43" y="61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48" y="61"/>
                        <a:pt x="59" y="53"/>
                        <a:pt x="61" y="51"/>
                      </a:cubicBezTo>
                      <a:cubicBezTo>
                        <a:pt x="63" y="49"/>
                        <a:pt x="63" y="47"/>
                        <a:pt x="63" y="4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9" name="Freeform 9">
                  <a:extLst>
                    <a:ext uri="{FF2B5EF4-FFF2-40B4-BE49-F238E27FC236}">
                      <a16:creationId xmlns:a16="http://schemas.microsoft.com/office/drawing/2014/main" id="{DB801761-A470-BF45-872B-BB939926C9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2878" y="3907984"/>
                  <a:ext cx="681181" cy="713030"/>
                </a:xfrm>
                <a:custGeom>
                  <a:avLst/>
                  <a:gdLst>
                    <a:gd name="T0" fmla="*/ 110 w 125"/>
                    <a:gd name="T1" fmla="*/ 51 h 144"/>
                    <a:gd name="T2" fmla="*/ 108 w 125"/>
                    <a:gd name="T3" fmla="*/ 50 h 144"/>
                    <a:gd name="T4" fmla="*/ 111 w 125"/>
                    <a:gd name="T5" fmla="*/ 35 h 144"/>
                    <a:gd name="T6" fmla="*/ 96 w 125"/>
                    <a:gd name="T7" fmla="*/ 19 h 144"/>
                    <a:gd name="T8" fmla="*/ 85 w 125"/>
                    <a:gd name="T9" fmla="*/ 26 h 144"/>
                    <a:gd name="T10" fmla="*/ 80 w 125"/>
                    <a:gd name="T11" fmla="*/ 30 h 144"/>
                    <a:gd name="T12" fmla="*/ 81 w 125"/>
                    <a:gd name="T13" fmla="*/ 27 h 144"/>
                    <a:gd name="T14" fmla="*/ 89 w 125"/>
                    <a:gd name="T15" fmla="*/ 18 h 144"/>
                    <a:gd name="T16" fmla="*/ 92 w 125"/>
                    <a:gd name="T17" fmla="*/ 4 h 144"/>
                    <a:gd name="T18" fmla="*/ 85 w 125"/>
                    <a:gd name="T19" fmla="*/ 0 h 144"/>
                    <a:gd name="T20" fmla="*/ 75 w 125"/>
                    <a:gd name="T21" fmla="*/ 1 h 144"/>
                    <a:gd name="T22" fmla="*/ 61 w 125"/>
                    <a:gd name="T23" fmla="*/ 2 h 144"/>
                    <a:gd name="T24" fmla="*/ 54 w 125"/>
                    <a:gd name="T25" fmla="*/ 3 h 144"/>
                    <a:gd name="T26" fmla="*/ 36 w 125"/>
                    <a:gd name="T27" fmla="*/ 9 h 144"/>
                    <a:gd name="T28" fmla="*/ 26 w 125"/>
                    <a:gd name="T29" fmla="*/ 18 h 144"/>
                    <a:gd name="T30" fmla="*/ 27 w 125"/>
                    <a:gd name="T31" fmla="*/ 23 h 144"/>
                    <a:gd name="T32" fmla="*/ 14 w 125"/>
                    <a:gd name="T33" fmla="*/ 29 h 144"/>
                    <a:gd name="T34" fmla="*/ 8 w 125"/>
                    <a:gd name="T35" fmla="*/ 38 h 144"/>
                    <a:gd name="T36" fmla="*/ 19 w 125"/>
                    <a:gd name="T37" fmla="*/ 47 h 144"/>
                    <a:gd name="T38" fmla="*/ 21 w 125"/>
                    <a:gd name="T39" fmla="*/ 48 h 144"/>
                    <a:gd name="T40" fmla="*/ 12 w 125"/>
                    <a:gd name="T41" fmla="*/ 52 h 144"/>
                    <a:gd name="T42" fmla="*/ 17 w 125"/>
                    <a:gd name="T43" fmla="*/ 61 h 144"/>
                    <a:gd name="T44" fmla="*/ 24 w 125"/>
                    <a:gd name="T45" fmla="*/ 61 h 144"/>
                    <a:gd name="T46" fmla="*/ 28 w 125"/>
                    <a:gd name="T47" fmla="*/ 61 h 144"/>
                    <a:gd name="T48" fmla="*/ 37 w 125"/>
                    <a:gd name="T49" fmla="*/ 63 h 144"/>
                    <a:gd name="T50" fmla="*/ 39 w 125"/>
                    <a:gd name="T51" fmla="*/ 63 h 144"/>
                    <a:gd name="T52" fmla="*/ 43 w 125"/>
                    <a:gd name="T53" fmla="*/ 63 h 144"/>
                    <a:gd name="T54" fmla="*/ 34 w 125"/>
                    <a:gd name="T55" fmla="*/ 64 h 144"/>
                    <a:gd name="T56" fmla="*/ 17 w 125"/>
                    <a:gd name="T57" fmla="*/ 63 h 144"/>
                    <a:gd name="T58" fmla="*/ 3 w 125"/>
                    <a:gd name="T59" fmla="*/ 72 h 144"/>
                    <a:gd name="T60" fmla="*/ 18 w 125"/>
                    <a:gd name="T61" fmla="*/ 93 h 144"/>
                    <a:gd name="T62" fmla="*/ 38 w 125"/>
                    <a:gd name="T63" fmla="*/ 102 h 144"/>
                    <a:gd name="T64" fmla="*/ 50 w 125"/>
                    <a:gd name="T65" fmla="*/ 105 h 144"/>
                    <a:gd name="T66" fmla="*/ 60 w 125"/>
                    <a:gd name="T67" fmla="*/ 110 h 144"/>
                    <a:gd name="T68" fmla="*/ 66 w 125"/>
                    <a:gd name="T69" fmla="*/ 115 h 144"/>
                    <a:gd name="T70" fmla="*/ 67 w 125"/>
                    <a:gd name="T71" fmla="*/ 123 h 144"/>
                    <a:gd name="T72" fmla="*/ 54 w 125"/>
                    <a:gd name="T73" fmla="*/ 116 h 144"/>
                    <a:gd name="T74" fmla="*/ 19 w 125"/>
                    <a:gd name="T75" fmla="*/ 105 h 144"/>
                    <a:gd name="T76" fmla="*/ 14 w 125"/>
                    <a:gd name="T77" fmla="*/ 104 h 144"/>
                    <a:gd name="T78" fmla="*/ 0 w 125"/>
                    <a:gd name="T79" fmla="*/ 107 h 144"/>
                    <a:gd name="T80" fmla="*/ 125 w 125"/>
                    <a:gd name="T81" fmla="*/ 42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25" h="144">
                      <a:moveTo>
                        <a:pt x="117" y="48"/>
                      </a:moveTo>
                      <a:cubicBezTo>
                        <a:pt x="115" y="50"/>
                        <a:pt x="112" y="51"/>
                        <a:pt x="110" y="51"/>
                      </a:cubicBezTo>
                      <a:cubicBezTo>
                        <a:pt x="109" y="51"/>
                        <a:pt x="109" y="51"/>
                        <a:pt x="108" y="51"/>
                      </a:cubicBezTo>
                      <a:cubicBezTo>
                        <a:pt x="108" y="50"/>
                        <a:pt x="108" y="50"/>
                        <a:pt x="108" y="50"/>
                      </a:cubicBezTo>
                      <a:cubicBezTo>
                        <a:pt x="108" y="50"/>
                        <a:pt x="109" y="48"/>
                        <a:pt x="109" y="47"/>
                      </a:cubicBezTo>
                      <a:cubicBezTo>
                        <a:pt x="111" y="44"/>
                        <a:pt x="114" y="40"/>
                        <a:pt x="111" y="35"/>
                      </a:cubicBezTo>
                      <a:cubicBezTo>
                        <a:pt x="110" y="34"/>
                        <a:pt x="110" y="33"/>
                        <a:pt x="109" y="31"/>
                      </a:cubicBezTo>
                      <a:cubicBezTo>
                        <a:pt x="106" y="26"/>
                        <a:pt x="103" y="19"/>
                        <a:pt x="96" y="19"/>
                      </a:cubicBezTo>
                      <a:cubicBezTo>
                        <a:pt x="95" y="19"/>
                        <a:pt x="95" y="19"/>
                        <a:pt x="95" y="19"/>
                      </a:cubicBezTo>
                      <a:cubicBezTo>
                        <a:pt x="90" y="20"/>
                        <a:pt x="87" y="23"/>
                        <a:pt x="85" y="26"/>
                      </a:cubicBezTo>
                      <a:cubicBezTo>
                        <a:pt x="83" y="30"/>
                        <a:pt x="83" y="30"/>
                        <a:pt x="80" y="30"/>
                      </a:cubicBezTo>
                      <a:cubicBezTo>
                        <a:pt x="80" y="30"/>
                        <a:pt x="80" y="30"/>
                        <a:pt x="80" y="30"/>
                      </a:cubicBezTo>
                      <a:cubicBezTo>
                        <a:pt x="79" y="30"/>
                        <a:pt x="79" y="30"/>
                        <a:pt x="78" y="30"/>
                      </a:cubicBezTo>
                      <a:cubicBezTo>
                        <a:pt x="79" y="29"/>
                        <a:pt x="80" y="28"/>
                        <a:pt x="81" y="27"/>
                      </a:cubicBezTo>
                      <a:cubicBezTo>
                        <a:pt x="82" y="27"/>
                        <a:pt x="82" y="27"/>
                        <a:pt x="83" y="26"/>
                      </a:cubicBezTo>
                      <a:cubicBezTo>
                        <a:pt x="86" y="24"/>
                        <a:pt x="88" y="21"/>
                        <a:pt x="89" y="18"/>
                      </a:cubicBezTo>
                      <a:cubicBezTo>
                        <a:pt x="90" y="17"/>
                        <a:pt x="91" y="16"/>
                        <a:pt x="92" y="14"/>
                      </a:cubicBezTo>
                      <a:cubicBezTo>
                        <a:pt x="94" y="12"/>
                        <a:pt x="94" y="8"/>
                        <a:pt x="92" y="4"/>
                      </a:cubicBezTo>
                      <a:cubicBezTo>
                        <a:pt x="91" y="2"/>
                        <a:pt x="89" y="0"/>
                        <a:pt x="87" y="0"/>
                      </a:cubicBezTo>
                      <a:cubicBezTo>
                        <a:pt x="86" y="0"/>
                        <a:pt x="85" y="0"/>
                        <a:pt x="85" y="0"/>
                      </a:cubicBezTo>
                      <a:cubicBezTo>
                        <a:pt x="83" y="0"/>
                        <a:pt x="81" y="0"/>
                        <a:pt x="79" y="0"/>
                      </a:cubicBezTo>
                      <a:cubicBezTo>
                        <a:pt x="77" y="1"/>
                        <a:pt x="76" y="1"/>
                        <a:pt x="75" y="1"/>
                      </a:cubicBezTo>
                      <a:cubicBezTo>
                        <a:pt x="71" y="1"/>
                        <a:pt x="67" y="2"/>
                        <a:pt x="63" y="2"/>
                      </a:cubicBezTo>
                      <a:cubicBezTo>
                        <a:pt x="61" y="2"/>
                        <a:pt x="61" y="2"/>
                        <a:pt x="61" y="2"/>
                      </a:cubicBezTo>
                      <a:cubicBezTo>
                        <a:pt x="60" y="2"/>
                        <a:pt x="60" y="2"/>
                        <a:pt x="59" y="2"/>
                      </a:cubicBezTo>
                      <a:cubicBezTo>
                        <a:pt x="57" y="3"/>
                        <a:pt x="56" y="3"/>
                        <a:pt x="54" y="3"/>
                      </a:cubicBezTo>
                      <a:cubicBezTo>
                        <a:pt x="49" y="4"/>
                        <a:pt x="44" y="6"/>
                        <a:pt x="40" y="8"/>
                      </a:cubicBezTo>
                      <a:cubicBezTo>
                        <a:pt x="39" y="8"/>
                        <a:pt x="37" y="9"/>
                        <a:pt x="36" y="9"/>
                      </a:cubicBezTo>
                      <a:cubicBezTo>
                        <a:pt x="35" y="9"/>
                        <a:pt x="35" y="9"/>
                        <a:pt x="35" y="9"/>
                      </a:cubicBezTo>
                      <a:cubicBezTo>
                        <a:pt x="32" y="11"/>
                        <a:pt x="26" y="13"/>
                        <a:pt x="26" y="18"/>
                      </a:cubicBezTo>
                      <a:cubicBezTo>
                        <a:pt x="26" y="20"/>
                        <a:pt x="26" y="21"/>
                        <a:pt x="27" y="22"/>
                      </a:cubicBezTo>
                      <a:cubicBezTo>
                        <a:pt x="27" y="22"/>
                        <a:pt x="27" y="22"/>
                        <a:pt x="27" y="23"/>
                      </a:cubicBezTo>
                      <a:cubicBezTo>
                        <a:pt x="26" y="24"/>
                        <a:pt x="26" y="24"/>
                        <a:pt x="24" y="24"/>
                      </a:cubicBezTo>
                      <a:cubicBezTo>
                        <a:pt x="19" y="25"/>
                        <a:pt x="17" y="27"/>
                        <a:pt x="14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1" y="31"/>
                        <a:pt x="9" y="34"/>
                        <a:pt x="8" y="38"/>
                      </a:cubicBezTo>
                      <a:cubicBezTo>
                        <a:pt x="7" y="45"/>
                        <a:pt x="14" y="46"/>
                        <a:pt x="17" y="47"/>
                      </a:cubicBezTo>
                      <a:cubicBezTo>
                        <a:pt x="18" y="47"/>
                        <a:pt x="18" y="47"/>
                        <a:pt x="19" y="47"/>
                      </a:cubicBezTo>
                      <a:cubicBezTo>
                        <a:pt x="20" y="47"/>
                        <a:pt x="21" y="48"/>
                        <a:pt x="21" y="48"/>
                      </a:cubicBez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20" y="48"/>
                        <a:pt x="19" y="48"/>
                        <a:pt x="18" y="48"/>
                      </a:cubicBezTo>
                      <a:cubicBezTo>
                        <a:pt x="17" y="48"/>
                        <a:pt x="13" y="48"/>
                        <a:pt x="12" y="52"/>
                      </a:cubicBezTo>
                      <a:cubicBezTo>
                        <a:pt x="11" y="53"/>
                        <a:pt x="11" y="55"/>
                        <a:pt x="12" y="57"/>
                      </a:cubicBezTo>
                      <a:cubicBezTo>
                        <a:pt x="13" y="59"/>
                        <a:pt x="15" y="61"/>
                        <a:pt x="17" y="61"/>
                      </a:cubicBezTo>
                      <a:cubicBezTo>
                        <a:pt x="18" y="61"/>
                        <a:pt x="19" y="62"/>
                        <a:pt x="21" y="62"/>
                      </a:cubicBezTo>
                      <a:cubicBezTo>
                        <a:pt x="22" y="62"/>
                        <a:pt x="23" y="61"/>
                        <a:pt x="24" y="61"/>
                      </a:cubicBezTo>
                      <a:cubicBezTo>
                        <a:pt x="26" y="61"/>
                        <a:pt x="27" y="61"/>
                        <a:pt x="28" y="61"/>
                      </a:cubicBezTo>
                      <a:cubicBezTo>
                        <a:pt x="28" y="61"/>
                        <a:pt x="28" y="61"/>
                        <a:pt x="28" y="61"/>
                      </a:cubicBezTo>
                      <a:cubicBezTo>
                        <a:pt x="29" y="61"/>
                        <a:pt x="30" y="61"/>
                        <a:pt x="31" y="62"/>
                      </a:cubicBezTo>
                      <a:cubicBezTo>
                        <a:pt x="33" y="62"/>
                        <a:pt x="35" y="63"/>
                        <a:pt x="37" y="63"/>
                      </a:cubicBezTo>
                      <a:cubicBezTo>
                        <a:pt x="37" y="63"/>
                        <a:pt x="37" y="63"/>
                        <a:pt x="37" y="63"/>
                      </a:cubicBezTo>
                      <a:cubicBezTo>
                        <a:pt x="38" y="63"/>
                        <a:pt x="38" y="63"/>
                        <a:pt x="39" y="63"/>
                      </a:cubicBezTo>
                      <a:cubicBezTo>
                        <a:pt x="40" y="63"/>
                        <a:pt x="40" y="63"/>
                        <a:pt x="41" y="63"/>
                      </a:cubicBezTo>
                      <a:cubicBezTo>
                        <a:pt x="42" y="63"/>
                        <a:pt x="42" y="63"/>
                        <a:pt x="43" y="63"/>
                      </a:cubicBezTo>
                      <a:cubicBezTo>
                        <a:pt x="41" y="63"/>
                        <a:pt x="38" y="64"/>
                        <a:pt x="35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2" y="64"/>
                        <a:pt x="29" y="64"/>
                        <a:pt x="26" y="63"/>
                      </a:cubicBezTo>
                      <a:cubicBezTo>
                        <a:pt x="23" y="63"/>
                        <a:pt x="20" y="63"/>
                        <a:pt x="17" y="63"/>
                      </a:cubicBezTo>
                      <a:cubicBezTo>
                        <a:pt x="15" y="63"/>
                        <a:pt x="13" y="63"/>
                        <a:pt x="11" y="63"/>
                      </a:cubicBezTo>
                      <a:cubicBezTo>
                        <a:pt x="7" y="64"/>
                        <a:pt x="4" y="68"/>
                        <a:pt x="3" y="72"/>
                      </a:cubicBezTo>
                      <a:cubicBezTo>
                        <a:pt x="1" y="77"/>
                        <a:pt x="4" y="81"/>
                        <a:pt x="6" y="84"/>
                      </a:cubicBezTo>
                      <a:cubicBezTo>
                        <a:pt x="10" y="89"/>
                        <a:pt x="12" y="91"/>
                        <a:pt x="18" y="93"/>
                      </a:cubicBezTo>
                      <a:cubicBezTo>
                        <a:pt x="22" y="94"/>
                        <a:pt x="25" y="96"/>
                        <a:pt x="30" y="99"/>
                      </a:cubicBezTo>
                      <a:cubicBezTo>
                        <a:pt x="32" y="101"/>
                        <a:pt x="35" y="101"/>
                        <a:pt x="38" y="102"/>
                      </a:cubicBezTo>
                      <a:cubicBezTo>
                        <a:pt x="40" y="102"/>
                        <a:pt x="41" y="103"/>
                        <a:pt x="43" y="103"/>
                      </a:cubicBezTo>
                      <a:cubicBezTo>
                        <a:pt x="45" y="104"/>
                        <a:pt x="48" y="104"/>
                        <a:pt x="50" y="105"/>
                      </a:cubicBezTo>
                      <a:cubicBezTo>
                        <a:pt x="52" y="105"/>
                        <a:pt x="54" y="105"/>
                        <a:pt x="56" y="106"/>
                      </a:cubicBezTo>
                      <a:cubicBezTo>
                        <a:pt x="57" y="106"/>
                        <a:pt x="59" y="108"/>
                        <a:pt x="60" y="110"/>
                      </a:cubicBezTo>
                      <a:cubicBezTo>
                        <a:pt x="61" y="111"/>
                        <a:pt x="62" y="112"/>
                        <a:pt x="63" y="112"/>
                      </a:cubicBezTo>
                      <a:cubicBezTo>
                        <a:pt x="64" y="113"/>
                        <a:pt x="65" y="114"/>
                        <a:pt x="66" y="115"/>
                      </a:cubicBezTo>
                      <a:cubicBezTo>
                        <a:pt x="69" y="117"/>
                        <a:pt x="71" y="119"/>
                        <a:pt x="71" y="120"/>
                      </a:cubicBezTo>
                      <a:cubicBezTo>
                        <a:pt x="70" y="122"/>
                        <a:pt x="70" y="123"/>
                        <a:pt x="67" y="123"/>
                      </a:cubicBezTo>
                      <a:cubicBezTo>
                        <a:pt x="66" y="123"/>
                        <a:pt x="66" y="123"/>
                        <a:pt x="65" y="123"/>
                      </a:cubicBezTo>
                      <a:cubicBezTo>
                        <a:pt x="61" y="122"/>
                        <a:pt x="57" y="119"/>
                        <a:pt x="54" y="116"/>
                      </a:cubicBezTo>
                      <a:cubicBezTo>
                        <a:pt x="51" y="115"/>
                        <a:pt x="49" y="113"/>
                        <a:pt x="46" y="111"/>
                      </a:cubicBezTo>
                      <a:cubicBezTo>
                        <a:pt x="38" y="107"/>
                        <a:pt x="28" y="106"/>
                        <a:pt x="19" y="105"/>
                      </a:cubicBezTo>
                      <a:cubicBezTo>
                        <a:pt x="16" y="104"/>
                        <a:pt x="16" y="104"/>
                        <a:pt x="16" y="104"/>
                      </a:cubicBezTo>
                      <a:cubicBezTo>
                        <a:pt x="15" y="104"/>
                        <a:pt x="15" y="104"/>
                        <a:pt x="14" y="104"/>
                      </a:cubicBezTo>
                      <a:cubicBezTo>
                        <a:pt x="12" y="104"/>
                        <a:pt x="11" y="104"/>
                        <a:pt x="9" y="105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91" y="144"/>
                        <a:pt x="91" y="144"/>
                        <a:pt x="91" y="144"/>
                      </a:cubicBezTo>
                      <a:cubicBezTo>
                        <a:pt x="125" y="42"/>
                        <a:pt x="125" y="42"/>
                        <a:pt x="125" y="42"/>
                      </a:cubicBezTo>
                      <a:lnTo>
                        <a:pt x="117" y="48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0" name="Freeform 10">
                  <a:extLst>
                    <a:ext uri="{FF2B5EF4-FFF2-40B4-BE49-F238E27FC236}">
                      <a16:creationId xmlns:a16="http://schemas.microsoft.com/office/drawing/2014/main" id="{F392D74D-C2B0-F841-8CD6-EFECBE33FA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79474" y="3372278"/>
                  <a:ext cx="322125" cy="395713"/>
                </a:xfrm>
                <a:custGeom>
                  <a:avLst/>
                  <a:gdLst>
                    <a:gd name="T0" fmla="*/ 57 w 59"/>
                    <a:gd name="T1" fmla="*/ 41 h 80"/>
                    <a:gd name="T2" fmla="*/ 46 w 59"/>
                    <a:gd name="T3" fmla="*/ 34 h 80"/>
                    <a:gd name="T4" fmla="*/ 40 w 59"/>
                    <a:gd name="T5" fmla="*/ 38 h 80"/>
                    <a:gd name="T6" fmla="*/ 40 w 59"/>
                    <a:gd name="T7" fmla="*/ 39 h 80"/>
                    <a:gd name="T8" fmla="*/ 40 w 59"/>
                    <a:gd name="T9" fmla="*/ 38 h 80"/>
                    <a:gd name="T10" fmla="*/ 39 w 59"/>
                    <a:gd name="T11" fmla="*/ 37 h 80"/>
                    <a:gd name="T12" fmla="*/ 39 w 59"/>
                    <a:gd name="T13" fmla="*/ 34 h 80"/>
                    <a:gd name="T14" fmla="*/ 38 w 59"/>
                    <a:gd name="T15" fmla="*/ 32 h 80"/>
                    <a:gd name="T16" fmla="*/ 36 w 59"/>
                    <a:gd name="T17" fmla="*/ 32 h 80"/>
                    <a:gd name="T18" fmla="*/ 35 w 59"/>
                    <a:gd name="T19" fmla="*/ 32 h 80"/>
                    <a:gd name="T20" fmla="*/ 36 w 59"/>
                    <a:gd name="T21" fmla="*/ 31 h 80"/>
                    <a:gd name="T22" fmla="*/ 38 w 59"/>
                    <a:gd name="T23" fmla="*/ 26 h 80"/>
                    <a:gd name="T24" fmla="*/ 36 w 59"/>
                    <a:gd name="T25" fmla="*/ 20 h 80"/>
                    <a:gd name="T26" fmla="*/ 36 w 59"/>
                    <a:gd name="T27" fmla="*/ 19 h 80"/>
                    <a:gd name="T28" fmla="*/ 35 w 59"/>
                    <a:gd name="T29" fmla="*/ 13 h 80"/>
                    <a:gd name="T30" fmla="*/ 37 w 59"/>
                    <a:gd name="T31" fmla="*/ 12 h 80"/>
                    <a:gd name="T32" fmla="*/ 40 w 59"/>
                    <a:gd name="T33" fmla="*/ 8 h 80"/>
                    <a:gd name="T34" fmla="*/ 39 w 59"/>
                    <a:gd name="T35" fmla="*/ 2 h 80"/>
                    <a:gd name="T36" fmla="*/ 34 w 59"/>
                    <a:gd name="T37" fmla="*/ 0 h 80"/>
                    <a:gd name="T38" fmla="*/ 27 w 59"/>
                    <a:gd name="T39" fmla="*/ 2 h 80"/>
                    <a:gd name="T40" fmla="*/ 22 w 59"/>
                    <a:gd name="T41" fmla="*/ 6 h 80"/>
                    <a:gd name="T42" fmla="*/ 18 w 59"/>
                    <a:gd name="T43" fmla="*/ 10 h 80"/>
                    <a:gd name="T44" fmla="*/ 13 w 59"/>
                    <a:gd name="T45" fmla="*/ 17 h 80"/>
                    <a:gd name="T46" fmla="*/ 17 w 59"/>
                    <a:gd name="T47" fmla="*/ 26 h 80"/>
                    <a:gd name="T48" fmla="*/ 18 w 59"/>
                    <a:gd name="T49" fmla="*/ 27 h 80"/>
                    <a:gd name="T50" fmla="*/ 17 w 59"/>
                    <a:gd name="T51" fmla="*/ 28 h 80"/>
                    <a:gd name="T52" fmla="*/ 15 w 59"/>
                    <a:gd name="T53" fmla="*/ 33 h 80"/>
                    <a:gd name="T54" fmla="*/ 18 w 59"/>
                    <a:gd name="T55" fmla="*/ 42 h 80"/>
                    <a:gd name="T56" fmla="*/ 20 w 59"/>
                    <a:gd name="T57" fmla="*/ 46 h 80"/>
                    <a:gd name="T58" fmla="*/ 16 w 59"/>
                    <a:gd name="T59" fmla="*/ 48 h 80"/>
                    <a:gd name="T60" fmla="*/ 12 w 59"/>
                    <a:gd name="T61" fmla="*/ 47 h 80"/>
                    <a:gd name="T62" fmla="*/ 9 w 59"/>
                    <a:gd name="T63" fmla="*/ 46 h 80"/>
                    <a:gd name="T64" fmla="*/ 0 w 59"/>
                    <a:gd name="T65" fmla="*/ 76 h 80"/>
                    <a:gd name="T66" fmla="*/ 5 w 59"/>
                    <a:gd name="T67" fmla="*/ 75 h 80"/>
                    <a:gd name="T68" fmla="*/ 10 w 59"/>
                    <a:gd name="T69" fmla="*/ 74 h 80"/>
                    <a:gd name="T70" fmla="*/ 14 w 59"/>
                    <a:gd name="T71" fmla="*/ 74 h 80"/>
                    <a:gd name="T72" fmla="*/ 15 w 59"/>
                    <a:gd name="T73" fmla="*/ 74 h 80"/>
                    <a:gd name="T74" fmla="*/ 17 w 59"/>
                    <a:gd name="T75" fmla="*/ 75 h 80"/>
                    <a:gd name="T76" fmla="*/ 20 w 59"/>
                    <a:gd name="T77" fmla="*/ 77 h 80"/>
                    <a:gd name="T78" fmla="*/ 26 w 59"/>
                    <a:gd name="T79" fmla="*/ 78 h 80"/>
                    <a:gd name="T80" fmla="*/ 28 w 59"/>
                    <a:gd name="T81" fmla="*/ 78 h 80"/>
                    <a:gd name="T82" fmla="*/ 36 w 59"/>
                    <a:gd name="T83" fmla="*/ 80 h 80"/>
                    <a:gd name="T84" fmla="*/ 36 w 59"/>
                    <a:gd name="T85" fmla="*/ 80 h 80"/>
                    <a:gd name="T86" fmla="*/ 48 w 59"/>
                    <a:gd name="T87" fmla="*/ 74 h 80"/>
                    <a:gd name="T88" fmla="*/ 56 w 59"/>
                    <a:gd name="T89" fmla="*/ 57 h 80"/>
                    <a:gd name="T90" fmla="*/ 57 w 59"/>
                    <a:gd name="T91" fmla="*/ 4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9" h="80">
                      <a:moveTo>
                        <a:pt x="57" y="41"/>
                      </a:moveTo>
                      <a:cubicBezTo>
                        <a:pt x="55" y="37"/>
                        <a:pt x="50" y="34"/>
                        <a:pt x="46" y="34"/>
                      </a:cubicBezTo>
                      <a:cubicBezTo>
                        <a:pt x="43" y="34"/>
                        <a:pt x="41" y="36"/>
                        <a:pt x="40" y="38"/>
                      </a:cubicBezTo>
                      <a:cubicBezTo>
                        <a:pt x="40" y="38"/>
                        <a:pt x="40" y="39"/>
                        <a:pt x="40" y="39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39" y="37"/>
                        <a:pt x="39" y="37"/>
                        <a:pt x="39" y="37"/>
                      </a:cubicBezTo>
                      <a:cubicBezTo>
                        <a:pt x="39" y="36"/>
                        <a:pt x="39" y="35"/>
                        <a:pt x="39" y="34"/>
                      </a:cubicBezTo>
                      <a:cubicBezTo>
                        <a:pt x="38" y="32"/>
                        <a:pt x="38" y="32"/>
                        <a:pt x="38" y="32"/>
                      </a:cubicBezTo>
                      <a:cubicBezTo>
                        <a:pt x="36" y="32"/>
                        <a:pt x="36" y="32"/>
                        <a:pt x="36" y="32"/>
                      </a:cubicBezTo>
                      <a:cubicBezTo>
                        <a:pt x="36" y="32"/>
                        <a:pt x="35" y="32"/>
                        <a:pt x="35" y="32"/>
                      </a:cubicBezTo>
                      <a:cubicBezTo>
                        <a:pt x="35" y="31"/>
                        <a:pt x="35" y="31"/>
                        <a:pt x="36" y="31"/>
                      </a:cubicBezTo>
                      <a:cubicBezTo>
                        <a:pt x="36" y="30"/>
                        <a:pt x="37" y="28"/>
                        <a:pt x="38" y="26"/>
                      </a:cubicBezTo>
                      <a:cubicBezTo>
                        <a:pt x="38" y="24"/>
                        <a:pt x="37" y="22"/>
                        <a:pt x="36" y="20"/>
                      </a:cubicBezTo>
                      <a:cubicBezTo>
                        <a:pt x="36" y="20"/>
                        <a:pt x="36" y="19"/>
                        <a:pt x="36" y="19"/>
                      </a:cubicBezTo>
                      <a:cubicBezTo>
                        <a:pt x="35" y="15"/>
                        <a:pt x="35" y="14"/>
                        <a:pt x="35" y="13"/>
                      </a:cubicBezTo>
                      <a:cubicBezTo>
                        <a:pt x="36" y="13"/>
                        <a:pt x="36" y="12"/>
                        <a:pt x="37" y="12"/>
                      </a:cubicBezTo>
                      <a:cubicBezTo>
                        <a:pt x="38" y="11"/>
                        <a:pt x="39" y="10"/>
                        <a:pt x="40" y="8"/>
                      </a:cubicBezTo>
                      <a:cubicBezTo>
                        <a:pt x="40" y="5"/>
                        <a:pt x="40" y="3"/>
                        <a:pt x="39" y="2"/>
                      </a:cubicBezTo>
                      <a:cubicBezTo>
                        <a:pt x="38" y="0"/>
                        <a:pt x="36" y="0"/>
                        <a:pt x="34" y="0"/>
                      </a:cubicBezTo>
                      <a:cubicBezTo>
                        <a:pt x="32" y="0"/>
                        <a:pt x="29" y="0"/>
                        <a:pt x="27" y="2"/>
                      </a:cubicBezTo>
                      <a:cubicBezTo>
                        <a:pt x="25" y="3"/>
                        <a:pt x="24" y="5"/>
                        <a:pt x="22" y="6"/>
                      </a:cubicBezTo>
                      <a:cubicBezTo>
                        <a:pt x="21" y="7"/>
                        <a:pt x="20" y="9"/>
                        <a:pt x="18" y="10"/>
                      </a:cubicBezTo>
                      <a:cubicBezTo>
                        <a:pt x="15" y="12"/>
                        <a:pt x="14" y="14"/>
                        <a:pt x="13" y="17"/>
                      </a:cubicBezTo>
                      <a:cubicBezTo>
                        <a:pt x="13" y="20"/>
                        <a:pt x="14" y="23"/>
                        <a:pt x="17" y="26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18" y="27"/>
                        <a:pt x="18" y="28"/>
                        <a:pt x="17" y="28"/>
                      </a:cubicBezTo>
                      <a:cubicBezTo>
                        <a:pt x="17" y="29"/>
                        <a:pt x="15" y="30"/>
                        <a:pt x="15" y="33"/>
                      </a:cubicBezTo>
                      <a:cubicBezTo>
                        <a:pt x="14" y="37"/>
                        <a:pt x="16" y="40"/>
                        <a:pt x="18" y="42"/>
                      </a:cubicBezTo>
                      <a:cubicBezTo>
                        <a:pt x="19" y="44"/>
                        <a:pt x="20" y="45"/>
                        <a:pt x="20" y="46"/>
                      </a:cubicBezTo>
                      <a:cubicBezTo>
                        <a:pt x="20" y="48"/>
                        <a:pt x="17" y="48"/>
                        <a:pt x="16" y="48"/>
                      </a:cubicBezTo>
                      <a:cubicBezTo>
                        <a:pt x="15" y="48"/>
                        <a:pt x="13" y="48"/>
                        <a:pt x="12" y="47"/>
                      </a:cubicBez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0" y="76"/>
                        <a:pt x="0" y="76"/>
                        <a:pt x="0" y="76"/>
                      </a:cubicBezTo>
                      <a:cubicBezTo>
                        <a:pt x="5" y="75"/>
                        <a:pt x="5" y="75"/>
                        <a:pt x="5" y="75"/>
                      </a:cubicBezTo>
                      <a:cubicBezTo>
                        <a:pt x="6" y="75"/>
                        <a:pt x="8" y="75"/>
                        <a:pt x="10" y="74"/>
                      </a:cubicBezTo>
                      <a:cubicBezTo>
                        <a:pt x="11" y="74"/>
                        <a:pt x="13" y="74"/>
                        <a:pt x="14" y="74"/>
                      </a:cubicBezTo>
                      <a:cubicBezTo>
                        <a:pt x="15" y="74"/>
                        <a:pt x="15" y="74"/>
                        <a:pt x="15" y="74"/>
                      </a:cubicBezTo>
                      <a:cubicBezTo>
                        <a:pt x="16" y="74"/>
                        <a:pt x="16" y="74"/>
                        <a:pt x="17" y="75"/>
                      </a:cubicBezTo>
                      <a:cubicBezTo>
                        <a:pt x="18" y="76"/>
                        <a:pt x="19" y="76"/>
                        <a:pt x="20" y="77"/>
                      </a:cubicBezTo>
                      <a:cubicBezTo>
                        <a:pt x="22" y="78"/>
                        <a:pt x="24" y="78"/>
                        <a:pt x="26" y="78"/>
                      </a:cubicBezTo>
                      <a:cubicBezTo>
                        <a:pt x="27" y="78"/>
                        <a:pt x="28" y="78"/>
                        <a:pt x="28" y="78"/>
                      </a:cubicBezTo>
                      <a:cubicBezTo>
                        <a:pt x="31" y="79"/>
                        <a:pt x="34" y="80"/>
                        <a:pt x="36" y="80"/>
                      </a:cubicBezTo>
                      <a:cubicBezTo>
                        <a:pt x="36" y="80"/>
                        <a:pt x="36" y="80"/>
                        <a:pt x="36" y="80"/>
                      </a:cubicBezTo>
                      <a:cubicBezTo>
                        <a:pt x="40" y="80"/>
                        <a:pt x="44" y="78"/>
                        <a:pt x="48" y="74"/>
                      </a:cubicBezTo>
                      <a:cubicBezTo>
                        <a:pt x="52" y="69"/>
                        <a:pt x="55" y="63"/>
                        <a:pt x="56" y="57"/>
                      </a:cubicBezTo>
                      <a:cubicBezTo>
                        <a:pt x="57" y="52"/>
                        <a:pt x="59" y="47"/>
                        <a:pt x="57" y="4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1" name="Freeform 11">
                  <a:extLst>
                    <a:ext uri="{FF2B5EF4-FFF2-40B4-BE49-F238E27FC236}">
                      <a16:creationId xmlns:a16="http://schemas.microsoft.com/office/drawing/2014/main" id="{28610198-701F-3A4C-8A3B-851414E054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58865" y="3351746"/>
                  <a:ext cx="170295" cy="119460"/>
                </a:xfrm>
                <a:custGeom>
                  <a:avLst/>
                  <a:gdLst>
                    <a:gd name="T0" fmla="*/ 26 w 31"/>
                    <a:gd name="T1" fmla="*/ 0 h 24"/>
                    <a:gd name="T2" fmla="*/ 9 w 31"/>
                    <a:gd name="T3" fmla="*/ 6 h 24"/>
                    <a:gd name="T4" fmla="*/ 9 w 31"/>
                    <a:gd name="T5" fmla="*/ 6 h 24"/>
                    <a:gd name="T6" fmla="*/ 1 w 31"/>
                    <a:gd name="T7" fmla="*/ 12 h 24"/>
                    <a:gd name="T8" fmla="*/ 2 w 31"/>
                    <a:gd name="T9" fmla="*/ 18 h 24"/>
                    <a:gd name="T10" fmla="*/ 7 w 31"/>
                    <a:gd name="T11" fmla="*/ 24 h 24"/>
                    <a:gd name="T12" fmla="*/ 9 w 31"/>
                    <a:gd name="T13" fmla="*/ 24 h 24"/>
                    <a:gd name="T14" fmla="*/ 9 w 31"/>
                    <a:gd name="T15" fmla="*/ 24 h 24"/>
                    <a:gd name="T16" fmla="*/ 17 w 31"/>
                    <a:gd name="T17" fmla="*/ 20 h 24"/>
                    <a:gd name="T18" fmla="*/ 18 w 31"/>
                    <a:gd name="T19" fmla="*/ 19 h 24"/>
                    <a:gd name="T20" fmla="*/ 29 w 31"/>
                    <a:gd name="T21" fmla="*/ 4 h 24"/>
                    <a:gd name="T22" fmla="*/ 31 w 31"/>
                    <a:gd name="T23" fmla="*/ 0 h 24"/>
                    <a:gd name="T24" fmla="*/ 26 w 31"/>
                    <a:gd name="T25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1" h="24">
                      <a:moveTo>
                        <a:pt x="26" y="0"/>
                      </a:moveTo>
                      <a:cubicBezTo>
                        <a:pt x="20" y="1"/>
                        <a:pt x="13" y="4"/>
                        <a:pt x="9" y="6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6" y="7"/>
                        <a:pt x="3" y="9"/>
                        <a:pt x="1" y="12"/>
                      </a:cubicBezTo>
                      <a:cubicBezTo>
                        <a:pt x="0" y="13"/>
                        <a:pt x="0" y="16"/>
                        <a:pt x="2" y="18"/>
                      </a:cubicBezTo>
                      <a:cubicBezTo>
                        <a:pt x="3" y="20"/>
                        <a:pt x="5" y="23"/>
                        <a:pt x="7" y="24"/>
                      </a:cubicBezTo>
                      <a:cubicBezTo>
                        <a:pt x="8" y="24"/>
                        <a:pt x="8" y="24"/>
                        <a:pt x="9" y="24"/>
                      </a:cubicBezTo>
                      <a:cubicBezTo>
                        <a:pt x="9" y="24"/>
                        <a:pt x="9" y="24"/>
                        <a:pt x="9" y="24"/>
                      </a:cubicBezTo>
                      <a:cubicBezTo>
                        <a:pt x="12" y="24"/>
                        <a:pt x="15" y="21"/>
                        <a:pt x="17" y="20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24" y="14"/>
                        <a:pt x="28" y="9"/>
                        <a:pt x="29" y="4"/>
                      </a:cubicBezTo>
                      <a:cubicBezTo>
                        <a:pt x="31" y="0"/>
                        <a:pt x="31" y="0"/>
                        <a:pt x="31" y="0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2" name="Freeform 12">
                  <a:extLst>
                    <a:ext uri="{FF2B5EF4-FFF2-40B4-BE49-F238E27FC236}">
                      <a16:creationId xmlns:a16="http://schemas.microsoft.com/office/drawing/2014/main" id="{51F13D15-1128-8643-B550-3612F7FEDD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69397" y="3282683"/>
                  <a:ext cx="190813" cy="110128"/>
                </a:xfrm>
                <a:custGeom>
                  <a:avLst/>
                  <a:gdLst>
                    <a:gd name="T0" fmla="*/ 33 w 35"/>
                    <a:gd name="T1" fmla="*/ 7 h 22"/>
                    <a:gd name="T2" fmla="*/ 26 w 35"/>
                    <a:gd name="T3" fmla="*/ 3 h 22"/>
                    <a:gd name="T4" fmla="*/ 25 w 35"/>
                    <a:gd name="T5" fmla="*/ 3 h 22"/>
                    <a:gd name="T6" fmla="*/ 21 w 35"/>
                    <a:gd name="T7" fmla="*/ 2 h 22"/>
                    <a:gd name="T8" fmla="*/ 14 w 35"/>
                    <a:gd name="T9" fmla="*/ 0 h 22"/>
                    <a:gd name="T10" fmla="*/ 10 w 35"/>
                    <a:gd name="T11" fmla="*/ 1 h 22"/>
                    <a:gd name="T12" fmla="*/ 2 w 35"/>
                    <a:gd name="T13" fmla="*/ 14 h 22"/>
                    <a:gd name="T14" fmla="*/ 14 w 35"/>
                    <a:gd name="T15" fmla="*/ 19 h 22"/>
                    <a:gd name="T16" fmla="*/ 17 w 35"/>
                    <a:gd name="T17" fmla="*/ 20 h 22"/>
                    <a:gd name="T18" fmla="*/ 20 w 35"/>
                    <a:gd name="T19" fmla="*/ 21 h 22"/>
                    <a:gd name="T20" fmla="*/ 25 w 35"/>
                    <a:gd name="T21" fmla="*/ 22 h 22"/>
                    <a:gd name="T22" fmla="*/ 32 w 35"/>
                    <a:gd name="T23" fmla="*/ 17 h 22"/>
                    <a:gd name="T24" fmla="*/ 32 w 35"/>
                    <a:gd name="T25" fmla="*/ 16 h 22"/>
                    <a:gd name="T26" fmla="*/ 33 w 35"/>
                    <a:gd name="T27" fmla="*/ 7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5" h="22">
                      <a:moveTo>
                        <a:pt x="33" y="7"/>
                      </a:moveTo>
                      <a:cubicBezTo>
                        <a:pt x="32" y="4"/>
                        <a:pt x="28" y="3"/>
                        <a:pt x="26" y="3"/>
                      </a:cubicBezTo>
                      <a:cubicBezTo>
                        <a:pt x="26" y="3"/>
                        <a:pt x="25" y="3"/>
                        <a:pt x="25" y="3"/>
                      </a:cubicBezTo>
                      <a:cubicBezTo>
                        <a:pt x="24" y="3"/>
                        <a:pt x="22" y="2"/>
                        <a:pt x="21" y="2"/>
                      </a:cubicBezTo>
                      <a:cubicBezTo>
                        <a:pt x="19" y="1"/>
                        <a:pt x="17" y="0"/>
                        <a:pt x="14" y="0"/>
                      </a:cubicBezTo>
                      <a:cubicBezTo>
                        <a:pt x="13" y="0"/>
                        <a:pt x="11" y="1"/>
                        <a:pt x="10" y="1"/>
                      </a:cubicBezTo>
                      <a:cubicBezTo>
                        <a:pt x="6" y="3"/>
                        <a:pt x="0" y="8"/>
                        <a:pt x="2" y="14"/>
                      </a:cubicBezTo>
                      <a:cubicBezTo>
                        <a:pt x="3" y="19"/>
                        <a:pt x="10" y="19"/>
                        <a:pt x="14" y="19"/>
                      </a:cubicBezTo>
                      <a:cubicBezTo>
                        <a:pt x="15" y="20"/>
                        <a:pt x="17" y="20"/>
                        <a:pt x="17" y="20"/>
                      </a:cubicBezTo>
                      <a:cubicBezTo>
                        <a:pt x="18" y="20"/>
                        <a:pt x="19" y="20"/>
                        <a:pt x="20" y="21"/>
                      </a:cubicBezTo>
                      <a:cubicBezTo>
                        <a:pt x="22" y="21"/>
                        <a:pt x="24" y="22"/>
                        <a:pt x="25" y="22"/>
                      </a:cubicBezTo>
                      <a:cubicBezTo>
                        <a:pt x="28" y="22"/>
                        <a:pt x="30" y="20"/>
                        <a:pt x="32" y="17"/>
                      </a:cubicBezTo>
                      <a:cubicBezTo>
                        <a:pt x="32" y="16"/>
                        <a:pt x="32" y="16"/>
                        <a:pt x="32" y="16"/>
                      </a:cubicBezTo>
                      <a:cubicBezTo>
                        <a:pt x="33" y="13"/>
                        <a:pt x="35" y="10"/>
                        <a:pt x="33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3" name="Freeform 13">
                  <a:extLst>
                    <a:ext uri="{FF2B5EF4-FFF2-40B4-BE49-F238E27FC236}">
                      <a16:creationId xmlns:a16="http://schemas.microsoft.com/office/drawing/2014/main" id="{0A3598F4-625B-6248-942A-997EAB967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08563" y="4051710"/>
                  <a:ext cx="354953" cy="212789"/>
                </a:xfrm>
                <a:custGeom>
                  <a:avLst/>
                  <a:gdLst>
                    <a:gd name="T0" fmla="*/ 25 w 65"/>
                    <a:gd name="T1" fmla="*/ 43 h 43"/>
                    <a:gd name="T2" fmla="*/ 22 w 65"/>
                    <a:gd name="T3" fmla="*/ 43 h 43"/>
                    <a:gd name="T4" fmla="*/ 15 w 65"/>
                    <a:gd name="T5" fmla="*/ 36 h 43"/>
                    <a:gd name="T6" fmla="*/ 14 w 65"/>
                    <a:gd name="T7" fmla="*/ 30 h 43"/>
                    <a:gd name="T8" fmla="*/ 13 w 65"/>
                    <a:gd name="T9" fmla="*/ 27 h 43"/>
                    <a:gd name="T10" fmla="*/ 10 w 65"/>
                    <a:gd name="T11" fmla="*/ 26 h 43"/>
                    <a:gd name="T12" fmla="*/ 2 w 65"/>
                    <a:gd name="T13" fmla="*/ 17 h 43"/>
                    <a:gd name="T14" fmla="*/ 3 w 65"/>
                    <a:gd name="T15" fmla="*/ 2 h 43"/>
                    <a:gd name="T16" fmla="*/ 8 w 65"/>
                    <a:gd name="T17" fmla="*/ 0 h 43"/>
                    <a:gd name="T18" fmla="*/ 16 w 65"/>
                    <a:gd name="T19" fmla="*/ 2 h 43"/>
                    <a:gd name="T20" fmla="*/ 20 w 65"/>
                    <a:gd name="T21" fmla="*/ 3 h 43"/>
                    <a:gd name="T22" fmla="*/ 21 w 65"/>
                    <a:gd name="T23" fmla="*/ 3 h 43"/>
                    <a:gd name="T24" fmla="*/ 27 w 65"/>
                    <a:gd name="T25" fmla="*/ 2 h 43"/>
                    <a:gd name="T26" fmla="*/ 36 w 65"/>
                    <a:gd name="T27" fmla="*/ 0 h 43"/>
                    <a:gd name="T28" fmla="*/ 51 w 65"/>
                    <a:gd name="T29" fmla="*/ 10 h 43"/>
                    <a:gd name="T30" fmla="*/ 51 w 65"/>
                    <a:gd name="T31" fmla="*/ 11 h 43"/>
                    <a:gd name="T32" fmla="*/ 56 w 65"/>
                    <a:gd name="T33" fmla="*/ 15 h 43"/>
                    <a:gd name="T34" fmla="*/ 63 w 65"/>
                    <a:gd name="T35" fmla="*/ 24 h 43"/>
                    <a:gd name="T36" fmla="*/ 64 w 65"/>
                    <a:gd name="T37" fmla="*/ 31 h 43"/>
                    <a:gd name="T38" fmla="*/ 54 w 65"/>
                    <a:gd name="T39" fmla="*/ 35 h 43"/>
                    <a:gd name="T40" fmla="*/ 49 w 65"/>
                    <a:gd name="T41" fmla="*/ 35 h 43"/>
                    <a:gd name="T42" fmla="*/ 45 w 65"/>
                    <a:gd name="T43" fmla="*/ 35 h 43"/>
                    <a:gd name="T44" fmla="*/ 39 w 65"/>
                    <a:gd name="T45" fmla="*/ 36 h 43"/>
                    <a:gd name="T46" fmla="*/ 36 w 65"/>
                    <a:gd name="T47" fmla="*/ 38 h 43"/>
                    <a:gd name="T48" fmla="*/ 25 w 65"/>
                    <a:gd name="T49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5" h="43">
                      <a:moveTo>
                        <a:pt x="25" y="43"/>
                      </a:moveTo>
                      <a:cubicBezTo>
                        <a:pt x="24" y="43"/>
                        <a:pt x="23" y="43"/>
                        <a:pt x="22" y="43"/>
                      </a:cubicBezTo>
                      <a:cubicBezTo>
                        <a:pt x="18" y="42"/>
                        <a:pt x="16" y="39"/>
                        <a:pt x="15" y="36"/>
                      </a:cubicBezTo>
                      <a:cubicBezTo>
                        <a:pt x="14" y="34"/>
                        <a:pt x="14" y="32"/>
                        <a:pt x="14" y="30"/>
                      </a:cubicBezTo>
                      <a:cubicBezTo>
                        <a:pt x="14" y="29"/>
                        <a:pt x="14" y="28"/>
                        <a:pt x="13" y="27"/>
                      </a:cubicBezTo>
                      <a:cubicBezTo>
                        <a:pt x="13" y="26"/>
                        <a:pt x="12" y="26"/>
                        <a:pt x="10" y="26"/>
                      </a:cubicBezTo>
                      <a:cubicBezTo>
                        <a:pt x="4" y="25"/>
                        <a:pt x="3" y="20"/>
                        <a:pt x="2" y="17"/>
                      </a:cubicBezTo>
                      <a:cubicBezTo>
                        <a:pt x="1" y="12"/>
                        <a:pt x="0" y="6"/>
                        <a:pt x="3" y="2"/>
                      </a:cubicBezTo>
                      <a:cubicBezTo>
                        <a:pt x="4" y="1"/>
                        <a:pt x="6" y="0"/>
                        <a:pt x="8" y="0"/>
                      </a:cubicBezTo>
                      <a:cubicBezTo>
                        <a:pt x="11" y="0"/>
                        <a:pt x="14" y="1"/>
                        <a:pt x="16" y="2"/>
                      </a:cubicBezTo>
                      <a:cubicBezTo>
                        <a:pt x="18" y="2"/>
                        <a:pt x="19" y="3"/>
                        <a:pt x="20" y="3"/>
                      </a:cubicBezTo>
                      <a:cubicBezTo>
                        <a:pt x="20" y="3"/>
                        <a:pt x="21" y="3"/>
                        <a:pt x="21" y="3"/>
                      </a:cubicBezTo>
                      <a:cubicBezTo>
                        <a:pt x="23" y="3"/>
                        <a:pt x="25" y="2"/>
                        <a:pt x="27" y="2"/>
                      </a:cubicBezTo>
                      <a:cubicBezTo>
                        <a:pt x="30" y="1"/>
                        <a:pt x="33" y="0"/>
                        <a:pt x="36" y="0"/>
                      </a:cubicBezTo>
                      <a:cubicBezTo>
                        <a:pt x="43" y="1"/>
                        <a:pt x="47" y="5"/>
                        <a:pt x="51" y="10"/>
                      </a:cubicBezTo>
                      <a:cubicBezTo>
                        <a:pt x="51" y="11"/>
                        <a:pt x="51" y="11"/>
                        <a:pt x="51" y="11"/>
                      </a:cubicBezTo>
                      <a:cubicBezTo>
                        <a:pt x="52" y="12"/>
                        <a:pt x="54" y="14"/>
                        <a:pt x="56" y="15"/>
                      </a:cubicBezTo>
                      <a:cubicBezTo>
                        <a:pt x="58" y="18"/>
                        <a:pt x="61" y="21"/>
                        <a:pt x="63" y="24"/>
                      </a:cubicBezTo>
                      <a:cubicBezTo>
                        <a:pt x="65" y="27"/>
                        <a:pt x="65" y="30"/>
                        <a:pt x="64" y="31"/>
                      </a:cubicBezTo>
                      <a:cubicBezTo>
                        <a:pt x="62" y="34"/>
                        <a:pt x="59" y="35"/>
                        <a:pt x="54" y="35"/>
                      </a:cubicBezTo>
                      <a:cubicBezTo>
                        <a:pt x="52" y="35"/>
                        <a:pt x="51" y="35"/>
                        <a:pt x="49" y="35"/>
                      </a:cubicBezTo>
                      <a:cubicBezTo>
                        <a:pt x="48" y="35"/>
                        <a:pt x="46" y="35"/>
                        <a:pt x="45" y="35"/>
                      </a:cubicBezTo>
                      <a:cubicBezTo>
                        <a:pt x="42" y="35"/>
                        <a:pt x="40" y="35"/>
                        <a:pt x="39" y="36"/>
                      </a:cubicBezTo>
                      <a:cubicBezTo>
                        <a:pt x="38" y="37"/>
                        <a:pt x="37" y="37"/>
                        <a:pt x="36" y="38"/>
                      </a:cubicBezTo>
                      <a:cubicBezTo>
                        <a:pt x="33" y="41"/>
                        <a:pt x="29" y="43"/>
                        <a:pt x="25" y="4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4" name="Freeform 15">
                  <a:extLst>
                    <a:ext uri="{FF2B5EF4-FFF2-40B4-BE49-F238E27FC236}">
                      <a16:creationId xmlns:a16="http://schemas.microsoft.com/office/drawing/2014/main" id="{B7804226-BC83-0D46-9BCC-073BCE63E2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009452" y="3336813"/>
                  <a:ext cx="114898" cy="113861"/>
                </a:xfrm>
                <a:custGeom>
                  <a:avLst/>
                  <a:gdLst>
                    <a:gd name="T0" fmla="*/ 16 w 21"/>
                    <a:gd name="T1" fmla="*/ 2 h 23"/>
                    <a:gd name="T2" fmla="*/ 10 w 21"/>
                    <a:gd name="T3" fmla="*/ 0 h 23"/>
                    <a:gd name="T4" fmla="*/ 2 w 21"/>
                    <a:gd name="T5" fmla="*/ 4 h 23"/>
                    <a:gd name="T6" fmla="*/ 1 w 21"/>
                    <a:gd name="T7" fmla="*/ 14 h 23"/>
                    <a:gd name="T8" fmla="*/ 12 w 21"/>
                    <a:gd name="T9" fmla="*/ 23 h 23"/>
                    <a:gd name="T10" fmla="*/ 13 w 21"/>
                    <a:gd name="T11" fmla="*/ 23 h 23"/>
                    <a:gd name="T12" fmla="*/ 20 w 21"/>
                    <a:gd name="T13" fmla="*/ 18 h 23"/>
                    <a:gd name="T14" fmla="*/ 16 w 21"/>
                    <a:gd name="T15" fmla="*/ 2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" h="23">
                      <a:moveTo>
                        <a:pt x="16" y="2"/>
                      </a:moveTo>
                      <a:cubicBezTo>
                        <a:pt x="14" y="1"/>
                        <a:pt x="12" y="0"/>
                        <a:pt x="10" y="0"/>
                      </a:cubicBezTo>
                      <a:cubicBezTo>
                        <a:pt x="7" y="0"/>
                        <a:pt x="4" y="1"/>
                        <a:pt x="2" y="4"/>
                      </a:cubicBezTo>
                      <a:cubicBezTo>
                        <a:pt x="0" y="7"/>
                        <a:pt x="0" y="10"/>
                        <a:pt x="1" y="14"/>
                      </a:cubicBezTo>
                      <a:cubicBezTo>
                        <a:pt x="3" y="17"/>
                        <a:pt x="7" y="23"/>
                        <a:pt x="12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6" y="23"/>
                        <a:pt x="18" y="21"/>
                        <a:pt x="20" y="18"/>
                      </a:cubicBezTo>
                      <a:cubicBezTo>
                        <a:pt x="21" y="12"/>
                        <a:pt x="19" y="5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5" name="Freeform 16">
                  <a:extLst>
                    <a:ext uri="{FF2B5EF4-FFF2-40B4-BE49-F238E27FC236}">
                      <a16:creationId xmlns:a16="http://schemas.microsoft.com/office/drawing/2014/main" id="{32350E01-3B49-9841-A761-B6DF2EAB2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32466" y="3432008"/>
                  <a:ext cx="974581" cy="550638"/>
                </a:xfrm>
                <a:custGeom>
                  <a:avLst/>
                  <a:gdLst>
                    <a:gd name="T0" fmla="*/ 173 w 179"/>
                    <a:gd name="T1" fmla="*/ 74 h 111"/>
                    <a:gd name="T2" fmla="*/ 171 w 179"/>
                    <a:gd name="T3" fmla="*/ 67 h 111"/>
                    <a:gd name="T4" fmla="*/ 163 w 179"/>
                    <a:gd name="T5" fmla="*/ 54 h 111"/>
                    <a:gd name="T6" fmla="*/ 150 w 179"/>
                    <a:gd name="T7" fmla="*/ 50 h 111"/>
                    <a:gd name="T8" fmla="*/ 134 w 179"/>
                    <a:gd name="T9" fmla="*/ 50 h 111"/>
                    <a:gd name="T10" fmla="*/ 130 w 179"/>
                    <a:gd name="T11" fmla="*/ 51 h 111"/>
                    <a:gd name="T12" fmla="*/ 124 w 179"/>
                    <a:gd name="T13" fmla="*/ 50 h 111"/>
                    <a:gd name="T14" fmla="*/ 104 w 179"/>
                    <a:gd name="T15" fmla="*/ 64 h 111"/>
                    <a:gd name="T16" fmla="*/ 99 w 179"/>
                    <a:gd name="T17" fmla="*/ 67 h 111"/>
                    <a:gd name="T18" fmla="*/ 94 w 179"/>
                    <a:gd name="T19" fmla="*/ 63 h 111"/>
                    <a:gd name="T20" fmla="*/ 87 w 179"/>
                    <a:gd name="T21" fmla="*/ 65 h 111"/>
                    <a:gd name="T22" fmla="*/ 83 w 179"/>
                    <a:gd name="T23" fmla="*/ 64 h 111"/>
                    <a:gd name="T24" fmla="*/ 77 w 179"/>
                    <a:gd name="T25" fmla="*/ 62 h 111"/>
                    <a:gd name="T26" fmla="*/ 75 w 179"/>
                    <a:gd name="T27" fmla="*/ 56 h 111"/>
                    <a:gd name="T28" fmla="*/ 65 w 179"/>
                    <a:gd name="T29" fmla="*/ 31 h 111"/>
                    <a:gd name="T30" fmla="*/ 62 w 179"/>
                    <a:gd name="T31" fmla="*/ 31 h 111"/>
                    <a:gd name="T32" fmla="*/ 60 w 179"/>
                    <a:gd name="T33" fmla="*/ 27 h 111"/>
                    <a:gd name="T34" fmla="*/ 51 w 179"/>
                    <a:gd name="T35" fmla="*/ 17 h 111"/>
                    <a:gd name="T36" fmla="*/ 44 w 179"/>
                    <a:gd name="T37" fmla="*/ 20 h 111"/>
                    <a:gd name="T38" fmla="*/ 41 w 179"/>
                    <a:gd name="T39" fmla="*/ 22 h 111"/>
                    <a:gd name="T40" fmla="*/ 38 w 179"/>
                    <a:gd name="T41" fmla="*/ 21 h 111"/>
                    <a:gd name="T42" fmla="*/ 38 w 179"/>
                    <a:gd name="T43" fmla="*/ 17 h 111"/>
                    <a:gd name="T44" fmla="*/ 27 w 179"/>
                    <a:gd name="T45" fmla="*/ 9 h 111"/>
                    <a:gd name="T46" fmla="*/ 22 w 179"/>
                    <a:gd name="T47" fmla="*/ 5 h 111"/>
                    <a:gd name="T48" fmla="*/ 13 w 179"/>
                    <a:gd name="T49" fmla="*/ 0 h 111"/>
                    <a:gd name="T50" fmla="*/ 3 w 179"/>
                    <a:gd name="T51" fmla="*/ 16 h 111"/>
                    <a:gd name="T52" fmla="*/ 7 w 179"/>
                    <a:gd name="T53" fmla="*/ 24 h 111"/>
                    <a:gd name="T54" fmla="*/ 11 w 179"/>
                    <a:gd name="T55" fmla="*/ 33 h 111"/>
                    <a:gd name="T56" fmla="*/ 22 w 179"/>
                    <a:gd name="T57" fmla="*/ 39 h 111"/>
                    <a:gd name="T58" fmla="*/ 32 w 179"/>
                    <a:gd name="T59" fmla="*/ 37 h 111"/>
                    <a:gd name="T60" fmla="*/ 36 w 179"/>
                    <a:gd name="T61" fmla="*/ 43 h 111"/>
                    <a:gd name="T62" fmla="*/ 39 w 179"/>
                    <a:gd name="T63" fmla="*/ 50 h 111"/>
                    <a:gd name="T64" fmla="*/ 41 w 179"/>
                    <a:gd name="T65" fmla="*/ 65 h 111"/>
                    <a:gd name="T66" fmla="*/ 40 w 179"/>
                    <a:gd name="T67" fmla="*/ 76 h 111"/>
                    <a:gd name="T68" fmla="*/ 41 w 179"/>
                    <a:gd name="T69" fmla="*/ 87 h 111"/>
                    <a:gd name="T70" fmla="*/ 49 w 179"/>
                    <a:gd name="T71" fmla="*/ 104 h 111"/>
                    <a:gd name="T72" fmla="*/ 53 w 179"/>
                    <a:gd name="T73" fmla="*/ 103 h 111"/>
                    <a:gd name="T74" fmla="*/ 55 w 179"/>
                    <a:gd name="T75" fmla="*/ 102 h 111"/>
                    <a:gd name="T76" fmla="*/ 57 w 179"/>
                    <a:gd name="T77" fmla="*/ 103 h 111"/>
                    <a:gd name="T78" fmla="*/ 61 w 179"/>
                    <a:gd name="T79" fmla="*/ 105 h 111"/>
                    <a:gd name="T80" fmla="*/ 67 w 179"/>
                    <a:gd name="T81" fmla="*/ 109 h 111"/>
                    <a:gd name="T82" fmla="*/ 76 w 179"/>
                    <a:gd name="T83" fmla="*/ 103 h 111"/>
                    <a:gd name="T84" fmla="*/ 84 w 179"/>
                    <a:gd name="T85" fmla="*/ 111 h 111"/>
                    <a:gd name="T86" fmla="*/ 87 w 179"/>
                    <a:gd name="T87" fmla="*/ 110 h 111"/>
                    <a:gd name="T88" fmla="*/ 103 w 179"/>
                    <a:gd name="T89" fmla="*/ 107 h 111"/>
                    <a:gd name="T90" fmla="*/ 107 w 179"/>
                    <a:gd name="T91" fmla="*/ 107 h 111"/>
                    <a:gd name="T92" fmla="*/ 114 w 179"/>
                    <a:gd name="T93" fmla="*/ 105 h 111"/>
                    <a:gd name="T94" fmla="*/ 119 w 179"/>
                    <a:gd name="T95" fmla="*/ 106 h 111"/>
                    <a:gd name="T96" fmla="*/ 129 w 179"/>
                    <a:gd name="T97" fmla="*/ 106 h 111"/>
                    <a:gd name="T98" fmla="*/ 135 w 179"/>
                    <a:gd name="T99" fmla="*/ 99 h 111"/>
                    <a:gd name="T100" fmla="*/ 139 w 179"/>
                    <a:gd name="T101" fmla="*/ 102 h 111"/>
                    <a:gd name="T102" fmla="*/ 155 w 179"/>
                    <a:gd name="T103" fmla="*/ 104 h 111"/>
                    <a:gd name="T104" fmla="*/ 161 w 179"/>
                    <a:gd name="T105" fmla="*/ 102 h 111"/>
                    <a:gd name="T106" fmla="*/ 168 w 179"/>
                    <a:gd name="T107" fmla="*/ 98 h 111"/>
                    <a:gd name="T108" fmla="*/ 170 w 179"/>
                    <a:gd name="T109" fmla="*/ 90 h 111"/>
                    <a:gd name="T110" fmla="*/ 176 w 179"/>
                    <a:gd name="T111" fmla="*/ 86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9" h="111">
                      <a:moveTo>
                        <a:pt x="178" y="80"/>
                      </a:moveTo>
                      <a:cubicBezTo>
                        <a:pt x="178" y="78"/>
                        <a:pt x="176" y="75"/>
                        <a:pt x="173" y="74"/>
                      </a:cubicBezTo>
                      <a:cubicBezTo>
                        <a:pt x="172" y="73"/>
                        <a:pt x="171" y="72"/>
                        <a:pt x="171" y="70"/>
                      </a:cubicBezTo>
                      <a:cubicBezTo>
                        <a:pt x="171" y="69"/>
                        <a:pt x="171" y="68"/>
                        <a:pt x="171" y="67"/>
                      </a:cubicBezTo>
                      <a:cubicBezTo>
                        <a:pt x="171" y="66"/>
                        <a:pt x="171" y="65"/>
                        <a:pt x="170" y="64"/>
                      </a:cubicBezTo>
                      <a:cubicBezTo>
                        <a:pt x="170" y="61"/>
                        <a:pt x="169" y="56"/>
                        <a:pt x="163" y="54"/>
                      </a:cubicBezTo>
                      <a:cubicBezTo>
                        <a:pt x="162" y="54"/>
                        <a:pt x="161" y="54"/>
                        <a:pt x="160" y="53"/>
                      </a:cubicBezTo>
                      <a:cubicBezTo>
                        <a:pt x="156" y="52"/>
                        <a:pt x="153" y="52"/>
                        <a:pt x="150" y="50"/>
                      </a:cubicBezTo>
                      <a:cubicBezTo>
                        <a:pt x="147" y="49"/>
                        <a:pt x="145" y="48"/>
                        <a:pt x="143" y="48"/>
                      </a:cubicBezTo>
                      <a:cubicBezTo>
                        <a:pt x="140" y="48"/>
                        <a:pt x="137" y="49"/>
                        <a:pt x="134" y="50"/>
                      </a:cubicBezTo>
                      <a:cubicBezTo>
                        <a:pt x="134" y="51"/>
                        <a:pt x="133" y="51"/>
                        <a:pt x="133" y="51"/>
                      </a:cubicBezTo>
                      <a:cubicBezTo>
                        <a:pt x="132" y="51"/>
                        <a:pt x="131" y="51"/>
                        <a:pt x="130" y="51"/>
                      </a:cubicBezTo>
                      <a:cubicBezTo>
                        <a:pt x="129" y="50"/>
                        <a:pt x="127" y="50"/>
                        <a:pt x="126" y="50"/>
                      </a:cubicBezTo>
                      <a:cubicBezTo>
                        <a:pt x="125" y="50"/>
                        <a:pt x="125" y="50"/>
                        <a:pt x="124" y="50"/>
                      </a:cubicBezTo>
                      <a:cubicBezTo>
                        <a:pt x="118" y="51"/>
                        <a:pt x="112" y="56"/>
                        <a:pt x="107" y="60"/>
                      </a:cubicBezTo>
                      <a:cubicBezTo>
                        <a:pt x="106" y="62"/>
                        <a:pt x="105" y="63"/>
                        <a:pt x="104" y="64"/>
                      </a:cubicBezTo>
                      <a:cubicBezTo>
                        <a:pt x="103" y="64"/>
                        <a:pt x="103" y="64"/>
                        <a:pt x="103" y="64"/>
                      </a:cubicBezTo>
                      <a:cubicBezTo>
                        <a:pt x="102" y="65"/>
                        <a:pt x="100" y="67"/>
                        <a:pt x="99" y="67"/>
                      </a:cubicBezTo>
                      <a:cubicBezTo>
                        <a:pt x="98" y="67"/>
                        <a:pt x="98" y="67"/>
                        <a:pt x="98" y="66"/>
                      </a:cubicBezTo>
                      <a:cubicBezTo>
                        <a:pt x="97" y="65"/>
                        <a:pt x="96" y="63"/>
                        <a:pt x="94" y="63"/>
                      </a:cubicBezTo>
                      <a:cubicBezTo>
                        <a:pt x="93" y="63"/>
                        <a:pt x="93" y="63"/>
                        <a:pt x="92" y="63"/>
                      </a:cubicBezTo>
                      <a:cubicBezTo>
                        <a:pt x="90" y="63"/>
                        <a:pt x="89" y="64"/>
                        <a:pt x="87" y="65"/>
                      </a:cubicBezTo>
                      <a:cubicBezTo>
                        <a:pt x="87" y="65"/>
                        <a:pt x="86" y="65"/>
                        <a:pt x="85" y="65"/>
                      </a:cubicBezTo>
                      <a:cubicBezTo>
                        <a:pt x="85" y="65"/>
                        <a:pt x="84" y="65"/>
                        <a:pt x="83" y="64"/>
                      </a:cubicBezTo>
                      <a:cubicBezTo>
                        <a:pt x="82" y="63"/>
                        <a:pt x="81" y="62"/>
                        <a:pt x="78" y="62"/>
                      </a:cubicBezTo>
                      <a:cubicBezTo>
                        <a:pt x="78" y="62"/>
                        <a:pt x="78" y="62"/>
                        <a:pt x="77" y="62"/>
                      </a:cubicBezTo>
                      <a:cubicBezTo>
                        <a:pt x="76" y="62"/>
                        <a:pt x="75" y="62"/>
                        <a:pt x="74" y="62"/>
                      </a:cubicBezTo>
                      <a:cubicBezTo>
                        <a:pt x="74" y="60"/>
                        <a:pt x="75" y="58"/>
                        <a:pt x="75" y="56"/>
                      </a:cubicBezTo>
                      <a:cubicBezTo>
                        <a:pt x="77" y="49"/>
                        <a:pt x="79" y="42"/>
                        <a:pt x="72" y="34"/>
                      </a:cubicBezTo>
                      <a:cubicBezTo>
                        <a:pt x="70" y="31"/>
                        <a:pt x="67" y="31"/>
                        <a:pt x="65" y="31"/>
                      </a:cubicBezTo>
                      <a:cubicBezTo>
                        <a:pt x="64" y="31"/>
                        <a:pt x="64" y="31"/>
                        <a:pt x="63" y="31"/>
                      </a:cubicBezTo>
                      <a:cubicBezTo>
                        <a:pt x="63" y="31"/>
                        <a:pt x="62" y="31"/>
                        <a:pt x="62" y="31"/>
                      </a:cubicBezTo>
                      <a:cubicBezTo>
                        <a:pt x="61" y="31"/>
                        <a:pt x="61" y="31"/>
                        <a:pt x="60" y="31"/>
                      </a:cubicBezTo>
                      <a:cubicBezTo>
                        <a:pt x="60" y="30"/>
                        <a:pt x="60" y="30"/>
                        <a:pt x="60" y="27"/>
                      </a:cubicBezTo>
                      <a:cubicBezTo>
                        <a:pt x="60" y="26"/>
                        <a:pt x="60" y="24"/>
                        <a:pt x="59" y="23"/>
                      </a:cubicBezTo>
                      <a:cubicBezTo>
                        <a:pt x="58" y="19"/>
                        <a:pt x="55" y="17"/>
                        <a:pt x="51" y="17"/>
                      </a:cubicBezTo>
                      <a:cubicBezTo>
                        <a:pt x="51" y="17"/>
                        <a:pt x="50" y="17"/>
                        <a:pt x="50" y="17"/>
                      </a:cubicBezTo>
                      <a:cubicBezTo>
                        <a:pt x="47" y="18"/>
                        <a:pt x="46" y="19"/>
                        <a:pt x="44" y="20"/>
                      </a:cubicBezTo>
                      <a:cubicBezTo>
                        <a:pt x="44" y="21"/>
                        <a:pt x="43" y="21"/>
                        <a:pt x="43" y="22"/>
                      </a:cubicBezTo>
                      <a:cubicBezTo>
                        <a:pt x="42" y="22"/>
                        <a:pt x="42" y="22"/>
                        <a:pt x="41" y="22"/>
                      </a:cubicBezTo>
                      <a:cubicBezTo>
                        <a:pt x="40" y="22"/>
                        <a:pt x="39" y="22"/>
                        <a:pt x="39" y="22"/>
                      </a:cubicBezTo>
                      <a:cubicBezTo>
                        <a:pt x="38" y="21"/>
                        <a:pt x="38" y="21"/>
                        <a:pt x="38" y="21"/>
                      </a:cubicBezTo>
                      <a:cubicBezTo>
                        <a:pt x="38" y="21"/>
                        <a:pt x="38" y="21"/>
                        <a:pt x="38" y="20"/>
                      </a:cubicBezTo>
                      <a:cubicBezTo>
                        <a:pt x="38" y="19"/>
                        <a:pt x="38" y="18"/>
                        <a:pt x="38" y="17"/>
                      </a:cubicBezTo>
                      <a:cubicBezTo>
                        <a:pt x="37" y="14"/>
                        <a:pt x="35" y="12"/>
                        <a:pt x="31" y="10"/>
                      </a:cubicBezTo>
                      <a:cubicBezTo>
                        <a:pt x="30" y="9"/>
                        <a:pt x="29" y="9"/>
                        <a:pt x="27" y="9"/>
                      </a:cubicBezTo>
                      <a:cubicBezTo>
                        <a:pt x="26" y="8"/>
                        <a:pt x="25" y="8"/>
                        <a:pt x="25" y="8"/>
                      </a:cubicBezTo>
                      <a:cubicBezTo>
                        <a:pt x="23" y="7"/>
                        <a:pt x="23" y="6"/>
                        <a:pt x="22" y="5"/>
                      </a:cubicBezTo>
                      <a:cubicBezTo>
                        <a:pt x="22" y="5"/>
                        <a:pt x="21" y="4"/>
                        <a:pt x="21" y="3"/>
                      </a:cubicBezTo>
                      <a:cubicBezTo>
                        <a:pt x="19" y="1"/>
                        <a:pt x="16" y="0"/>
                        <a:pt x="13" y="0"/>
                      </a:cubicBezTo>
                      <a:cubicBezTo>
                        <a:pt x="9" y="0"/>
                        <a:pt x="4" y="3"/>
                        <a:pt x="2" y="7"/>
                      </a:cubicBezTo>
                      <a:cubicBezTo>
                        <a:pt x="0" y="10"/>
                        <a:pt x="1" y="13"/>
                        <a:pt x="3" y="16"/>
                      </a:cubicBezTo>
                      <a:cubicBezTo>
                        <a:pt x="4" y="18"/>
                        <a:pt x="5" y="20"/>
                        <a:pt x="6" y="22"/>
                      </a:cubicBezTo>
                      <a:cubicBezTo>
                        <a:pt x="7" y="24"/>
                        <a:pt x="7" y="24"/>
                        <a:pt x="7" y="24"/>
                      </a:cubicBezTo>
                      <a:cubicBezTo>
                        <a:pt x="8" y="25"/>
                        <a:pt x="8" y="26"/>
                        <a:pt x="8" y="27"/>
                      </a:cubicBezTo>
                      <a:cubicBezTo>
                        <a:pt x="8" y="29"/>
                        <a:pt x="9" y="31"/>
                        <a:pt x="11" y="33"/>
                      </a:cubicBezTo>
                      <a:cubicBezTo>
                        <a:pt x="13" y="35"/>
                        <a:pt x="16" y="39"/>
                        <a:pt x="21" y="39"/>
                      </a:cubicBezTo>
                      <a:cubicBezTo>
                        <a:pt x="22" y="39"/>
                        <a:pt x="22" y="39"/>
                        <a:pt x="22" y="39"/>
                      </a:cubicBezTo>
                      <a:cubicBezTo>
                        <a:pt x="23" y="39"/>
                        <a:pt x="25" y="38"/>
                        <a:pt x="27" y="38"/>
                      </a:cubicBezTo>
                      <a:cubicBezTo>
                        <a:pt x="28" y="37"/>
                        <a:pt x="31" y="37"/>
                        <a:pt x="32" y="37"/>
                      </a:cubicBezTo>
                      <a:cubicBezTo>
                        <a:pt x="33" y="37"/>
                        <a:pt x="34" y="37"/>
                        <a:pt x="35" y="38"/>
                      </a:cubicBezTo>
                      <a:cubicBezTo>
                        <a:pt x="35" y="38"/>
                        <a:pt x="36" y="41"/>
                        <a:pt x="36" y="43"/>
                      </a:cubicBezTo>
                      <a:cubicBezTo>
                        <a:pt x="37" y="44"/>
                        <a:pt x="37" y="46"/>
                        <a:pt x="37" y="47"/>
                      </a:cubicBezTo>
                      <a:cubicBezTo>
                        <a:pt x="38" y="48"/>
                        <a:pt x="38" y="49"/>
                        <a:pt x="39" y="50"/>
                      </a:cubicBezTo>
                      <a:cubicBezTo>
                        <a:pt x="41" y="54"/>
                        <a:pt x="43" y="58"/>
                        <a:pt x="42" y="62"/>
                      </a:cubicBezTo>
                      <a:cubicBezTo>
                        <a:pt x="42" y="63"/>
                        <a:pt x="42" y="64"/>
                        <a:pt x="41" y="65"/>
                      </a:cubicBezTo>
                      <a:cubicBezTo>
                        <a:pt x="41" y="67"/>
                        <a:pt x="40" y="68"/>
                        <a:pt x="40" y="69"/>
                      </a:cubicBezTo>
                      <a:cubicBezTo>
                        <a:pt x="40" y="72"/>
                        <a:pt x="40" y="74"/>
                        <a:pt x="40" y="76"/>
                      </a:cubicBezTo>
                      <a:cubicBezTo>
                        <a:pt x="40" y="77"/>
                        <a:pt x="40" y="78"/>
                        <a:pt x="40" y="78"/>
                      </a:cubicBezTo>
                      <a:cubicBezTo>
                        <a:pt x="40" y="81"/>
                        <a:pt x="41" y="84"/>
                        <a:pt x="41" y="87"/>
                      </a:cubicBezTo>
                      <a:cubicBezTo>
                        <a:pt x="42" y="89"/>
                        <a:pt x="42" y="92"/>
                        <a:pt x="42" y="94"/>
                      </a:cubicBezTo>
                      <a:cubicBezTo>
                        <a:pt x="42" y="97"/>
                        <a:pt x="42" y="103"/>
                        <a:pt x="49" y="104"/>
                      </a:cubicBezTo>
                      <a:cubicBezTo>
                        <a:pt x="49" y="104"/>
                        <a:pt x="49" y="104"/>
                        <a:pt x="49" y="104"/>
                      </a:cubicBezTo>
                      <a:cubicBezTo>
                        <a:pt x="51" y="104"/>
                        <a:pt x="53" y="103"/>
                        <a:pt x="53" y="103"/>
                      </a:cubicBezTo>
                      <a:cubicBezTo>
                        <a:pt x="54" y="103"/>
                        <a:pt x="54" y="102"/>
                        <a:pt x="54" y="102"/>
                      </a:cubicBezTo>
                      <a:cubicBezTo>
                        <a:pt x="54" y="102"/>
                        <a:pt x="54" y="102"/>
                        <a:pt x="55" y="102"/>
                      </a:cubicBezTo>
                      <a:cubicBezTo>
                        <a:pt x="55" y="102"/>
                        <a:pt x="55" y="102"/>
                        <a:pt x="56" y="103"/>
                      </a:cubicBezTo>
                      <a:cubicBezTo>
                        <a:pt x="57" y="103"/>
                        <a:pt x="57" y="103"/>
                        <a:pt x="57" y="103"/>
                      </a:cubicBezTo>
                      <a:cubicBezTo>
                        <a:pt x="58" y="103"/>
                        <a:pt x="59" y="104"/>
                        <a:pt x="60" y="104"/>
                      </a:cubicBezTo>
                      <a:cubicBezTo>
                        <a:pt x="60" y="104"/>
                        <a:pt x="60" y="105"/>
                        <a:pt x="61" y="105"/>
                      </a:cubicBezTo>
                      <a:cubicBezTo>
                        <a:pt x="61" y="106"/>
                        <a:pt x="62" y="107"/>
                        <a:pt x="63" y="107"/>
                      </a:cubicBezTo>
                      <a:cubicBezTo>
                        <a:pt x="64" y="108"/>
                        <a:pt x="66" y="109"/>
                        <a:pt x="67" y="109"/>
                      </a:cubicBezTo>
                      <a:cubicBezTo>
                        <a:pt x="70" y="109"/>
                        <a:pt x="73" y="107"/>
                        <a:pt x="75" y="105"/>
                      </a:cubicBezTo>
                      <a:cubicBezTo>
                        <a:pt x="76" y="104"/>
                        <a:pt x="76" y="104"/>
                        <a:pt x="76" y="103"/>
                      </a:cubicBezTo>
                      <a:cubicBezTo>
                        <a:pt x="76" y="104"/>
                        <a:pt x="76" y="105"/>
                        <a:pt x="77" y="106"/>
                      </a:cubicBezTo>
                      <a:cubicBezTo>
                        <a:pt x="77" y="108"/>
                        <a:pt x="79" y="111"/>
                        <a:pt x="84" y="111"/>
                      </a:cubicBezTo>
                      <a:cubicBezTo>
                        <a:pt x="85" y="111"/>
                        <a:pt x="86" y="110"/>
                        <a:pt x="87" y="110"/>
                      </a:cubicBezTo>
                      <a:cubicBezTo>
                        <a:pt x="87" y="110"/>
                        <a:pt x="87" y="110"/>
                        <a:pt x="87" y="110"/>
                      </a:cubicBezTo>
                      <a:cubicBezTo>
                        <a:pt x="90" y="110"/>
                        <a:pt x="92" y="109"/>
                        <a:pt x="95" y="108"/>
                      </a:cubicBezTo>
                      <a:cubicBezTo>
                        <a:pt x="98" y="108"/>
                        <a:pt x="100" y="107"/>
                        <a:pt x="103" y="107"/>
                      </a:cubicBezTo>
                      <a:cubicBezTo>
                        <a:pt x="103" y="107"/>
                        <a:pt x="103" y="107"/>
                        <a:pt x="104" y="107"/>
                      </a:cubicBezTo>
                      <a:cubicBezTo>
                        <a:pt x="105" y="107"/>
                        <a:pt x="106" y="107"/>
                        <a:pt x="107" y="107"/>
                      </a:cubicBezTo>
                      <a:cubicBezTo>
                        <a:pt x="109" y="107"/>
                        <a:pt x="111" y="107"/>
                        <a:pt x="113" y="106"/>
                      </a:cubicBezTo>
                      <a:cubicBezTo>
                        <a:pt x="114" y="105"/>
                        <a:pt x="114" y="105"/>
                        <a:pt x="114" y="105"/>
                      </a:cubicBezTo>
                      <a:cubicBezTo>
                        <a:pt x="115" y="105"/>
                        <a:pt x="115" y="105"/>
                        <a:pt x="115" y="106"/>
                      </a:cubicBezTo>
                      <a:cubicBezTo>
                        <a:pt x="116" y="106"/>
                        <a:pt x="117" y="106"/>
                        <a:pt x="119" y="106"/>
                      </a:cubicBezTo>
                      <a:cubicBezTo>
                        <a:pt x="119" y="107"/>
                        <a:pt x="120" y="107"/>
                        <a:pt x="121" y="107"/>
                      </a:cubicBezTo>
                      <a:cubicBezTo>
                        <a:pt x="124" y="107"/>
                        <a:pt x="127" y="106"/>
                        <a:pt x="129" y="106"/>
                      </a:cubicBezTo>
                      <a:cubicBezTo>
                        <a:pt x="132" y="105"/>
                        <a:pt x="133" y="103"/>
                        <a:pt x="134" y="101"/>
                      </a:cubicBezTo>
                      <a:cubicBezTo>
                        <a:pt x="134" y="100"/>
                        <a:pt x="135" y="100"/>
                        <a:pt x="135" y="99"/>
                      </a:cubicBezTo>
                      <a:cubicBezTo>
                        <a:pt x="135" y="100"/>
                        <a:pt x="136" y="100"/>
                        <a:pt x="136" y="100"/>
                      </a:cubicBezTo>
                      <a:cubicBezTo>
                        <a:pt x="137" y="101"/>
                        <a:pt x="138" y="102"/>
                        <a:pt x="139" y="102"/>
                      </a:cubicBezTo>
                      <a:cubicBezTo>
                        <a:pt x="143" y="104"/>
                        <a:pt x="147" y="105"/>
                        <a:pt x="151" y="105"/>
                      </a:cubicBezTo>
                      <a:cubicBezTo>
                        <a:pt x="152" y="105"/>
                        <a:pt x="154" y="104"/>
                        <a:pt x="155" y="104"/>
                      </a:cubicBezTo>
                      <a:cubicBezTo>
                        <a:pt x="157" y="104"/>
                        <a:pt x="159" y="103"/>
                        <a:pt x="160" y="102"/>
                      </a:cubicBezTo>
                      <a:cubicBezTo>
                        <a:pt x="160" y="102"/>
                        <a:pt x="161" y="102"/>
                        <a:pt x="161" y="102"/>
                      </a:cubicBezTo>
                      <a:cubicBezTo>
                        <a:pt x="161" y="101"/>
                        <a:pt x="162" y="101"/>
                        <a:pt x="163" y="101"/>
                      </a:cubicBezTo>
                      <a:cubicBezTo>
                        <a:pt x="164" y="101"/>
                        <a:pt x="166" y="100"/>
                        <a:pt x="168" y="98"/>
                      </a:cubicBezTo>
                      <a:cubicBezTo>
                        <a:pt x="169" y="96"/>
                        <a:pt x="170" y="94"/>
                        <a:pt x="170" y="93"/>
                      </a:cubicBezTo>
                      <a:cubicBezTo>
                        <a:pt x="170" y="92"/>
                        <a:pt x="170" y="91"/>
                        <a:pt x="170" y="90"/>
                      </a:cubicBezTo>
                      <a:cubicBezTo>
                        <a:pt x="170" y="90"/>
                        <a:pt x="171" y="89"/>
                        <a:pt x="172" y="89"/>
                      </a:cubicBezTo>
                      <a:cubicBezTo>
                        <a:pt x="174" y="88"/>
                        <a:pt x="175" y="87"/>
                        <a:pt x="176" y="86"/>
                      </a:cubicBezTo>
                      <a:cubicBezTo>
                        <a:pt x="178" y="84"/>
                        <a:pt x="179" y="82"/>
                        <a:pt x="178" y="8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6" name="Freeform 17">
                  <a:extLst>
                    <a:ext uri="{FF2B5EF4-FFF2-40B4-BE49-F238E27FC236}">
                      <a16:creationId xmlns:a16="http://schemas.microsoft.com/office/drawing/2014/main" id="{96383573-B8AE-2748-80C2-BB9C05E71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03741" y="3725060"/>
                  <a:ext cx="213382" cy="216522"/>
                </a:xfrm>
                <a:custGeom>
                  <a:avLst/>
                  <a:gdLst>
                    <a:gd name="T0" fmla="*/ 38 w 39"/>
                    <a:gd name="T1" fmla="*/ 22 h 44"/>
                    <a:gd name="T2" fmla="*/ 37 w 39"/>
                    <a:gd name="T3" fmla="*/ 19 h 44"/>
                    <a:gd name="T4" fmla="*/ 37 w 39"/>
                    <a:gd name="T5" fmla="*/ 18 h 44"/>
                    <a:gd name="T6" fmla="*/ 34 w 39"/>
                    <a:gd name="T7" fmla="*/ 8 h 44"/>
                    <a:gd name="T8" fmla="*/ 27 w 39"/>
                    <a:gd name="T9" fmla="*/ 1 h 44"/>
                    <a:gd name="T10" fmla="*/ 22 w 39"/>
                    <a:gd name="T11" fmla="*/ 0 h 44"/>
                    <a:gd name="T12" fmla="*/ 12 w 39"/>
                    <a:gd name="T13" fmla="*/ 3 h 44"/>
                    <a:gd name="T14" fmla="*/ 8 w 39"/>
                    <a:gd name="T15" fmla="*/ 10 h 44"/>
                    <a:gd name="T16" fmla="*/ 6 w 39"/>
                    <a:gd name="T17" fmla="*/ 14 h 44"/>
                    <a:gd name="T18" fmla="*/ 5 w 39"/>
                    <a:gd name="T19" fmla="*/ 15 h 44"/>
                    <a:gd name="T20" fmla="*/ 2 w 39"/>
                    <a:gd name="T21" fmla="*/ 26 h 44"/>
                    <a:gd name="T22" fmla="*/ 6 w 39"/>
                    <a:gd name="T23" fmla="*/ 31 h 44"/>
                    <a:gd name="T24" fmla="*/ 8 w 39"/>
                    <a:gd name="T25" fmla="*/ 33 h 44"/>
                    <a:gd name="T26" fmla="*/ 14 w 39"/>
                    <a:gd name="T27" fmla="*/ 38 h 44"/>
                    <a:gd name="T28" fmla="*/ 19 w 39"/>
                    <a:gd name="T29" fmla="*/ 41 h 44"/>
                    <a:gd name="T30" fmla="*/ 22 w 39"/>
                    <a:gd name="T31" fmla="*/ 43 h 44"/>
                    <a:gd name="T32" fmla="*/ 27 w 39"/>
                    <a:gd name="T33" fmla="*/ 44 h 44"/>
                    <a:gd name="T34" fmla="*/ 33 w 39"/>
                    <a:gd name="T35" fmla="*/ 43 h 44"/>
                    <a:gd name="T36" fmla="*/ 38 w 39"/>
                    <a:gd name="T37" fmla="*/ 36 h 44"/>
                    <a:gd name="T38" fmla="*/ 38 w 39"/>
                    <a:gd name="T39" fmla="*/ 22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39" h="44">
                      <a:moveTo>
                        <a:pt x="38" y="22"/>
                      </a:moveTo>
                      <a:cubicBezTo>
                        <a:pt x="38" y="21"/>
                        <a:pt x="37" y="20"/>
                        <a:pt x="37" y="19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cubicBezTo>
                        <a:pt x="36" y="15"/>
                        <a:pt x="36" y="11"/>
                        <a:pt x="34" y="8"/>
                      </a:cubicBezTo>
                      <a:cubicBezTo>
                        <a:pt x="33" y="5"/>
                        <a:pt x="30" y="2"/>
                        <a:pt x="27" y="1"/>
                      </a:cubicBezTo>
                      <a:cubicBezTo>
                        <a:pt x="26" y="0"/>
                        <a:pt x="24" y="0"/>
                        <a:pt x="22" y="0"/>
                      </a:cubicBezTo>
                      <a:cubicBezTo>
                        <a:pt x="19" y="0"/>
                        <a:pt x="14" y="1"/>
                        <a:pt x="12" y="3"/>
                      </a:cubicBezTo>
                      <a:cubicBezTo>
                        <a:pt x="10" y="5"/>
                        <a:pt x="9" y="8"/>
                        <a:pt x="8" y="10"/>
                      </a:cubicBezTo>
                      <a:cubicBezTo>
                        <a:pt x="8" y="11"/>
                        <a:pt x="7" y="13"/>
                        <a:pt x="6" y="14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3" y="17"/>
                        <a:pt x="0" y="21"/>
                        <a:pt x="2" y="26"/>
                      </a:cubicBezTo>
                      <a:cubicBezTo>
                        <a:pt x="3" y="29"/>
                        <a:pt x="5" y="30"/>
                        <a:pt x="6" y="31"/>
                      </a:cubicBezTo>
                      <a:cubicBezTo>
                        <a:pt x="7" y="32"/>
                        <a:pt x="8" y="32"/>
                        <a:pt x="8" y="33"/>
                      </a:cubicBezTo>
                      <a:cubicBezTo>
                        <a:pt x="10" y="35"/>
                        <a:pt x="12" y="37"/>
                        <a:pt x="14" y="38"/>
                      </a:cubicBezTo>
                      <a:cubicBezTo>
                        <a:pt x="16" y="40"/>
                        <a:pt x="18" y="41"/>
                        <a:pt x="19" y="41"/>
                      </a:cubicBezTo>
                      <a:cubicBezTo>
                        <a:pt x="20" y="42"/>
                        <a:pt x="21" y="42"/>
                        <a:pt x="22" y="43"/>
                      </a:cubicBezTo>
                      <a:cubicBezTo>
                        <a:pt x="24" y="44"/>
                        <a:pt x="26" y="44"/>
                        <a:pt x="27" y="44"/>
                      </a:cubicBezTo>
                      <a:cubicBezTo>
                        <a:pt x="29" y="44"/>
                        <a:pt x="31" y="44"/>
                        <a:pt x="33" y="43"/>
                      </a:cubicBezTo>
                      <a:cubicBezTo>
                        <a:pt x="35" y="41"/>
                        <a:pt x="37" y="39"/>
                        <a:pt x="38" y="36"/>
                      </a:cubicBezTo>
                      <a:cubicBezTo>
                        <a:pt x="39" y="31"/>
                        <a:pt x="38" y="26"/>
                        <a:pt x="38" y="2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7" name="Freeform 18">
                  <a:extLst>
                    <a:ext uri="{FF2B5EF4-FFF2-40B4-BE49-F238E27FC236}">
                      <a16:creationId xmlns:a16="http://schemas.microsoft.com/office/drawing/2014/main" id="{6386A741-8E5D-4049-A637-BFA7F9B92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21671" y="4874867"/>
                  <a:ext cx="82070" cy="78396"/>
                </a:xfrm>
                <a:custGeom>
                  <a:avLst/>
                  <a:gdLst>
                    <a:gd name="T0" fmla="*/ 10 w 15"/>
                    <a:gd name="T1" fmla="*/ 1 h 16"/>
                    <a:gd name="T2" fmla="*/ 6 w 15"/>
                    <a:gd name="T3" fmla="*/ 0 h 16"/>
                    <a:gd name="T4" fmla="*/ 1 w 15"/>
                    <a:gd name="T5" fmla="*/ 2 h 16"/>
                    <a:gd name="T6" fmla="*/ 0 w 15"/>
                    <a:gd name="T7" fmla="*/ 7 h 16"/>
                    <a:gd name="T8" fmla="*/ 10 w 15"/>
                    <a:gd name="T9" fmla="*/ 16 h 16"/>
                    <a:gd name="T10" fmla="*/ 10 w 15"/>
                    <a:gd name="T11" fmla="*/ 16 h 16"/>
                    <a:gd name="T12" fmla="*/ 12 w 15"/>
                    <a:gd name="T13" fmla="*/ 16 h 16"/>
                    <a:gd name="T14" fmla="*/ 15 w 15"/>
                    <a:gd name="T15" fmla="*/ 10 h 16"/>
                    <a:gd name="T16" fmla="*/ 10 w 15"/>
                    <a:gd name="T17" fmla="*/ 1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6">
                      <a:moveTo>
                        <a:pt x="10" y="1"/>
                      </a:moveTo>
                      <a:cubicBezTo>
                        <a:pt x="9" y="1"/>
                        <a:pt x="7" y="0"/>
                        <a:pt x="6" y="0"/>
                      </a:cubicBezTo>
                      <a:cubicBezTo>
                        <a:pt x="4" y="0"/>
                        <a:pt x="3" y="1"/>
                        <a:pt x="1" y="2"/>
                      </a:cubicBezTo>
                      <a:cubicBezTo>
                        <a:pt x="0" y="4"/>
                        <a:pt x="0" y="5"/>
                        <a:pt x="0" y="7"/>
                      </a:cubicBezTo>
                      <a:cubicBezTo>
                        <a:pt x="1" y="11"/>
                        <a:pt x="6" y="16"/>
                        <a:pt x="10" y="16"/>
                      </a:cubicBezTo>
                      <a:cubicBezTo>
                        <a:pt x="10" y="16"/>
                        <a:pt x="10" y="16"/>
                        <a:pt x="10" y="16"/>
                      </a:cubicBezTo>
                      <a:cubicBezTo>
                        <a:pt x="11" y="16"/>
                        <a:pt x="11" y="16"/>
                        <a:pt x="12" y="16"/>
                      </a:cubicBezTo>
                      <a:cubicBezTo>
                        <a:pt x="14" y="15"/>
                        <a:pt x="15" y="13"/>
                        <a:pt x="15" y="10"/>
                      </a:cubicBezTo>
                      <a:cubicBezTo>
                        <a:pt x="15" y="7"/>
                        <a:pt x="12" y="3"/>
                        <a:pt x="10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8" name="Freeform 19">
                  <a:extLst>
                    <a:ext uri="{FF2B5EF4-FFF2-40B4-BE49-F238E27FC236}">
                      <a16:creationId xmlns:a16="http://schemas.microsoft.com/office/drawing/2014/main" id="{134B288B-4C33-B04F-9A01-9BDB73072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33537" y="4835669"/>
                  <a:ext cx="65656" cy="54131"/>
                </a:xfrm>
                <a:custGeom>
                  <a:avLst/>
                  <a:gdLst>
                    <a:gd name="T0" fmla="*/ 11 w 12"/>
                    <a:gd name="T1" fmla="*/ 4 h 11"/>
                    <a:gd name="T2" fmla="*/ 7 w 12"/>
                    <a:gd name="T3" fmla="*/ 0 h 11"/>
                    <a:gd name="T4" fmla="*/ 1 w 12"/>
                    <a:gd name="T5" fmla="*/ 6 h 11"/>
                    <a:gd name="T6" fmla="*/ 3 w 12"/>
                    <a:gd name="T7" fmla="*/ 10 h 11"/>
                    <a:gd name="T8" fmla="*/ 5 w 12"/>
                    <a:gd name="T9" fmla="*/ 11 h 11"/>
                    <a:gd name="T10" fmla="*/ 5 w 12"/>
                    <a:gd name="T11" fmla="*/ 11 h 11"/>
                    <a:gd name="T12" fmla="*/ 10 w 12"/>
                    <a:gd name="T13" fmla="*/ 8 h 11"/>
                    <a:gd name="T14" fmla="*/ 11 w 12"/>
                    <a:gd name="T15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11">
                      <a:moveTo>
                        <a:pt x="11" y="4"/>
                      </a:moveTo>
                      <a:cubicBezTo>
                        <a:pt x="11" y="0"/>
                        <a:pt x="8" y="0"/>
                        <a:pt x="7" y="0"/>
                      </a:cubicBezTo>
                      <a:cubicBezTo>
                        <a:pt x="3" y="0"/>
                        <a:pt x="1" y="4"/>
                        <a:pt x="1" y="6"/>
                      </a:cubicBezTo>
                      <a:cubicBezTo>
                        <a:pt x="0" y="8"/>
                        <a:pt x="2" y="10"/>
                        <a:pt x="3" y="10"/>
                      </a:cubicBezTo>
                      <a:cubicBezTo>
                        <a:pt x="4" y="10"/>
                        <a:pt x="4" y="11"/>
                        <a:pt x="5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7" y="11"/>
                        <a:pt x="9" y="10"/>
                        <a:pt x="10" y="8"/>
                      </a:cubicBezTo>
                      <a:cubicBezTo>
                        <a:pt x="11" y="7"/>
                        <a:pt x="12" y="6"/>
                        <a:pt x="11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9" name="Freeform 20">
                  <a:extLst>
                    <a:ext uri="{FF2B5EF4-FFF2-40B4-BE49-F238E27FC236}">
                      <a16:creationId xmlns:a16="http://schemas.microsoft.com/office/drawing/2014/main" id="{CA23FA7D-DBA4-5840-8DBB-46959B45A2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6464" y="4036777"/>
                  <a:ext cx="1171549" cy="946351"/>
                </a:xfrm>
                <a:custGeom>
                  <a:avLst/>
                  <a:gdLst>
                    <a:gd name="T0" fmla="*/ 209 w 215"/>
                    <a:gd name="T1" fmla="*/ 139 h 191"/>
                    <a:gd name="T2" fmla="*/ 205 w 215"/>
                    <a:gd name="T3" fmla="*/ 135 h 191"/>
                    <a:gd name="T4" fmla="*/ 197 w 215"/>
                    <a:gd name="T5" fmla="*/ 125 h 191"/>
                    <a:gd name="T6" fmla="*/ 189 w 215"/>
                    <a:gd name="T7" fmla="*/ 119 h 191"/>
                    <a:gd name="T8" fmla="*/ 181 w 215"/>
                    <a:gd name="T9" fmla="*/ 110 h 191"/>
                    <a:gd name="T10" fmla="*/ 178 w 215"/>
                    <a:gd name="T11" fmla="*/ 104 h 191"/>
                    <a:gd name="T12" fmla="*/ 179 w 215"/>
                    <a:gd name="T13" fmla="*/ 90 h 191"/>
                    <a:gd name="T14" fmla="*/ 181 w 215"/>
                    <a:gd name="T15" fmla="*/ 69 h 191"/>
                    <a:gd name="T16" fmla="*/ 180 w 215"/>
                    <a:gd name="T17" fmla="*/ 57 h 191"/>
                    <a:gd name="T18" fmla="*/ 182 w 215"/>
                    <a:gd name="T19" fmla="*/ 50 h 191"/>
                    <a:gd name="T20" fmla="*/ 184 w 215"/>
                    <a:gd name="T21" fmla="*/ 44 h 191"/>
                    <a:gd name="T22" fmla="*/ 185 w 215"/>
                    <a:gd name="T23" fmla="*/ 35 h 191"/>
                    <a:gd name="T24" fmla="*/ 181 w 215"/>
                    <a:gd name="T25" fmla="*/ 21 h 191"/>
                    <a:gd name="T26" fmla="*/ 177 w 215"/>
                    <a:gd name="T27" fmla="*/ 16 h 191"/>
                    <a:gd name="T28" fmla="*/ 165 w 215"/>
                    <a:gd name="T29" fmla="*/ 3 h 191"/>
                    <a:gd name="T30" fmla="*/ 149 w 215"/>
                    <a:gd name="T31" fmla="*/ 9 h 191"/>
                    <a:gd name="T32" fmla="*/ 148 w 215"/>
                    <a:gd name="T33" fmla="*/ 15 h 191"/>
                    <a:gd name="T34" fmla="*/ 146 w 215"/>
                    <a:gd name="T35" fmla="*/ 30 h 191"/>
                    <a:gd name="T36" fmla="*/ 145 w 215"/>
                    <a:gd name="T37" fmla="*/ 38 h 191"/>
                    <a:gd name="T38" fmla="*/ 146 w 215"/>
                    <a:gd name="T39" fmla="*/ 50 h 191"/>
                    <a:gd name="T40" fmla="*/ 143 w 215"/>
                    <a:gd name="T41" fmla="*/ 62 h 191"/>
                    <a:gd name="T42" fmla="*/ 141 w 215"/>
                    <a:gd name="T43" fmla="*/ 44 h 191"/>
                    <a:gd name="T44" fmla="*/ 138 w 215"/>
                    <a:gd name="T45" fmla="*/ 16 h 191"/>
                    <a:gd name="T46" fmla="*/ 131 w 215"/>
                    <a:gd name="T47" fmla="*/ 10 h 191"/>
                    <a:gd name="T48" fmla="*/ 5 w 215"/>
                    <a:gd name="T49" fmla="*/ 82 h 191"/>
                    <a:gd name="T50" fmla="*/ 2 w 215"/>
                    <a:gd name="T51" fmla="*/ 98 h 191"/>
                    <a:gd name="T52" fmla="*/ 3 w 215"/>
                    <a:gd name="T53" fmla="*/ 104 h 191"/>
                    <a:gd name="T54" fmla="*/ 15 w 215"/>
                    <a:gd name="T55" fmla="*/ 121 h 191"/>
                    <a:gd name="T56" fmla="*/ 30 w 215"/>
                    <a:gd name="T57" fmla="*/ 128 h 191"/>
                    <a:gd name="T58" fmla="*/ 32 w 215"/>
                    <a:gd name="T59" fmla="*/ 127 h 191"/>
                    <a:gd name="T60" fmla="*/ 35 w 215"/>
                    <a:gd name="T61" fmla="*/ 128 h 191"/>
                    <a:gd name="T62" fmla="*/ 34 w 215"/>
                    <a:gd name="T63" fmla="*/ 140 h 191"/>
                    <a:gd name="T64" fmla="*/ 36 w 215"/>
                    <a:gd name="T65" fmla="*/ 163 h 191"/>
                    <a:gd name="T66" fmla="*/ 49 w 215"/>
                    <a:gd name="T67" fmla="*/ 165 h 191"/>
                    <a:gd name="T68" fmla="*/ 59 w 215"/>
                    <a:gd name="T69" fmla="*/ 167 h 191"/>
                    <a:gd name="T70" fmla="*/ 74 w 215"/>
                    <a:gd name="T71" fmla="*/ 170 h 191"/>
                    <a:gd name="T72" fmla="*/ 82 w 215"/>
                    <a:gd name="T73" fmla="*/ 172 h 191"/>
                    <a:gd name="T74" fmla="*/ 101 w 215"/>
                    <a:gd name="T75" fmla="*/ 167 h 191"/>
                    <a:gd name="T76" fmla="*/ 108 w 215"/>
                    <a:gd name="T77" fmla="*/ 168 h 191"/>
                    <a:gd name="T78" fmla="*/ 120 w 215"/>
                    <a:gd name="T79" fmla="*/ 169 h 191"/>
                    <a:gd name="T80" fmla="*/ 131 w 215"/>
                    <a:gd name="T81" fmla="*/ 158 h 191"/>
                    <a:gd name="T82" fmla="*/ 134 w 215"/>
                    <a:gd name="T83" fmla="*/ 153 h 191"/>
                    <a:gd name="T84" fmla="*/ 134 w 215"/>
                    <a:gd name="T85" fmla="*/ 158 h 191"/>
                    <a:gd name="T86" fmla="*/ 133 w 215"/>
                    <a:gd name="T87" fmla="*/ 167 h 191"/>
                    <a:gd name="T88" fmla="*/ 144 w 215"/>
                    <a:gd name="T89" fmla="*/ 169 h 191"/>
                    <a:gd name="T90" fmla="*/ 145 w 215"/>
                    <a:gd name="T91" fmla="*/ 174 h 191"/>
                    <a:gd name="T92" fmla="*/ 157 w 215"/>
                    <a:gd name="T93" fmla="*/ 184 h 191"/>
                    <a:gd name="T94" fmla="*/ 167 w 215"/>
                    <a:gd name="T95" fmla="*/ 188 h 191"/>
                    <a:gd name="T96" fmla="*/ 184 w 215"/>
                    <a:gd name="T97" fmla="*/ 189 h 191"/>
                    <a:gd name="T98" fmla="*/ 195 w 215"/>
                    <a:gd name="T99" fmla="*/ 179 h 191"/>
                    <a:gd name="T100" fmla="*/ 195 w 215"/>
                    <a:gd name="T101" fmla="*/ 173 h 191"/>
                    <a:gd name="T102" fmla="*/ 195 w 215"/>
                    <a:gd name="T103" fmla="*/ 165 h 191"/>
                    <a:gd name="T104" fmla="*/ 191 w 215"/>
                    <a:gd name="T105" fmla="*/ 156 h 191"/>
                    <a:gd name="T106" fmla="*/ 192 w 215"/>
                    <a:gd name="T107" fmla="*/ 155 h 191"/>
                    <a:gd name="T108" fmla="*/ 198 w 215"/>
                    <a:gd name="T109" fmla="*/ 158 h 191"/>
                    <a:gd name="T110" fmla="*/ 202 w 215"/>
                    <a:gd name="T111" fmla="*/ 157 h 191"/>
                    <a:gd name="T112" fmla="*/ 207 w 215"/>
                    <a:gd name="T113" fmla="*/ 161 h 191"/>
                    <a:gd name="T114" fmla="*/ 214 w 215"/>
                    <a:gd name="T115" fmla="*/ 154 h 1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15" h="191">
                      <a:moveTo>
                        <a:pt x="212" y="142"/>
                      </a:moveTo>
                      <a:cubicBezTo>
                        <a:pt x="211" y="141"/>
                        <a:pt x="210" y="140"/>
                        <a:pt x="209" y="139"/>
                      </a:cubicBezTo>
                      <a:cubicBezTo>
                        <a:pt x="209" y="139"/>
                        <a:pt x="208" y="138"/>
                        <a:pt x="207" y="138"/>
                      </a:cubicBezTo>
                      <a:cubicBezTo>
                        <a:pt x="207" y="137"/>
                        <a:pt x="206" y="136"/>
                        <a:pt x="205" y="135"/>
                      </a:cubicBezTo>
                      <a:cubicBezTo>
                        <a:pt x="205" y="134"/>
                        <a:pt x="205" y="134"/>
                        <a:pt x="204" y="133"/>
                      </a:cubicBezTo>
                      <a:cubicBezTo>
                        <a:pt x="202" y="130"/>
                        <a:pt x="199" y="127"/>
                        <a:pt x="197" y="125"/>
                      </a:cubicBezTo>
                      <a:cubicBezTo>
                        <a:pt x="196" y="124"/>
                        <a:pt x="195" y="124"/>
                        <a:pt x="194" y="123"/>
                      </a:cubicBezTo>
                      <a:cubicBezTo>
                        <a:pt x="193" y="121"/>
                        <a:pt x="191" y="120"/>
                        <a:pt x="189" y="119"/>
                      </a:cubicBezTo>
                      <a:cubicBezTo>
                        <a:pt x="187" y="118"/>
                        <a:pt x="185" y="117"/>
                        <a:pt x="184" y="115"/>
                      </a:cubicBezTo>
                      <a:cubicBezTo>
                        <a:pt x="183" y="114"/>
                        <a:pt x="182" y="112"/>
                        <a:pt x="181" y="110"/>
                      </a:cubicBezTo>
                      <a:cubicBezTo>
                        <a:pt x="181" y="109"/>
                        <a:pt x="181" y="109"/>
                        <a:pt x="181" y="108"/>
                      </a:cubicBezTo>
                      <a:cubicBezTo>
                        <a:pt x="180" y="107"/>
                        <a:pt x="179" y="105"/>
                        <a:pt x="178" y="104"/>
                      </a:cubicBezTo>
                      <a:cubicBezTo>
                        <a:pt x="178" y="103"/>
                        <a:pt x="177" y="102"/>
                        <a:pt x="177" y="101"/>
                      </a:cubicBezTo>
                      <a:cubicBezTo>
                        <a:pt x="175" y="98"/>
                        <a:pt x="177" y="95"/>
                        <a:pt x="179" y="90"/>
                      </a:cubicBezTo>
                      <a:cubicBezTo>
                        <a:pt x="182" y="86"/>
                        <a:pt x="184" y="80"/>
                        <a:pt x="183" y="75"/>
                      </a:cubicBezTo>
                      <a:cubicBezTo>
                        <a:pt x="183" y="73"/>
                        <a:pt x="182" y="71"/>
                        <a:pt x="181" y="69"/>
                      </a:cubicBezTo>
                      <a:cubicBezTo>
                        <a:pt x="180" y="66"/>
                        <a:pt x="179" y="64"/>
                        <a:pt x="179" y="61"/>
                      </a:cubicBezTo>
                      <a:cubicBezTo>
                        <a:pt x="179" y="60"/>
                        <a:pt x="179" y="59"/>
                        <a:pt x="180" y="57"/>
                      </a:cubicBezTo>
                      <a:cubicBezTo>
                        <a:pt x="181" y="56"/>
                        <a:pt x="181" y="56"/>
                        <a:pt x="181" y="56"/>
                      </a:cubicBezTo>
                      <a:cubicBezTo>
                        <a:pt x="181" y="54"/>
                        <a:pt x="182" y="52"/>
                        <a:pt x="182" y="50"/>
                      </a:cubicBezTo>
                      <a:cubicBezTo>
                        <a:pt x="182" y="49"/>
                        <a:pt x="182" y="49"/>
                        <a:pt x="182" y="49"/>
                      </a:cubicBezTo>
                      <a:cubicBezTo>
                        <a:pt x="183" y="47"/>
                        <a:pt x="183" y="46"/>
                        <a:pt x="184" y="44"/>
                      </a:cubicBezTo>
                      <a:cubicBezTo>
                        <a:pt x="185" y="42"/>
                        <a:pt x="185" y="39"/>
                        <a:pt x="185" y="35"/>
                      </a:cubicBezTo>
                      <a:cubicBezTo>
                        <a:pt x="185" y="35"/>
                        <a:pt x="185" y="35"/>
                        <a:pt x="185" y="35"/>
                      </a:cubicBezTo>
                      <a:cubicBezTo>
                        <a:pt x="185" y="32"/>
                        <a:pt x="185" y="29"/>
                        <a:pt x="184" y="25"/>
                      </a:cubicBezTo>
                      <a:cubicBezTo>
                        <a:pt x="183" y="23"/>
                        <a:pt x="182" y="22"/>
                        <a:pt x="181" y="21"/>
                      </a:cubicBezTo>
                      <a:cubicBezTo>
                        <a:pt x="180" y="20"/>
                        <a:pt x="180" y="19"/>
                        <a:pt x="179" y="19"/>
                      </a:cubicBezTo>
                      <a:cubicBezTo>
                        <a:pt x="179" y="18"/>
                        <a:pt x="178" y="17"/>
                        <a:pt x="177" y="16"/>
                      </a:cubicBezTo>
                      <a:cubicBezTo>
                        <a:pt x="175" y="12"/>
                        <a:pt x="173" y="7"/>
                        <a:pt x="168" y="5"/>
                      </a:cubicBezTo>
                      <a:cubicBezTo>
                        <a:pt x="167" y="4"/>
                        <a:pt x="166" y="4"/>
                        <a:pt x="165" y="3"/>
                      </a:cubicBezTo>
                      <a:cubicBezTo>
                        <a:pt x="163" y="2"/>
                        <a:pt x="160" y="0"/>
                        <a:pt x="157" y="0"/>
                      </a:cubicBezTo>
                      <a:cubicBezTo>
                        <a:pt x="151" y="0"/>
                        <a:pt x="149" y="6"/>
                        <a:pt x="149" y="9"/>
                      </a:cubicBezTo>
                      <a:cubicBezTo>
                        <a:pt x="149" y="10"/>
                        <a:pt x="149" y="10"/>
                        <a:pt x="149" y="10"/>
                      </a:cubicBezTo>
                      <a:cubicBezTo>
                        <a:pt x="148" y="12"/>
                        <a:pt x="148" y="14"/>
                        <a:pt x="148" y="15"/>
                      </a:cubicBezTo>
                      <a:cubicBezTo>
                        <a:pt x="147" y="17"/>
                        <a:pt x="147" y="20"/>
                        <a:pt x="146" y="22"/>
                      </a:cubicBezTo>
                      <a:cubicBezTo>
                        <a:pt x="146" y="24"/>
                        <a:pt x="146" y="27"/>
                        <a:pt x="146" y="30"/>
                      </a:cubicBezTo>
                      <a:cubicBezTo>
                        <a:pt x="146" y="31"/>
                        <a:pt x="146" y="33"/>
                        <a:pt x="146" y="34"/>
                      </a:cubicBezTo>
                      <a:cubicBezTo>
                        <a:pt x="146" y="36"/>
                        <a:pt x="145" y="37"/>
                        <a:pt x="145" y="38"/>
                      </a:cubicBezTo>
                      <a:cubicBezTo>
                        <a:pt x="145" y="40"/>
                        <a:pt x="145" y="43"/>
                        <a:pt x="145" y="46"/>
                      </a:cubicBezTo>
                      <a:cubicBezTo>
                        <a:pt x="145" y="47"/>
                        <a:pt x="146" y="49"/>
                        <a:pt x="146" y="50"/>
                      </a:cubicBezTo>
                      <a:cubicBezTo>
                        <a:pt x="146" y="52"/>
                        <a:pt x="147" y="54"/>
                        <a:pt x="147" y="55"/>
                      </a:cubicBezTo>
                      <a:cubicBezTo>
                        <a:pt x="146" y="58"/>
                        <a:pt x="144" y="62"/>
                        <a:pt x="143" y="62"/>
                      </a:cubicBezTo>
                      <a:cubicBezTo>
                        <a:pt x="143" y="62"/>
                        <a:pt x="142" y="62"/>
                        <a:pt x="141" y="59"/>
                      </a:cubicBezTo>
                      <a:cubicBezTo>
                        <a:pt x="140" y="54"/>
                        <a:pt x="140" y="49"/>
                        <a:pt x="141" y="44"/>
                      </a:cubicBezTo>
                      <a:cubicBezTo>
                        <a:pt x="142" y="41"/>
                        <a:pt x="142" y="39"/>
                        <a:pt x="142" y="37"/>
                      </a:cubicBezTo>
                      <a:cubicBezTo>
                        <a:pt x="143" y="29"/>
                        <a:pt x="140" y="22"/>
                        <a:pt x="138" y="16"/>
                      </a:cubicBezTo>
                      <a:cubicBezTo>
                        <a:pt x="136" y="14"/>
                        <a:pt x="135" y="13"/>
                        <a:pt x="134" y="12"/>
                      </a:cubicBezTo>
                      <a:cubicBezTo>
                        <a:pt x="131" y="10"/>
                        <a:pt x="131" y="10"/>
                        <a:pt x="131" y="10"/>
                      </a:cubicBezTo>
                      <a:cubicBezTo>
                        <a:pt x="94" y="118"/>
                        <a:pt x="94" y="118"/>
                        <a:pt x="94" y="118"/>
                      </a:cubicBezTo>
                      <a:cubicBezTo>
                        <a:pt x="5" y="82"/>
                        <a:pt x="5" y="82"/>
                        <a:pt x="5" y="82"/>
                      </a:cubicBezTo>
                      <a:cubicBezTo>
                        <a:pt x="4" y="84"/>
                        <a:pt x="4" y="84"/>
                        <a:pt x="4" y="84"/>
                      </a:cubicBezTo>
                      <a:cubicBezTo>
                        <a:pt x="0" y="88"/>
                        <a:pt x="1" y="93"/>
                        <a:pt x="2" y="98"/>
                      </a:cubicBezTo>
                      <a:cubicBezTo>
                        <a:pt x="2" y="98"/>
                        <a:pt x="2" y="99"/>
                        <a:pt x="2" y="100"/>
                      </a:cubicBezTo>
                      <a:cubicBezTo>
                        <a:pt x="3" y="101"/>
                        <a:pt x="3" y="102"/>
                        <a:pt x="3" y="104"/>
                      </a:cubicBezTo>
                      <a:cubicBezTo>
                        <a:pt x="3" y="105"/>
                        <a:pt x="3" y="107"/>
                        <a:pt x="4" y="109"/>
                      </a:cubicBezTo>
                      <a:cubicBezTo>
                        <a:pt x="5" y="116"/>
                        <a:pt x="11" y="118"/>
                        <a:pt x="15" y="121"/>
                      </a:cubicBezTo>
                      <a:cubicBezTo>
                        <a:pt x="18" y="122"/>
                        <a:pt x="20" y="123"/>
                        <a:pt x="21" y="124"/>
                      </a:cubicBezTo>
                      <a:cubicBezTo>
                        <a:pt x="24" y="126"/>
                        <a:pt x="26" y="127"/>
                        <a:pt x="30" y="128"/>
                      </a:cubicBezTo>
                      <a:cubicBezTo>
                        <a:pt x="30" y="128"/>
                        <a:pt x="30" y="128"/>
                        <a:pt x="30" y="128"/>
                      </a:cubicBezTo>
                      <a:cubicBezTo>
                        <a:pt x="31" y="128"/>
                        <a:pt x="32" y="127"/>
                        <a:pt x="32" y="127"/>
                      </a:cubicBezTo>
                      <a:cubicBezTo>
                        <a:pt x="33" y="127"/>
                        <a:pt x="33" y="127"/>
                        <a:pt x="34" y="127"/>
                      </a:cubicBezTo>
                      <a:cubicBezTo>
                        <a:pt x="35" y="127"/>
                        <a:pt x="35" y="128"/>
                        <a:pt x="35" y="128"/>
                      </a:cubicBezTo>
                      <a:cubicBezTo>
                        <a:pt x="36" y="130"/>
                        <a:pt x="37" y="134"/>
                        <a:pt x="35" y="137"/>
                      </a:cubicBezTo>
                      <a:cubicBezTo>
                        <a:pt x="35" y="138"/>
                        <a:pt x="34" y="139"/>
                        <a:pt x="34" y="140"/>
                      </a:cubicBezTo>
                      <a:cubicBezTo>
                        <a:pt x="33" y="141"/>
                        <a:pt x="31" y="143"/>
                        <a:pt x="31" y="146"/>
                      </a:cubicBezTo>
                      <a:cubicBezTo>
                        <a:pt x="29" y="152"/>
                        <a:pt x="32" y="159"/>
                        <a:pt x="36" y="163"/>
                      </a:cubicBezTo>
                      <a:cubicBezTo>
                        <a:pt x="39" y="165"/>
                        <a:pt x="43" y="165"/>
                        <a:pt x="46" y="165"/>
                      </a:cubicBezTo>
                      <a:cubicBezTo>
                        <a:pt x="46" y="165"/>
                        <a:pt x="49" y="165"/>
                        <a:pt x="49" y="165"/>
                      </a:cubicBezTo>
                      <a:cubicBezTo>
                        <a:pt x="51" y="165"/>
                        <a:pt x="52" y="166"/>
                        <a:pt x="54" y="166"/>
                      </a:cubicBezTo>
                      <a:cubicBezTo>
                        <a:pt x="55" y="166"/>
                        <a:pt x="57" y="167"/>
                        <a:pt x="59" y="167"/>
                      </a:cubicBezTo>
                      <a:cubicBezTo>
                        <a:pt x="63" y="167"/>
                        <a:pt x="68" y="168"/>
                        <a:pt x="72" y="169"/>
                      </a:cubicBezTo>
                      <a:cubicBezTo>
                        <a:pt x="73" y="169"/>
                        <a:pt x="74" y="170"/>
                        <a:pt x="74" y="170"/>
                      </a:cubicBezTo>
                      <a:cubicBezTo>
                        <a:pt x="76" y="171"/>
                        <a:pt x="78" y="172"/>
                        <a:pt x="81" y="172"/>
                      </a:cubicBezTo>
                      <a:cubicBezTo>
                        <a:pt x="81" y="172"/>
                        <a:pt x="82" y="172"/>
                        <a:pt x="82" y="172"/>
                      </a:cubicBezTo>
                      <a:cubicBezTo>
                        <a:pt x="86" y="172"/>
                        <a:pt x="90" y="171"/>
                        <a:pt x="93" y="170"/>
                      </a:cubicBezTo>
                      <a:cubicBezTo>
                        <a:pt x="96" y="169"/>
                        <a:pt x="98" y="168"/>
                        <a:pt x="101" y="167"/>
                      </a:cubicBezTo>
                      <a:cubicBezTo>
                        <a:pt x="101" y="167"/>
                        <a:pt x="102" y="167"/>
                        <a:pt x="102" y="167"/>
                      </a:cubicBezTo>
                      <a:cubicBezTo>
                        <a:pt x="104" y="167"/>
                        <a:pt x="106" y="168"/>
                        <a:pt x="108" y="168"/>
                      </a:cubicBezTo>
                      <a:cubicBezTo>
                        <a:pt x="110" y="169"/>
                        <a:pt x="113" y="169"/>
                        <a:pt x="115" y="169"/>
                      </a:cubicBezTo>
                      <a:cubicBezTo>
                        <a:pt x="117" y="169"/>
                        <a:pt x="118" y="169"/>
                        <a:pt x="120" y="169"/>
                      </a:cubicBezTo>
                      <a:cubicBezTo>
                        <a:pt x="123" y="168"/>
                        <a:pt x="126" y="165"/>
                        <a:pt x="129" y="161"/>
                      </a:cubicBezTo>
                      <a:cubicBezTo>
                        <a:pt x="130" y="160"/>
                        <a:pt x="131" y="159"/>
                        <a:pt x="131" y="158"/>
                      </a:cubicBezTo>
                      <a:cubicBezTo>
                        <a:pt x="132" y="156"/>
                        <a:pt x="133" y="154"/>
                        <a:pt x="134" y="154"/>
                      </a:cubicBezTo>
                      <a:cubicBezTo>
                        <a:pt x="134" y="153"/>
                        <a:pt x="134" y="153"/>
                        <a:pt x="134" y="153"/>
                      </a:cubicBezTo>
                      <a:cubicBezTo>
                        <a:pt x="134" y="153"/>
                        <a:pt x="135" y="154"/>
                        <a:pt x="135" y="154"/>
                      </a:cubicBezTo>
                      <a:cubicBezTo>
                        <a:pt x="135" y="155"/>
                        <a:pt x="135" y="156"/>
                        <a:pt x="134" y="158"/>
                      </a:cubicBezTo>
                      <a:cubicBezTo>
                        <a:pt x="133" y="159"/>
                        <a:pt x="133" y="160"/>
                        <a:pt x="132" y="162"/>
                      </a:cubicBezTo>
                      <a:cubicBezTo>
                        <a:pt x="132" y="164"/>
                        <a:pt x="132" y="165"/>
                        <a:pt x="133" y="167"/>
                      </a:cubicBezTo>
                      <a:cubicBezTo>
                        <a:pt x="135" y="169"/>
                        <a:pt x="138" y="169"/>
                        <a:pt x="140" y="169"/>
                      </a:cubicBezTo>
                      <a:cubicBezTo>
                        <a:pt x="141" y="169"/>
                        <a:pt x="143" y="169"/>
                        <a:pt x="144" y="169"/>
                      </a:cubicBezTo>
                      <a:cubicBezTo>
                        <a:pt x="144" y="170"/>
                        <a:pt x="145" y="171"/>
                        <a:pt x="145" y="173"/>
                      </a:cubicBezTo>
                      <a:cubicBezTo>
                        <a:pt x="145" y="173"/>
                        <a:pt x="145" y="174"/>
                        <a:pt x="145" y="174"/>
                      </a:cubicBezTo>
                      <a:cubicBezTo>
                        <a:pt x="146" y="177"/>
                        <a:pt x="146" y="180"/>
                        <a:pt x="148" y="182"/>
                      </a:cubicBezTo>
                      <a:cubicBezTo>
                        <a:pt x="151" y="184"/>
                        <a:pt x="154" y="184"/>
                        <a:pt x="157" y="184"/>
                      </a:cubicBezTo>
                      <a:cubicBezTo>
                        <a:pt x="157" y="184"/>
                        <a:pt x="158" y="184"/>
                        <a:pt x="159" y="184"/>
                      </a:cubicBezTo>
                      <a:cubicBezTo>
                        <a:pt x="162" y="185"/>
                        <a:pt x="164" y="186"/>
                        <a:pt x="167" y="188"/>
                      </a:cubicBezTo>
                      <a:cubicBezTo>
                        <a:pt x="171" y="190"/>
                        <a:pt x="174" y="191"/>
                        <a:pt x="177" y="191"/>
                      </a:cubicBezTo>
                      <a:cubicBezTo>
                        <a:pt x="179" y="191"/>
                        <a:pt x="182" y="191"/>
                        <a:pt x="184" y="189"/>
                      </a:cubicBezTo>
                      <a:cubicBezTo>
                        <a:pt x="185" y="189"/>
                        <a:pt x="185" y="189"/>
                        <a:pt x="185" y="189"/>
                      </a:cubicBezTo>
                      <a:cubicBezTo>
                        <a:pt x="189" y="187"/>
                        <a:pt x="194" y="185"/>
                        <a:pt x="195" y="179"/>
                      </a:cubicBezTo>
                      <a:cubicBezTo>
                        <a:pt x="195" y="178"/>
                        <a:pt x="195" y="177"/>
                        <a:pt x="195" y="176"/>
                      </a:cubicBezTo>
                      <a:cubicBezTo>
                        <a:pt x="195" y="175"/>
                        <a:pt x="195" y="174"/>
                        <a:pt x="195" y="173"/>
                      </a:cubicBezTo>
                      <a:cubicBezTo>
                        <a:pt x="195" y="173"/>
                        <a:pt x="195" y="172"/>
                        <a:pt x="195" y="172"/>
                      </a:cubicBezTo>
                      <a:cubicBezTo>
                        <a:pt x="196" y="170"/>
                        <a:pt x="196" y="167"/>
                        <a:pt x="195" y="165"/>
                      </a:cubicBezTo>
                      <a:cubicBezTo>
                        <a:pt x="194" y="163"/>
                        <a:pt x="192" y="162"/>
                        <a:pt x="189" y="161"/>
                      </a:cubicBezTo>
                      <a:cubicBezTo>
                        <a:pt x="190" y="160"/>
                        <a:pt x="191" y="158"/>
                        <a:pt x="191" y="156"/>
                      </a:cubicBezTo>
                      <a:cubicBezTo>
                        <a:pt x="191" y="156"/>
                        <a:pt x="191" y="155"/>
                        <a:pt x="191" y="154"/>
                      </a:cubicBezTo>
                      <a:cubicBezTo>
                        <a:pt x="192" y="154"/>
                        <a:pt x="192" y="155"/>
                        <a:pt x="192" y="155"/>
                      </a:cubicBezTo>
                      <a:cubicBezTo>
                        <a:pt x="193" y="156"/>
                        <a:pt x="194" y="157"/>
                        <a:pt x="196" y="158"/>
                      </a:cubicBezTo>
                      <a:cubicBezTo>
                        <a:pt x="197" y="158"/>
                        <a:pt x="197" y="158"/>
                        <a:pt x="198" y="158"/>
                      </a:cubicBezTo>
                      <a:cubicBezTo>
                        <a:pt x="200" y="158"/>
                        <a:pt x="201" y="158"/>
                        <a:pt x="201" y="157"/>
                      </a:cubicBezTo>
                      <a:cubicBezTo>
                        <a:pt x="201" y="157"/>
                        <a:pt x="202" y="157"/>
                        <a:pt x="202" y="157"/>
                      </a:cubicBezTo>
                      <a:cubicBezTo>
                        <a:pt x="202" y="157"/>
                        <a:pt x="202" y="158"/>
                        <a:pt x="202" y="158"/>
                      </a:cubicBezTo>
                      <a:cubicBezTo>
                        <a:pt x="203" y="159"/>
                        <a:pt x="204" y="161"/>
                        <a:pt x="207" y="161"/>
                      </a:cubicBezTo>
                      <a:cubicBezTo>
                        <a:pt x="207" y="161"/>
                        <a:pt x="208" y="161"/>
                        <a:pt x="208" y="161"/>
                      </a:cubicBezTo>
                      <a:cubicBezTo>
                        <a:pt x="211" y="160"/>
                        <a:pt x="213" y="158"/>
                        <a:pt x="214" y="154"/>
                      </a:cubicBezTo>
                      <a:cubicBezTo>
                        <a:pt x="215" y="150"/>
                        <a:pt x="215" y="145"/>
                        <a:pt x="212" y="14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0" name="Freeform 21">
                  <a:extLst>
                    <a:ext uri="{FF2B5EF4-FFF2-40B4-BE49-F238E27FC236}">
                      <a16:creationId xmlns:a16="http://schemas.microsoft.com/office/drawing/2014/main" id="{4E0C789F-1C69-D34C-9912-6E78923D12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5388" y="3977047"/>
                  <a:ext cx="180554" cy="188524"/>
                </a:xfrm>
                <a:custGeom>
                  <a:avLst/>
                  <a:gdLst>
                    <a:gd name="T0" fmla="*/ 18 w 33"/>
                    <a:gd name="T1" fmla="*/ 1 h 38"/>
                    <a:gd name="T2" fmla="*/ 11 w 33"/>
                    <a:gd name="T3" fmla="*/ 0 h 38"/>
                    <a:gd name="T4" fmla="*/ 5 w 33"/>
                    <a:gd name="T5" fmla="*/ 1 h 38"/>
                    <a:gd name="T6" fmla="*/ 1 w 33"/>
                    <a:gd name="T7" fmla="*/ 12 h 38"/>
                    <a:gd name="T8" fmla="*/ 3 w 33"/>
                    <a:gd name="T9" fmla="*/ 16 h 38"/>
                    <a:gd name="T10" fmla="*/ 4 w 33"/>
                    <a:gd name="T11" fmla="*/ 17 h 38"/>
                    <a:gd name="T12" fmla="*/ 5 w 33"/>
                    <a:gd name="T13" fmla="*/ 18 h 38"/>
                    <a:gd name="T14" fmla="*/ 9 w 33"/>
                    <a:gd name="T15" fmla="*/ 26 h 38"/>
                    <a:gd name="T16" fmla="*/ 18 w 33"/>
                    <a:gd name="T17" fmla="*/ 38 h 38"/>
                    <a:gd name="T18" fmla="*/ 24 w 33"/>
                    <a:gd name="T19" fmla="*/ 35 h 38"/>
                    <a:gd name="T20" fmla="*/ 32 w 33"/>
                    <a:gd name="T21" fmla="*/ 15 h 38"/>
                    <a:gd name="T22" fmla="*/ 18 w 33"/>
                    <a:gd name="T23" fmla="*/ 1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3" h="38">
                      <a:moveTo>
                        <a:pt x="18" y="1"/>
                      </a:moveTo>
                      <a:cubicBezTo>
                        <a:pt x="15" y="1"/>
                        <a:pt x="13" y="0"/>
                        <a:pt x="11" y="0"/>
                      </a:cubicBezTo>
                      <a:cubicBezTo>
                        <a:pt x="9" y="0"/>
                        <a:pt x="7" y="1"/>
                        <a:pt x="5" y="1"/>
                      </a:cubicBezTo>
                      <a:cubicBezTo>
                        <a:pt x="2" y="3"/>
                        <a:pt x="0" y="7"/>
                        <a:pt x="1" y="12"/>
                      </a:cubicBezTo>
                      <a:cubicBezTo>
                        <a:pt x="2" y="13"/>
                        <a:pt x="3" y="15"/>
                        <a:pt x="3" y="16"/>
                      </a:cubicBezTo>
                      <a:cubicBezTo>
                        <a:pt x="3" y="16"/>
                        <a:pt x="4" y="16"/>
                        <a:pt x="4" y="17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6" y="21"/>
                        <a:pt x="8" y="23"/>
                        <a:pt x="9" y="26"/>
                      </a:cubicBezTo>
                      <a:cubicBezTo>
                        <a:pt x="10" y="30"/>
                        <a:pt x="12" y="38"/>
                        <a:pt x="18" y="38"/>
                      </a:cubicBezTo>
                      <a:cubicBezTo>
                        <a:pt x="20" y="38"/>
                        <a:pt x="22" y="37"/>
                        <a:pt x="24" y="35"/>
                      </a:cubicBezTo>
                      <a:cubicBezTo>
                        <a:pt x="27" y="31"/>
                        <a:pt x="33" y="22"/>
                        <a:pt x="32" y="15"/>
                      </a:cubicBezTo>
                      <a:cubicBezTo>
                        <a:pt x="31" y="8"/>
                        <a:pt x="24" y="3"/>
                        <a:pt x="18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1" name="Freeform 22">
                  <a:extLst>
                    <a:ext uri="{FF2B5EF4-FFF2-40B4-BE49-F238E27FC236}">
                      <a16:creationId xmlns:a16="http://schemas.microsoft.com/office/drawing/2014/main" id="{F521179E-26FC-C94A-98B3-9761C80656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95888" y="3967714"/>
                  <a:ext cx="43087" cy="59730"/>
                </a:xfrm>
                <a:custGeom>
                  <a:avLst/>
                  <a:gdLst>
                    <a:gd name="T0" fmla="*/ 5 w 8"/>
                    <a:gd name="T1" fmla="*/ 3 h 12"/>
                    <a:gd name="T2" fmla="*/ 5 w 8"/>
                    <a:gd name="T3" fmla="*/ 3 h 12"/>
                    <a:gd name="T4" fmla="*/ 5 w 8"/>
                    <a:gd name="T5" fmla="*/ 0 h 12"/>
                    <a:gd name="T6" fmla="*/ 0 w 8"/>
                    <a:gd name="T7" fmla="*/ 6 h 12"/>
                    <a:gd name="T8" fmla="*/ 3 w 8"/>
                    <a:gd name="T9" fmla="*/ 6 h 12"/>
                    <a:gd name="T10" fmla="*/ 3 w 8"/>
                    <a:gd name="T11" fmla="*/ 6 h 12"/>
                    <a:gd name="T12" fmla="*/ 0 w 8"/>
                    <a:gd name="T13" fmla="*/ 6 h 12"/>
                    <a:gd name="T14" fmla="*/ 1 w 8"/>
                    <a:gd name="T15" fmla="*/ 10 h 12"/>
                    <a:gd name="T16" fmla="*/ 5 w 8"/>
                    <a:gd name="T17" fmla="*/ 12 h 12"/>
                    <a:gd name="T18" fmla="*/ 5 w 8"/>
                    <a:gd name="T19" fmla="*/ 9 h 12"/>
                    <a:gd name="T20" fmla="*/ 7 w 8"/>
                    <a:gd name="T21" fmla="*/ 8 h 12"/>
                    <a:gd name="T22" fmla="*/ 5 w 8"/>
                    <a:gd name="T23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12">
                      <a:moveTo>
                        <a:pt x="5" y="3"/>
                      </a:move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3"/>
                        <a:pt x="0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7"/>
                        <a:pt x="0" y="8"/>
                        <a:pt x="1" y="10"/>
                      </a:cubicBezTo>
                      <a:cubicBezTo>
                        <a:pt x="2" y="11"/>
                        <a:pt x="3" y="12"/>
                        <a:pt x="5" y="1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6" y="9"/>
                        <a:pt x="6" y="9"/>
                        <a:pt x="7" y="8"/>
                      </a:cubicBezTo>
                      <a:cubicBezTo>
                        <a:pt x="8" y="6"/>
                        <a:pt x="8" y="4"/>
                        <a:pt x="5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2" name="Freeform 23">
                  <a:extLst>
                    <a:ext uri="{FF2B5EF4-FFF2-40B4-BE49-F238E27FC236}">
                      <a16:creationId xmlns:a16="http://schemas.microsoft.com/office/drawing/2014/main" id="{5E26561D-2152-4C40-B450-4FCB7E0AD5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56460" y="4940197"/>
                  <a:ext cx="82070" cy="87729"/>
                </a:xfrm>
                <a:custGeom>
                  <a:avLst/>
                  <a:gdLst>
                    <a:gd name="T0" fmla="*/ 9 w 15"/>
                    <a:gd name="T1" fmla="*/ 0 h 18"/>
                    <a:gd name="T2" fmla="*/ 5 w 15"/>
                    <a:gd name="T3" fmla="*/ 1 h 18"/>
                    <a:gd name="T4" fmla="*/ 0 w 15"/>
                    <a:gd name="T5" fmla="*/ 11 h 18"/>
                    <a:gd name="T6" fmla="*/ 3 w 15"/>
                    <a:gd name="T7" fmla="*/ 17 h 18"/>
                    <a:gd name="T8" fmla="*/ 6 w 15"/>
                    <a:gd name="T9" fmla="*/ 18 h 18"/>
                    <a:gd name="T10" fmla="*/ 12 w 15"/>
                    <a:gd name="T11" fmla="*/ 13 h 18"/>
                    <a:gd name="T12" fmla="*/ 12 w 15"/>
                    <a:gd name="T13" fmla="*/ 12 h 18"/>
                    <a:gd name="T14" fmla="*/ 13 w 15"/>
                    <a:gd name="T15" fmla="*/ 3 h 18"/>
                    <a:gd name="T16" fmla="*/ 9 w 15"/>
                    <a:gd name="T1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8">
                      <a:moveTo>
                        <a:pt x="9" y="0"/>
                      </a:moveTo>
                      <a:cubicBezTo>
                        <a:pt x="8" y="0"/>
                        <a:pt x="7" y="1"/>
                        <a:pt x="5" y="1"/>
                      </a:cubicBezTo>
                      <a:cubicBezTo>
                        <a:pt x="2" y="3"/>
                        <a:pt x="0" y="8"/>
                        <a:pt x="0" y="11"/>
                      </a:cubicBezTo>
                      <a:cubicBezTo>
                        <a:pt x="0" y="15"/>
                        <a:pt x="2" y="16"/>
                        <a:pt x="3" y="17"/>
                      </a:cubicBezTo>
                      <a:cubicBezTo>
                        <a:pt x="4" y="17"/>
                        <a:pt x="5" y="18"/>
                        <a:pt x="6" y="18"/>
                      </a:cubicBezTo>
                      <a:cubicBezTo>
                        <a:pt x="9" y="18"/>
                        <a:pt x="11" y="14"/>
                        <a:pt x="12" y="13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4" y="9"/>
                        <a:pt x="15" y="6"/>
                        <a:pt x="13" y="3"/>
                      </a:cubicBezTo>
                      <a:cubicBezTo>
                        <a:pt x="12" y="1"/>
                        <a:pt x="11" y="0"/>
                        <a:pt x="9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3" name="Freeform 24">
                  <a:extLst>
                    <a:ext uri="{FF2B5EF4-FFF2-40B4-BE49-F238E27FC236}">
                      <a16:creationId xmlns:a16="http://schemas.microsoft.com/office/drawing/2014/main" id="{F32E3502-6498-2B4C-9D25-269A39AB37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01598" y="4617280"/>
                  <a:ext cx="98484" cy="83996"/>
                </a:xfrm>
                <a:custGeom>
                  <a:avLst/>
                  <a:gdLst>
                    <a:gd name="T0" fmla="*/ 10 w 18"/>
                    <a:gd name="T1" fmla="*/ 1 h 17"/>
                    <a:gd name="T2" fmla="*/ 7 w 18"/>
                    <a:gd name="T3" fmla="*/ 0 h 17"/>
                    <a:gd name="T4" fmla="*/ 3 w 18"/>
                    <a:gd name="T5" fmla="*/ 2 h 17"/>
                    <a:gd name="T6" fmla="*/ 5 w 18"/>
                    <a:gd name="T7" fmla="*/ 12 h 17"/>
                    <a:gd name="T8" fmla="*/ 5 w 18"/>
                    <a:gd name="T9" fmla="*/ 13 h 17"/>
                    <a:gd name="T10" fmla="*/ 11 w 18"/>
                    <a:gd name="T11" fmla="*/ 17 h 17"/>
                    <a:gd name="T12" fmla="*/ 11 w 18"/>
                    <a:gd name="T13" fmla="*/ 17 h 17"/>
                    <a:gd name="T14" fmla="*/ 16 w 18"/>
                    <a:gd name="T15" fmla="*/ 13 h 17"/>
                    <a:gd name="T16" fmla="*/ 10 w 18"/>
                    <a:gd name="T17" fmla="*/ 1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" h="17">
                      <a:moveTo>
                        <a:pt x="10" y="1"/>
                      </a:moveTo>
                      <a:cubicBezTo>
                        <a:pt x="9" y="0"/>
                        <a:pt x="8" y="0"/>
                        <a:pt x="7" y="0"/>
                      </a:cubicBezTo>
                      <a:cubicBezTo>
                        <a:pt x="5" y="0"/>
                        <a:pt x="4" y="1"/>
                        <a:pt x="3" y="2"/>
                      </a:cubicBezTo>
                      <a:cubicBezTo>
                        <a:pt x="0" y="6"/>
                        <a:pt x="3" y="10"/>
                        <a:pt x="5" y="12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6" y="14"/>
                        <a:pt x="8" y="17"/>
                        <a:pt x="11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2" y="17"/>
                        <a:pt x="15" y="16"/>
                        <a:pt x="16" y="13"/>
                      </a:cubicBezTo>
                      <a:cubicBezTo>
                        <a:pt x="18" y="8"/>
                        <a:pt x="15" y="2"/>
                        <a:pt x="10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4" name="Freeform 25">
                  <a:extLst>
                    <a:ext uri="{FF2B5EF4-FFF2-40B4-BE49-F238E27FC236}">
                      <a16:creationId xmlns:a16="http://schemas.microsoft.com/office/drawing/2014/main" id="{FBEF2335-5EB5-2346-A1EB-79349EC461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919973" y="4958863"/>
                  <a:ext cx="75915" cy="74663"/>
                </a:xfrm>
                <a:custGeom>
                  <a:avLst/>
                  <a:gdLst>
                    <a:gd name="T0" fmla="*/ 6 w 14"/>
                    <a:gd name="T1" fmla="*/ 0 h 15"/>
                    <a:gd name="T2" fmla="*/ 0 w 14"/>
                    <a:gd name="T3" fmla="*/ 5 h 15"/>
                    <a:gd name="T4" fmla="*/ 3 w 14"/>
                    <a:gd name="T5" fmla="*/ 11 h 15"/>
                    <a:gd name="T6" fmla="*/ 3 w 14"/>
                    <a:gd name="T7" fmla="*/ 11 h 15"/>
                    <a:gd name="T8" fmla="*/ 8 w 14"/>
                    <a:gd name="T9" fmla="*/ 15 h 15"/>
                    <a:gd name="T10" fmla="*/ 8 w 14"/>
                    <a:gd name="T11" fmla="*/ 15 h 15"/>
                    <a:gd name="T12" fmla="*/ 13 w 14"/>
                    <a:gd name="T13" fmla="*/ 13 h 15"/>
                    <a:gd name="T14" fmla="*/ 13 w 14"/>
                    <a:gd name="T15" fmla="*/ 5 h 15"/>
                    <a:gd name="T16" fmla="*/ 6 w 14"/>
                    <a:gd name="T1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15">
                      <a:moveTo>
                        <a:pt x="6" y="0"/>
                      </a:moveTo>
                      <a:cubicBezTo>
                        <a:pt x="3" y="0"/>
                        <a:pt x="1" y="2"/>
                        <a:pt x="0" y="5"/>
                      </a:cubicBezTo>
                      <a:cubicBezTo>
                        <a:pt x="0" y="7"/>
                        <a:pt x="0" y="9"/>
                        <a:pt x="3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4" y="15"/>
                        <a:pt x="7" y="15"/>
                        <a:pt x="8" y="15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10" y="15"/>
                        <a:pt x="11" y="14"/>
                        <a:pt x="13" y="13"/>
                      </a:cubicBezTo>
                      <a:cubicBezTo>
                        <a:pt x="14" y="10"/>
                        <a:pt x="14" y="7"/>
                        <a:pt x="13" y="5"/>
                      </a:cubicBezTo>
                      <a:cubicBezTo>
                        <a:pt x="12" y="2"/>
                        <a:pt x="9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5" name="Freeform 26">
                  <a:extLst>
                    <a:ext uri="{FF2B5EF4-FFF2-40B4-BE49-F238E27FC236}">
                      <a16:creationId xmlns:a16="http://schemas.microsoft.com/office/drawing/2014/main" id="{8CF9AA45-1591-384B-B761-201BDF5AB9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31303" y="4973795"/>
                  <a:ext cx="77966" cy="65330"/>
                </a:xfrm>
                <a:custGeom>
                  <a:avLst/>
                  <a:gdLst>
                    <a:gd name="T0" fmla="*/ 8 w 14"/>
                    <a:gd name="T1" fmla="*/ 0 h 13"/>
                    <a:gd name="T2" fmla="*/ 1 w 14"/>
                    <a:gd name="T3" fmla="*/ 4 h 13"/>
                    <a:gd name="T4" fmla="*/ 0 w 14"/>
                    <a:gd name="T5" fmla="*/ 9 h 13"/>
                    <a:gd name="T6" fmla="*/ 3 w 14"/>
                    <a:gd name="T7" fmla="*/ 13 h 13"/>
                    <a:gd name="T8" fmla="*/ 6 w 14"/>
                    <a:gd name="T9" fmla="*/ 13 h 13"/>
                    <a:gd name="T10" fmla="*/ 13 w 14"/>
                    <a:gd name="T11" fmla="*/ 10 h 13"/>
                    <a:gd name="T12" fmla="*/ 13 w 14"/>
                    <a:gd name="T13" fmla="*/ 3 h 13"/>
                    <a:gd name="T14" fmla="*/ 8 w 14"/>
                    <a:gd name="T15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13">
                      <a:moveTo>
                        <a:pt x="8" y="0"/>
                      </a:moveTo>
                      <a:cubicBezTo>
                        <a:pt x="5" y="0"/>
                        <a:pt x="2" y="1"/>
                        <a:pt x="1" y="4"/>
                      </a:cubicBezTo>
                      <a:cubicBezTo>
                        <a:pt x="0" y="6"/>
                        <a:pt x="0" y="8"/>
                        <a:pt x="0" y="9"/>
                      </a:cubicBezTo>
                      <a:cubicBezTo>
                        <a:pt x="1" y="10"/>
                        <a:pt x="1" y="12"/>
                        <a:pt x="3" y="13"/>
                      </a:cubicBezTo>
                      <a:cubicBezTo>
                        <a:pt x="4" y="13"/>
                        <a:pt x="5" y="13"/>
                        <a:pt x="6" y="13"/>
                      </a:cubicBezTo>
                      <a:cubicBezTo>
                        <a:pt x="8" y="13"/>
                        <a:pt x="11" y="12"/>
                        <a:pt x="13" y="10"/>
                      </a:cubicBezTo>
                      <a:cubicBezTo>
                        <a:pt x="14" y="8"/>
                        <a:pt x="14" y="5"/>
                        <a:pt x="13" y="3"/>
                      </a:cubicBezTo>
                      <a:cubicBezTo>
                        <a:pt x="13" y="1"/>
                        <a:pt x="10" y="0"/>
                        <a:pt x="8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6" name="Freeform 27">
                  <a:extLst>
                    <a:ext uri="{FF2B5EF4-FFF2-40B4-BE49-F238E27FC236}">
                      <a16:creationId xmlns:a16="http://schemas.microsoft.com/office/drawing/2014/main" id="{F48DCF16-E4F3-E04D-9715-9DC3C5D8FCD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736114" y="4001312"/>
                  <a:ext cx="4704661" cy="2713993"/>
                </a:xfrm>
                <a:custGeom>
                  <a:avLst/>
                  <a:gdLst>
                    <a:gd name="T0" fmla="*/ 834 w 863"/>
                    <a:gd name="T1" fmla="*/ 311 h 547"/>
                    <a:gd name="T2" fmla="*/ 792 w 863"/>
                    <a:gd name="T3" fmla="*/ 284 h 547"/>
                    <a:gd name="T4" fmla="*/ 774 w 863"/>
                    <a:gd name="T5" fmla="*/ 241 h 547"/>
                    <a:gd name="T6" fmla="*/ 848 w 863"/>
                    <a:gd name="T7" fmla="*/ 263 h 547"/>
                    <a:gd name="T8" fmla="*/ 847 w 863"/>
                    <a:gd name="T9" fmla="*/ 195 h 547"/>
                    <a:gd name="T10" fmla="*/ 790 w 863"/>
                    <a:gd name="T11" fmla="*/ 178 h 547"/>
                    <a:gd name="T12" fmla="*/ 735 w 863"/>
                    <a:gd name="T13" fmla="*/ 169 h 547"/>
                    <a:gd name="T14" fmla="*/ 725 w 863"/>
                    <a:gd name="T15" fmla="*/ 129 h 547"/>
                    <a:gd name="T16" fmla="*/ 689 w 863"/>
                    <a:gd name="T17" fmla="*/ 93 h 547"/>
                    <a:gd name="T18" fmla="*/ 665 w 863"/>
                    <a:gd name="T19" fmla="*/ 87 h 547"/>
                    <a:gd name="T20" fmla="*/ 614 w 863"/>
                    <a:gd name="T21" fmla="*/ 63 h 547"/>
                    <a:gd name="T22" fmla="*/ 550 w 863"/>
                    <a:gd name="T23" fmla="*/ 63 h 547"/>
                    <a:gd name="T24" fmla="*/ 523 w 863"/>
                    <a:gd name="T25" fmla="*/ 14 h 547"/>
                    <a:gd name="T26" fmla="*/ 480 w 863"/>
                    <a:gd name="T27" fmla="*/ 95 h 547"/>
                    <a:gd name="T28" fmla="*/ 467 w 863"/>
                    <a:gd name="T29" fmla="*/ 13 h 547"/>
                    <a:gd name="T30" fmla="*/ 446 w 863"/>
                    <a:gd name="T31" fmla="*/ 151 h 547"/>
                    <a:gd name="T32" fmla="*/ 494 w 863"/>
                    <a:gd name="T33" fmla="*/ 169 h 547"/>
                    <a:gd name="T34" fmla="*/ 483 w 863"/>
                    <a:gd name="T35" fmla="*/ 244 h 547"/>
                    <a:gd name="T36" fmla="*/ 462 w 863"/>
                    <a:gd name="T37" fmla="*/ 226 h 547"/>
                    <a:gd name="T38" fmla="*/ 428 w 863"/>
                    <a:gd name="T39" fmla="*/ 227 h 547"/>
                    <a:gd name="T40" fmla="*/ 397 w 863"/>
                    <a:gd name="T41" fmla="*/ 176 h 547"/>
                    <a:gd name="T42" fmla="*/ 394 w 863"/>
                    <a:gd name="T43" fmla="*/ 112 h 547"/>
                    <a:gd name="T44" fmla="*/ 424 w 863"/>
                    <a:gd name="T45" fmla="*/ 35 h 547"/>
                    <a:gd name="T46" fmla="*/ 364 w 863"/>
                    <a:gd name="T47" fmla="*/ 58 h 547"/>
                    <a:gd name="T48" fmla="*/ 346 w 863"/>
                    <a:gd name="T49" fmla="*/ 121 h 547"/>
                    <a:gd name="T50" fmla="*/ 368 w 863"/>
                    <a:gd name="T51" fmla="*/ 186 h 547"/>
                    <a:gd name="T52" fmla="*/ 376 w 863"/>
                    <a:gd name="T53" fmla="*/ 219 h 547"/>
                    <a:gd name="T54" fmla="*/ 348 w 863"/>
                    <a:gd name="T55" fmla="*/ 269 h 547"/>
                    <a:gd name="T56" fmla="*/ 338 w 863"/>
                    <a:gd name="T57" fmla="*/ 226 h 547"/>
                    <a:gd name="T58" fmla="*/ 315 w 863"/>
                    <a:gd name="T59" fmla="*/ 242 h 547"/>
                    <a:gd name="T60" fmla="*/ 293 w 863"/>
                    <a:gd name="T61" fmla="*/ 239 h 547"/>
                    <a:gd name="T62" fmla="*/ 246 w 863"/>
                    <a:gd name="T63" fmla="*/ 229 h 547"/>
                    <a:gd name="T64" fmla="*/ 205 w 863"/>
                    <a:gd name="T65" fmla="*/ 179 h 547"/>
                    <a:gd name="T66" fmla="*/ 188 w 863"/>
                    <a:gd name="T67" fmla="*/ 204 h 547"/>
                    <a:gd name="T68" fmla="*/ 162 w 863"/>
                    <a:gd name="T69" fmla="*/ 247 h 547"/>
                    <a:gd name="T70" fmla="*/ 132 w 863"/>
                    <a:gd name="T71" fmla="*/ 198 h 547"/>
                    <a:gd name="T72" fmla="*/ 81 w 863"/>
                    <a:gd name="T73" fmla="*/ 180 h 547"/>
                    <a:gd name="T74" fmla="*/ 71 w 863"/>
                    <a:gd name="T75" fmla="*/ 129 h 547"/>
                    <a:gd name="T76" fmla="*/ 339 w 863"/>
                    <a:gd name="T77" fmla="*/ 547 h 547"/>
                    <a:gd name="T78" fmla="*/ 370 w 863"/>
                    <a:gd name="T79" fmla="*/ 480 h 547"/>
                    <a:gd name="T80" fmla="*/ 403 w 863"/>
                    <a:gd name="T81" fmla="*/ 448 h 547"/>
                    <a:gd name="T82" fmla="*/ 466 w 863"/>
                    <a:gd name="T83" fmla="*/ 385 h 547"/>
                    <a:gd name="T84" fmla="*/ 489 w 863"/>
                    <a:gd name="T85" fmla="*/ 308 h 547"/>
                    <a:gd name="T86" fmla="*/ 526 w 863"/>
                    <a:gd name="T87" fmla="*/ 303 h 547"/>
                    <a:gd name="T88" fmla="*/ 552 w 863"/>
                    <a:gd name="T89" fmla="*/ 244 h 547"/>
                    <a:gd name="T90" fmla="*/ 538 w 863"/>
                    <a:gd name="T91" fmla="*/ 185 h 547"/>
                    <a:gd name="T92" fmla="*/ 531 w 863"/>
                    <a:gd name="T93" fmla="*/ 170 h 547"/>
                    <a:gd name="T94" fmla="*/ 595 w 863"/>
                    <a:gd name="T95" fmla="*/ 161 h 547"/>
                    <a:gd name="T96" fmla="*/ 613 w 863"/>
                    <a:gd name="T97" fmla="*/ 200 h 547"/>
                    <a:gd name="T98" fmla="*/ 671 w 863"/>
                    <a:gd name="T99" fmla="*/ 215 h 547"/>
                    <a:gd name="T100" fmla="*/ 675 w 863"/>
                    <a:gd name="T101" fmla="*/ 310 h 547"/>
                    <a:gd name="T102" fmla="*/ 621 w 863"/>
                    <a:gd name="T103" fmla="*/ 342 h 547"/>
                    <a:gd name="T104" fmla="*/ 685 w 863"/>
                    <a:gd name="T105" fmla="*/ 353 h 547"/>
                    <a:gd name="T106" fmla="*/ 728 w 863"/>
                    <a:gd name="T107" fmla="*/ 369 h 547"/>
                    <a:gd name="T108" fmla="*/ 776 w 863"/>
                    <a:gd name="T109" fmla="*/ 396 h 547"/>
                    <a:gd name="T110" fmla="*/ 837 w 863"/>
                    <a:gd name="T111" fmla="*/ 378 h 547"/>
                    <a:gd name="T112" fmla="*/ 825 w 863"/>
                    <a:gd name="T113" fmla="*/ 361 h 547"/>
                    <a:gd name="T114" fmla="*/ 493 w 863"/>
                    <a:gd name="T115" fmla="*/ 121 h 547"/>
                    <a:gd name="T116" fmla="*/ 457 w 863"/>
                    <a:gd name="T117" fmla="*/ 345 h 547"/>
                    <a:gd name="T118" fmla="*/ 573 w 863"/>
                    <a:gd name="T119" fmla="*/ 14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63" h="547">
                      <a:moveTo>
                        <a:pt x="862" y="359"/>
                      </a:moveTo>
                      <a:cubicBezTo>
                        <a:pt x="863" y="356"/>
                        <a:pt x="863" y="352"/>
                        <a:pt x="862" y="349"/>
                      </a:cubicBezTo>
                      <a:cubicBezTo>
                        <a:pt x="860" y="347"/>
                        <a:pt x="859" y="344"/>
                        <a:pt x="856" y="342"/>
                      </a:cubicBezTo>
                      <a:cubicBezTo>
                        <a:pt x="856" y="342"/>
                        <a:pt x="855" y="342"/>
                        <a:pt x="855" y="341"/>
                      </a:cubicBezTo>
                      <a:cubicBezTo>
                        <a:pt x="855" y="341"/>
                        <a:pt x="854" y="341"/>
                        <a:pt x="854" y="340"/>
                      </a:cubicBezTo>
                      <a:cubicBezTo>
                        <a:pt x="854" y="340"/>
                        <a:pt x="855" y="339"/>
                        <a:pt x="856" y="339"/>
                      </a:cubicBezTo>
                      <a:cubicBezTo>
                        <a:pt x="858" y="335"/>
                        <a:pt x="858" y="330"/>
                        <a:pt x="854" y="326"/>
                      </a:cubicBezTo>
                      <a:cubicBezTo>
                        <a:pt x="853" y="324"/>
                        <a:pt x="851" y="324"/>
                        <a:pt x="849" y="323"/>
                      </a:cubicBezTo>
                      <a:cubicBezTo>
                        <a:pt x="848" y="323"/>
                        <a:pt x="847" y="323"/>
                        <a:pt x="847" y="323"/>
                      </a:cubicBezTo>
                      <a:cubicBezTo>
                        <a:pt x="847" y="322"/>
                        <a:pt x="847" y="322"/>
                        <a:pt x="847" y="321"/>
                      </a:cubicBezTo>
                      <a:cubicBezTo>
                        <a:pt x="847" y="320"/>
                        <a:pt x="847" y="318"/>
                        <a:pt x="846" y="316"/>
                      </a:cubicBezTo>
                      <a:cubicBezTo>
                        <a:pt x="845" y="315"/>
                        <a:pt x="842" y="315"/>
                        <a:pt x="841" y="315"/>
                      </a:cubicBezTo>
                      <a:cubicBezTo>
                        <a:pt x="841" y="315"/>
                        <a:pt x="841" y="315"/>
                        <a:pt x="841" y="315"/>
                      </a:cubicBezTo>
                      <a:cubicBezTo>
                        <a:pt x="840" y="315"/>
                        <a:pt x="839" y="315"/>
                        <a:pt x="839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7" y="315"/>
                        <a:pt x="837" y="314"/>
                        <a:pt x="837" y="313"/>
                      </a:cubicBezTo>
                      <a:cubicBezTo>
                        <a:pt x="836" y="313"/>
                        <a:pt x="835" y="312"/>
                        <a:pt x="834" y="311"/>
                      </a:cubicBezTo>
                      <a:cubicBezTo>
                        <a:pt x="834" y="310"/>
                        <a:pt x="833" y="310"/>
                        <a:pt x="833" y="310"/>
                      </a:cubicBezTo>
                      <a:cubicBezTo>
                        <a:pt x="833" y="310"/>
                        <a:pt x="833" y="310"/>
                        <a:pt x="833" y="310"/>
                      </a:cubicBezTo>
                      <a:cubicBezTo>
                        <a:pt x="833" y="309"/>
                        <a:pt x="834" y="307"/>
                        <a:pt x="834" y="306"/>
                      </a:cubicBezTo>
                      <a:cubicBezTo>
                        <a:pt x="836" y="303"/>
                        <a:pt x="836" y="303"/>
                        <a:pt x="836" y="303"/>
                      </a:cubicBezTo>
                      <a:cubicBezTo>
                        <a:pt x="833" y="302"/>
                        <a:pt x="833" y="302"/>
                        <a:pt x="833" y="302"/>
                      </a:cubicBezTo>
                      <a:cubicBezTo>
                        <a:pt x="831" y="301"/>
                        <a:pt x="830" y="301"/>
                        <a:pt x="829" y="301"/>
                      </a:cubicBezTo>
                      <a:cubicBezTo>
                        <a:pt x="828" y="301"/>
                        <a:pt x="826" y="301"/>
                        <a:pt x="826" y="301"/>
                      </a:cubicBezTo>
                      <a:cubicBezTo>
                        <a:pt x="825" y="301"/>
                        <a:pt x="824" y="301"/>
                        <a:pt x="824" y="301"/>
                      </a:cubicBezTo>
                      <a:cubicBezTo>
                        <a:pt x="824" y="300"/>
                        <a:pt x="824" y="299"/>
                        <a:pt x="824" y="299"/>
                      </a:cubicBezTo>
                      <a:cubicBezTo>
                        <a:pt x="824" y="297"/>
                        <a:pt x="823" y="292"/>
                        <a:pt x="817" y="292"/>
                      </a:cubicBezTo>
                      <a:cubicBezTo>
                        <a:pt x="815" y="292"/>
                        <a:pt x="813" y="293"/>
                        <a:pt x="812" y="294"/>
                      </a:cubicBezTo>
                      <a:cubicBezTo>
                        <a:pt x="811" y="294"/>
                        <a:pt x="810" y="295"/>
                        <a:pt x="810" y="295"/>
                      </a:cubicBezTo>
                      <a:cubicBezTo>
                        <a:pt x="810" y="295"/>
                        <a:pt x="809" y="294"/>
                        <a:pt x="808" y="293"/>
                      </a:cubicBezTo>
                      <a:cubicBezTo>
                        <a:pt x="807" y="292"/>
                        <a:pt x="807" y="291"/>
                        <a:pt x="806" y="290"/>
                      </a:cubicBezTo>
                      <a:cubicBezTo>
                        <a:pt x="804" y="289"/>
                        <a:pt x="801" y="289"/>
                        <a:pt x="800" y="289"/>
                      </a:cubicBezTo>
                      <a:cubicBezTo>
                        <a:pt x="798" y="289"/>
                        <a:pt x="798" y="289"/>
                        <a:pt x="798" y="289"/>
                      </a:cubicBezTo>
                      <a:cubicBezTo>
                        <a:pt x="797" y="289"/>
                        <a:pt x="796" y="289"/>
                        <a:pt x="796" y="289"/>
                      </a:cubicBezTo>
                      <a:cubicBezTo>
                        <a:pt x="794" y="288"/>
                        <a:pt x="793" y="287"/>
                        <a:pt x="792" y="284"/>
                      </a:cubicBezTo>
                      <a:cubicBezTo>
                        <a:pt x="791" y="281"/>
                        <a:pt x="790" y="278"/>
                        <a:pt x="787" y="276"/>
                      </a:cubicBezTo>
                      <a:cubicBezTo>
                        <a:pt x="786" y="276"/>
                        <a:pt x="786" y="276"/>
                        <a:pt x="785" y="276"/>
                      </a:cubicBezTo>
                      <a:cubicBezTo>
                        <a:pt x="785" y="275"/>
                        <a:pt x="785" y="274"/>
                        <a:pt x="785" y="274"/>
                      </a:cubicBezTo>
                      <a:cubicBezTo>
                        <a:pt x="784" y="273"/>
                        <a:pt x="783" y="270"/>
                        <a:pt x="779" y="270"/>
                      </a:cubicBezTo>
                      <a:cubicBezTo>
                        <a:pt x="779" y="270"/>
                        <a:pt x="778" y="270"/>
                        <a:pt x="777" y="270"/>
                      </a:cubicBezTo>
                      <a:cubicBezTo>
                        <a:pt x="776" y="271"/>
                        <a:pt x="775" y="271"/>
                        <a:pt x="775" y="272"/>
                      </a:cubicBezTo>
                      <a:cubicBezTo>
                        <a:pt x="775" y="272"/>
                        <a:pt x="775" y="272"/>
                        <a:pt x="775" y="271"/>
                      </a:cubicBezTo>
                      <a:cubicBezTo>
                        <a:pt x="774" y="270"/>
                        <a:pt x="772" y="270"/>
                        <a:pt x="771" y="268"/>
                      </a:cubicBezTo>
                      <a:cubicBezTo>
                        <a:pt x="771" y="268"/>
                        <a:pt x="771" y="268"/>
                        <a:pt x="770" y="268"/>
                      </a:cubicBezTo>
                      <a:cubicBezTo>
                        <a:pt x="771" y="268"/>
                        <a:pt x="772" y="268"/>
                        <a:pt x="772" y="268"/>
                      </a:cubicBezTo>
                      <a:cubicBezTo>
                        <a:pt x="773" y="268"/>
                        <a:pt x="774" y="268"/>
                        <a:pt x="775" y="268"/>
                      </a:cubicBezTo>
                      <a:cubicBezTo>
                        <a:pt x="777" y="267"/>
                        <a:pt x="779" y="266"/>
                        <a:pt x="780" y="263"/>
                      </a:cubicBezTo>
                      <a:cubicBezTo>
                        <a:pt x="781" y="261"/>
                        <a:pt x="780" y="258"/>
                        <a:pt x="779" y="256"/>
                      </a:cubicBezTo>
                      <a:cubicBezTo>
                        <a:pt x="777" y="253"/>
                        <a:pt x="774" y="252"/>
                        <a:pt x="771" y="251"/>
                      </a:cubicBezTo>
                      <a:cubicBezTo>
                        <a:pt x="768" y="250"/>
                        <a:pt x="766" y="249"/>
                        <a:pt x="765" y="247"/>
                      </a:cubicBezTo>
                      <a:cubicBezTo>
                        <a:pt x="765" y="246"/>
                        <a:pt x="765" y="246"/>
                        <a:pt x="765" y="246"/>
                      </a:cubicBezTo>
                      <a:cubicBezTo>
                        <a:pt x="765" y="244"/>
                        <a:pt x="768" y="243"/>
                        <a:pt x="770" y="243"/>
                      </a:cubicBezTo>
                      <a:cubicBezTo>
                        <a:pt x="772" y="242"/>
                        <a:pt x="773" y="242"/>
                        <a:pt x="774" y="241"/>
                      </a:cubicBezTo>
                      <a:cubicBezTo>
                        <a:pt x="776" y="240"/>
                        <a:pt x="776" y="240"/>
                        <a:pt x="776" y="240"/>
                      </a:cubicBezTo>
                      <a:cubicBezTo>
                        <a:pt x="776" y="240"/>
                        <a:pt x="777" y="240"/>
                        <a:pt x="777" y="239"/>
                      </a:cubicBezTo>
                      <a:cubicBezTo>
                        <a:pt x="777" y="239"/>
                        <a:pt x="777" y="240"/>
                        <a:pt x="779" y="240"/>
                      </a:cubicBezTo>
                      <a:cubicBezTo>
                        <a:pt x="779" y="241"/>
                        <a:pt x="779" y="241"/>
                        <a:pt x="779" y="241"/>
                      </a:cubicBezTo>
                      <a:cubicBezTo>
                        <a:pt x="782" y="243"/>
                        <a:pt x="784" y="245"/>
                        <a:pt x="788" y="247"/>
                      </a:cubicBezTo>
                      <a:cubicBezTo>
                        <a:pt x="789" y="248"/>
                        <a:pt x="789" y="248"/>
                        <a:pt x="790" y="248"/>
                      </a:cubicBezTo>
                      <a:cubicBezTo>
                        <a:pt x="792" y="249"/>
                        <a:pt x="793" y="249"/>
                        <a:pt x="794" y="251"/>
                      </a:cubicBezTo>
                      <a:cubicBezTo>
                        <a:pt x="795" y="251"/>
                        <a:pt x="795" y="251"/>
                        <a:pt x="795" y="251"/>
                      </a:cubicBezTo>
                      <a:cubicBezTo>
                        <a:pt x="797" y="253"/>
                        <a:pt x="799" y="256"/>
                        <a:pt x="802" y="256"/>
                      </a:cubicBezTo>
                      <a:cubicBezTo>
                        <a:pt x="803" y="256"/>
                        <a:pt x="804" y="256"/>
                        <a:pt x="805" y="255"/>
                      </a:cubicBezTo>
                      <a:cubicBezTo>
                        <a:pt x="805" y="258"/>
                        <a:pt x="805" y="261"/>
                        <a:pt x="807" y="262"/>
                      </a:cubicBezTo>
                      <a:cubicBezTo>
                        <a:pt x="809" y="264"/>
                        <a:pt x="812" y="265"/>
                        <a:pt x="814" y="266"/>
                      </a:cubicBezTo>
                      <a:cubicBezTo>
                        <a:pt x="815" y="266"/>
                        <a:pt x="816" y="266"/>
                        <a:pt x="816" y="266"/>
                      </a:cubicBezTo>
                      <a:cubicBezTo>
                        <a:pt x="818" y="267"/>
                        <a:pt x="820" y="268"/>
                        <a:pt x="822" y="270"/>
                      </a:cubicBezTo>
                      <a:cubicBezTo>
                        <a:pt x="826" y="275"/>
                        <a:pt x="830" y="278"/>
                        <a:pt x="838" y="278"/>
                      </a:cubicBezTo>
                      <a:cubicBezTo>
                        <a:pt x="843" y="278"/>
                        <a:pt x="847" y="277"/>
                        <a:pt x="849" y="274"/>
                      </a:cubicBezTo>
                      <a:cubicBezTo>
                        <a:pt x="850" y="272"/>
                        <a:pt x="851" y="270"/>
                        <a:pt x="849" y="266"/>
                      </a:cubicBezTo>
                      <a:cubicBezTo>
                        <a:pt x="848" y="263"/>
                        <a:pt x="848" y="263"/>
                        <a:pt x="848" y="263"/>
                      </a:cubicBezTo>
                      <a:cubicBezTo>
                        <a:pt x="847" y="260"/>
                        <a:pt x="845" y="255"/>
                        <a:pt x="843" y="252"/>
                      </a:cubicBezTo>
                      <a:cubicBezTo>
                        <a:pt x="844" y="252"/>
                        <a:pt x="844" y="252"/>
                        <a:pt x="845" y="252"/>
                      </a:cubicBezTo>
                      <a:cubicBezTo>
                        <a:pt x="846" y="252"/>
                        <a:pt x="846" y="252"/>
                        <a:pt x="847" y="251"/>
                      </a:cubicBezTo>
                      <a:cubicBezTo>
                        <a:pt x="850" y="250"/>
                        <a:pt x="851" y="247"/>
                        <a:pt x="852" y="245"/>
                      </a:cubicBezTo>
                      <a:cubicBezTo>
                        <a:pt x="852" y="244"/>
                        <a:pt x="852" y="243"/>
                        <a:pt x="853" y="242"/>
                      </a:cubicBezTo>
                      <a:cubicBezTo>
                        <a:pt x="855" y="239"/>
                        <a:pt x="855" y="237"/>
                        <a:pt x="853" y="234"/>
                      </a:cubicBezTo>
                      <a:cubicBezTo>
                        <a:pt x="853" y="234"/>
                        <a:pt x="852" y="234"/>
                        <a:pt x="852" y="233"/>
                      </a:cubicBezTo>
                      <a:cubicBezTo>
                        <a:pt x="852" y="233"/>
                        <a:pt x="853" y="232"/>
                        <a:pt x="853" y="231"/>
                      </a:cubicBezTo>
                      <a:cubicBezTo>
                        <a:pt x="854" y="230"/>
                        <a:pt x="855" y="229"/>
                        <a:pt x="854" y="227"/>
                      </a:cubicBezTo>
                      <a:cubicBezTo>
                        <a:pt x="853" y="225"/>
                        <a:pt x="851" y="224"/>
                        <a:pt x="850" y="223"/>
                      </a:cubicBezTo>
                      <a:cubicBezTo>
                        <a:pt x="849" y="223"/>
                        <a:pt x="849" y="223"/>
                        <a:pt x="849" y="223"/>
                      </a:cubicBezTo>
                      <a:cubicBezTo>
                        <a:pt x="848" y="222"/>
                        <a:pt x="848" y="222"/>
                        <a:pt x="847" y="221"/>
                      </a:cubicBezTo>
                      <a:cubicBezTo>
                        <a:pt x="851" y="221"/>
                        <a:pt x="853" y="219"/>
                        <a:pt x="854" y="218"/>
                      </a:cubicBezTo>
                      <a:cubicBezTo>
                        <a:pt x="855" y="215"/>
                        <a:pt x="855" y="213"/>
                        <a:pt x="854" y="211"/>
                      </a:cubicBezTo>
                      <a:cubicBezTo>
                        <a:pt x="854" y="210"/>
                        <a:pt x="854" y="209"/>
                        <a:pt x="854" y="209"/>
                      </a:cubicBezTo>
                      <a:cubicBezTo>
                        <a:pt x="854" y="208"/>
                        <a:pt x="855" y="208"/>
                        <a:pt x="855" y="207"/>
                      </a:cubicBezTo>
                      <a:cubicBezTo>
                        <a:pt x="856" y="205"/>
                        <a:pt x="858" y="200"/>
                        <a:pt x="852" y="197"/>
                      </a:cubicBezTo>
                      <a:cubicBezTo>
                        <a:pt x="850" y="196"/>
                        <a:pt x="848" y="196"/>
                        <a:pt x="847" y="195"/>
                      </a:cubicBezTo>
                      <a:cubicBezTo>
                        <a:pt x="845" y="195"/>
                        <a:pt x="844" y="195"/>
                        <a:pt x="843" y="194"/>
                      </a:cubicBezTo>
                      <a:cubicBezTo>
                        <a:pt x="842" y="194"/>
                        <a:pt x="842" y="194"/>
                        <a:pt x="842" y="194"/>
                      </a:cubicBezTo>
                      <a:cubicBezTo>
                        <a:pt x="840" y="193"/>
                        <a:pt x="839" y="192"/>
                        <a:pt x="837" y="192"/>
                      </a:cubicBezTo>
                      <a:cubicBezTo>
                        <a:pt x="835" y="192"/>
                        <a:pt x="833" y="193"/>
                        <a:pt x="831" y="195"/>
                      </a:cubicBezTo>
                      <a:cubicBezTo>
                        <a:pt x="830" y="196"/>
                        <a:pt x="829" y="197"/>
                        <a:pt x="829" y="198"/>
                      </a:cubicBezTo>
                      <a:cubicBezTo>
                        <a:pt x="827" y="199"/>
                        <a:pt x="826" y="201"/>
                        <a:pt x="825" y="201"/>
                      </a:cubicBezTo>
                      <a:cubicBezTo>
                        <a:pt x="825" y="200"/>
                        <a:pt x="825" y="200"/>
                        <a:pt x="825" y="199"/>
                      </a:cubicBezTo>
                      <a:cubicBezTo>
                        <a:pt x="825" y="196"/>
                        <a:pt x="825" y="193"/>
                        <a:pt x="823" y="191"/>
                      </a:cubicBezTo>
                      <a:cubicBezTo>
                        <a:pt x="822" y="190"/>
                        <a:pt x="821" y="189"/>
                        <a:pt x="819" y="189"/>
                      </a:cubicBezTo>
                      <a:cubicBezTo>
                        <a:pt x="819" y="189"/>
                        <a:pt x="818" y="189"/>
                        <a:pt x="818" y="190"/>
                      </a:cubicBezTo>
                      <a:cubicBezTo>
                        <a:pt x="816" y="190"/>
                        <a:pt x="814" y="191"/>
                        <a:pt x="812" y="193"/>
                      </a:cubicBezTo>
                      <a:cubicBezTo>
                        <a:pt x="811" y="193"/>
                        <a:pt x="810" y="194"/>
                        <a:pt x="810" y="194"/>
                      </a:cubicBezTo>
                      <a:cubicBezTo>
                        <a:pt x="810" y="194"/>
                        <a:pt x="810" y="194"/>
                        <a:pt x="810" y="194"/>
                      </a:cubicBezTo>
                      <a:cubicBezTo>
                        <a:pt x="809" y="194"/>
                        <a:pt x="808" y="193"/>
                        <a:pt x="807" y="191"/>
                      </a:cubicBezTo>
                      <a:cubicBezTo>
                        <a:pt x="806" y="191"/>
                        <a:pt x="806" y="190"/>
                        <a:pt x="805" y="189"/>
                      </a:cubicBezTo>
                      <a:cubicBezTo>
                        <a:pt x="802" y="186"/>
                        <a:pt x="799" y="183"/>
                        <a:pt x="796" y="181"/>
                      </a:cubicBezTo>
                      <a:cubicBezTo>
                        <a:pt x="796" y="181"/>
                        <a:pt x="796" y="181"/>
                        <a:pt x="796" y="181"/>
                      </a:cubicBezTo>
                      <a:cubicBezTo>
                        <a:pt x="795" y="180"/>
                        <a:pt x="793" y="178"/>
                        <a:pt x="790" y="178"/>
                      </a:cubicBezTo>
                      <a:cubicBezTo>
                        <a:pt x="790" y="178"/>
                        <a:pt x="789" y="178"/>
                        <a:pt x="789" y="178"/>
                      </a:cubicBezTo>
                      <a:cubicBezTo>
                        <a:pt x="788" y="179"/>
                        <a:pt x="787" y="179"/>
                        <a:pt x="786" y="180"/>
                      </a:cubicBezTo>
                      <a:cubicBezTo>
                        <a:pt x="785" y="177"/>
                        <a:pt x="785" y="175"/>
                        <a:pt x="783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0" y="174"/>
                        <a:pt x="778" y="176"/>
                        <a:pt x="776" y="177"/>
                      </a:cubicBezTo>
                      <a:cubicBezTo>
                        <a:pt x="776" y="178"/>
                        <a:pt x="775" y="179"/>
                        <a:pt x="774" y="179"/>
                      </a:cubicBezTo>
                      <a:cubicBezTo>
                        <a:pt x="774" y="179"/>
                        <a:pt x="774" y="179"/>
                        <a:pt x="774" y="179"/>
                      </a:cubicBezTo>
                      <a:cubicBezTo>
                        <a:pt x="773" y="179"/>
                        <a:pt x="773" y="179"/>
                        <a:pt x="772" y="179"/>
                      </a:cubicBezTo>
                      <a:cubicBezTo>
                        <a:pt x="772" y="179"/>
                        <a:pt x="771" y="179"/>
                        <a:pt x="771" y="179"/>
                      </a:cubicBezTo>
                      <a:cubicBezTo>
                        <a:pt x="770" y="179"/>
                        <a:pt x="769" y="180"/>
                        <a:pt x="768" y="180"/>
                      </a:cubicBezTo>
                      <a:cubicBezTo>
                        <a:pt x="767" y="180"/>
                        <a:pt x="767" y="180"/>
                        <a:pt x="766" y="181"/>
                      </a:cubicBezTo>
                      <a:cubicBezTo>
                        <a:pt x="766" y="181"/>
                        <a:pt x="765" y="181"/>
                        <a:pt x="765" y="181"/>
                      </a:cubicBezTo>
                      <a:cubicBezTo>
                        <a:pt x="764" y="181"/>
                        <a:pt x="763" y="181"/>
                        <a:pt x="762" y="180"/>
                      </a:cubicBezTo>
                      <a:cubicBezTo>
                        <a:pt x="762" y="180"/>
                        <a:pt x="761" y="180"/>
                        <a:pt x="760" y="179"/>
                      </a:cubicBezTo>
                      <a:cubicBezTo>
                        <a:pt x="755" y="178"/>
                        <a:pt x="751" y="176"/>
                        <a:pt x="747" y="173"/>
                      </a:cubicBezTo>
                      <a:cubicBezTo>
                        <a:pt x="746" y="173"/>
                        <a:pt x="746" y="173"/>
                        <a:pt x="746" y="173"/>
                      </a:cubicBezTo>
                      <a:cubicBezTo>
                        <a:pt x="742" y="171"/>
                        <a:pt x="738" y="170"/>
                        <a:pt x="735" y="169"/>
                      </a:cubicBezTo>
                      <a:cubicBezTo>
                        <a:pt x="733" y="169"/>
                        <a:pt x="731" y="168"/>
                        <a:pt x="729" y="168"/>
                      </a:cubicBezTo>
                      <a:cubicBezTo>
                        <a:pt x="727" y="167"/>
                        <a:pt x="726" y="165"/>
                        <a:pt x="727" y="163"/>
                      </a:cubicBezTo>
                      <a:cubicBezTo>
                        <a:pt x="727" y="163"/>
                        <a:pt x="728" y="161"/>
                        <a:pt x="728" y="161"/>
                      </a:cubicBezTo>
                      <a:cubicBezTo>
                        <a:pt x="730" y="159"/>
                        <a:pt x="733" y="156"/>
                        <a:pt x="731" y="152"/>
                      </a:cubicBezTo>
                      <a:cubicBezTo>
                        <a:pt x="731" y="151"/>
                        <a:pt x="730" y="151"/>
                        <a:pt x="730" y="150"/>
                      </a:cubicBezTo>
                      <a:cubicBezTo>
                        <a:pt x="731" y="150"/>
                        <a:pt x="733" y="149"/>
                        <a:pt x="734" y="149"/>
                      </a:cubicBezTo>
                      <a:cubicBezTo>
                        <a:pt x="736" y="149"/>
                        <a:pt x="737" y="149"/>
                        <a:pt x="738" y="148"/>
                      </a:cubicBezTo>
                      <a:cubicBezTo>
                        <a:pt x="742" y="147"/>
                        <a:pt x="745" y="143"/>
                        <a:pt x="745" y="140"/>
                      </a:cubicBezTo>
                      <a:cubicBezTo>
                        <a:pt x="745" y="137"/>
                        <a:pt x="743" y="134"/>
                        <a:pt x="740" y="132"/>
                      </a:cubicBezTo>
                      <a:cubicBezTo>
                        <a:pt x="738" y="131"/>
                        <a:pt x="737" y="131"/>
                        <a:pt x="735" y="131"/>
                      </a:cubicBezTo>
                      <a:cubicBezTo>
                        <a:pt x="732" y="131"/>
                        <a:pt x="730" y="132"/>
                        <a:pt x="727" y="133"/>
                      </a:cubicBezTo>
                      <a:cubicBezTo>
                        <a:pt x="725" y="134"/>
                        <a:pt x="724" y="135"/>
                        <a:pt x="722" y="135"/>
                      </a:cubicBezTo>
                      <a:cubicBezTo>
                        <a:pt x="721" y="135"/>
                        <a:pt x="720" y="135"/>
                        <a:pt x="719" y="135"/>
                      </a:cubicBezTo>
                      <a:cubicBezTo>
                        <a:pt x="718" y="135"/>
                        <a:pt x="718" y="135"/>
                        <a:pt x="717" y="135"/>
                      </a:cubicBezTo>
                      <a:cubicBezTo>
                        <a:pt x="717" y="135"/>
                        <a:pt x="717" y="135"/>
                        <a:pt x="717" y="135"/>
                      </a:cubicBezTo>
                      <a:cubicBezTo>
                        <a:pt x="717" y="135"/>
                        <a:pt x="717" y="135"/>
                        <a:pt x="718" y="134"/>
                      </a:cubicBezTo>
                      <a:cubicBezTo>
                        <a:pt x="718" y="132"/>
                        <a:pt x="721" y="129"/>
                        <a:pt x="724" y="129"/>
                      </a:cubicBezTo>
                      <a:cubicBezTo>
                        <a:pt x="724" y="129"/>
                        <a:pt x="725" y="129"/>
                        <a:pt x="725" y="129"/>
                      </a:cubicBezTo>
                      <a:cubicBezTo>
                        <a:pt x="727" y="129"/>
                        <a:pt x="732" y="129"/>
                        <a:pt x="733" y="125"/>
                      </a:cubicBezTo>
                      <a:cubicBezTo>
                        <a:pt x="734" y="121"/>
                        <a:pt x="732" y="117"/>
                        <a:pt x="727" y="112"/>
                      </a:cubicBezTo>
                      <a:cubicBezTo>
                        <a:pt x="725" y="111"/>
                        <a:pt x="717" y="106"/>
                        <a:pt x="712" y="106"/>
                      </a:cubicBezTo>
                      <a:cubicBezTo>
                        <a:pt x="708" y="106"/>
                        <a:pt x="706" y="108"/>
                        <a:pt x="706" y="113"/>
                      </a:cubicBezTo>
                      <a:cubicBezTo>
                        <a:pt x="706" y="113"/>
                        <a:pt x="706" y="114"/>
                        <a:pt x="706" y="115"/>
                      </a:cubicBezTo>
                      <a:cubicBezTo>
                        <a:pt x="706" y="115"/>
                        <a:pt x="705" y="114"/>
                        <a:pt x="705" y="114"/>
                      </a:cubicBezTo>
                      <a:cubicBezTo>
                        <a:pt x="704" y="113"/>
                        <a:pt x="704" y="112"/>
                        <a:pt x="703" y="112"/>
                      </a:cubicBezTo>
                      <a:cubicBezTo>
                        <a:pt x="703" y="111"/>
                        <a:pt x="704" y="109"/>
                        <a:pt x="705" y="109"/>
                      </a:cubicBezTo>
                      <a:cubicBezTo>
                        <a:pt x="705" y="108"/>
                        <a:pt x="706" y="108"/>
                        <a:pt x="706" y="107"/>
                      </a:cubicBezTo>
                      <a:cubicBezTo>
                        <a:pt x="706" y="107"/>
                        <a:pt x="706" y="107"/>
                        <a:pt x="706" y="107"/>
                      </a:cubicBezTo>
                      <a:cubicBezTo>
                        <a:pt x="707" y="105"/>
                        <a:pt x="710" y="101"/>
                        <a:pt x="707" y="97"/>
                      </a:cubicBezTo>
                      <a:cubicBezTo>
                        <a:pt x="705" y="95"/>
                        <a:pt x="702" y="95"/>
                        <a:pt x="701" y="95"/>
                      </a:cubicBezTo>
                      <a:cubicBezTo>
                        <a:pt x="701" y="95"/>
                        <a:pt x="700" y="95"/>
                        <a:pt x="699" y="95"/>
                      </a:cubicBezTo>
                      <a:cubicBezTo>
                        <a:pt x="699" y="95"/>
                        <a:pt x="698" y="95"/>
                        <a:pt x="698" y="95"/>
                      </a:cubicBezTo>
                      <a:cubicBezTo>
                        <a:pt x="697" y="95"/>
                        <a:pt x="697" y="95"/>
                        <a:pt x="697" y="95"/>
                      </a:cubicBezTo>
                      <a:cubicBezTo>
                        <a:pt x="697" y="95"/>
                        <a:pt x="696" y="94"/>
                        <a:pt x="695" y="94"/>
                      </a:cubicBezTo>
                      <a:cubicBezTo>
                        <a:pt x="694" y="93"/>
                        <a:pt x="693" y="92"/>
                        <a:pt x="691" y="92"/>
                      </a:cubicBezTo>
                      <a:cubicBezTo>
                        <a:pt x="690" y="92"/>
                        <a:pt x="690" y="92"/>
                        <a:pt x="689" y="93"/>
                      </a:cubicBezTo>
                      <a:cubicBezTo>
                        <a:pt x="689" y="93"/>
                        <a:pt x="688" y="93"/>
                        <a:pt x="687" y="94"/>
                      </a:cubicBezTo>
                      <a:cubicBezTo>
                        <a:pt x="687" y="93"/>
                        <a:pt x="687" y="93"/>
                        <a:pt x="687" y="93"/>
                      </a:cubicBezTo>
                      <a:cubicBezTo>
                        <a:pt x="685" y="93"/>
                        <a:pt x="685" y="93"/>
                        <a:pt x="685" y="93"/>
                      </a:cubicBezTo>
                      <a:cubicBezTo>
                        <a:pt x="683" y="93"/>
                        <a:pt x="681" y="94"/>
                        <a:pt x="679" y="95"/>
                      </a:cubicBezTo>
                      <a:cubicBezTo>
                        <a:pt x="679" y="95"/>
                        <a:pt x="679" y="95"/>
                        <a:pt x="679" y="95"/>
                      </a:cubicBezTo>
                      <a:cubicBezTo>
                        <a:pt x="678" y="96"/>
                        <a:pt x="677" y="97"/>
                        <a:pt x="676" y="97"/>
                      </a:cubicBezTo>
                      <a:cubicBezTo>
                        <a:pt x="676" y="98"/>
                        <a:pt x="675" y="98"/>
                        <a:pt x="675" y="99"/>
                      </a:cubicBezTo>
                      <a:cubicBezTo>
                        <a:pt x="675" y="99"/>
                        <a:pt x="675" y="98"/>
                        <a:pt x="675" y="98"/>
                      </a:cubicBezTo>
                      <a:cubicBezTo>
                        <a:pt x="675" y="96"/>
                        <a:pt x="675" y="90"/>
                        <a:pt x="670" y="88"/>
                      </a:cubicBezTo>
                      <a:cubicBezTo>
                        <a:pt x="670" y="88"/>
                        <a:pt x="669" y="88"/>
                        <a:pt x="668" y="88"/>
                      </a:cubicBezTo>
                      <a:cubicBezTo>
                        <a:pt x="664" y="88"/>
                        <a:pt x="663" y="92"/>
                        <a:pt x="661" y="95"/>
                      </a:cubicBezTo>
                      <a:cubicBezTo>
                        <a:pt x="661" y="96"/>
                        <a:pt x="661" y="97"/>
                        <a:pt x="661" y="97"/>
                      </a:cubicBezTo>
                      <a:cubicBezTo>
                        <a:pt x="660" y="98"/>
                        <a:pt x="660" y="99"/>
                        <a:pt x="659" y="99"/>
                      </a:cubicBezTo>
                      <a:cubicBezTo>
                        <a:pt x="658" y="101"/>
                        <a:pt x="656" y="104"/>
                        <a:pt x="655" y="104"/>
                      </a:cubicBezTo>
                      <a:cubicBezTo>
                        <a:pt x="654" y="104"/>
                        <a:pt x="654" y="104"/>
                        <a:pt x="654" y="104"/>
                      </a:cubicBezTo>
                      <a:cubicBezTo>
                        <a:pt x="654" y="104"/>
                        <a:pt x="653" y="103"/>
                        <a:pt x="654" y="101"/>
                      </a:cubicBezTo>
                      <a:cubicBezTo>
                        <a:pt x="655" y="98"/>
                        <a:pt x="656" y="97"/>
                        <a:pt x="656" y="96"/>
                      </a:cubicBezTo>
                      <a:cubicBezTo>
                        <a:pt x="659" y="95"/>
                        <a:pt x="663" y="92"/>
                        <a:pt x="665" y="87"/>
                      </a:cubicBezTo>
                      <a:cubicBezTo>
                        <a:pt x="666" y="85"/>
                        <a:pt x="665" y="83"/>
                        <a:pt x="664" y="82"/>
                      </a:cubicBezTo>
                      <a:cubicBezTo>
                        <a:pt x="663" y="80"/>
                        <a:pt x="661" y="79"/>
                        <a:pt x="659" y="78"/>
                      </a:cubicBezTo>
                      <a:cubicBezTo>
                        <a:pt x="659" y="78"/>
                        <a:pt x="658" y="78"/>
                        <a:pt x="658" y="78"/>
                      </a:cubicBezTo>
                      <a:cubicBezTo>
                        <a:pt x="657" y="78"/>
                        <a:pt x="657" y="77"/>
                        <a:pt x="656" y="77"/>
                      </a:cubicBezTo>
                      <a:cubicBezTo>
                        <a:pt x="654" y="76"/>
                        <a:pt x="651" y="74"/>
                        <a:pt x="648" y="74"/>
                      </a:cubicBezTo>
                      <a:cubicBezTo>
                        <a:pt x="647" y="73"/>
                        <a:pt x="646" y="73"/>
                        <a:pt x="645" y="73"/>
                      </a:cubicBezTo>
                      <a:cubicBezTo>
                        <a:pt x="642" y="73"/>
                        <a:pt x="640" y="74"/>
                        <a:pt x="638" y="76"/>
                      </a:cubicBezTo>
                      <a:cubicBezTo>
                        <a:pt x="637" y="78"/>
                        <a:pt x="637" y="80"/>
                        <a:pt x="637" y="82"/>
                      </a:cubicBezTo>
                      <a:cubicBezTo>
                        <a:pt x="637" y="83"/>
                        <a:pt x="637" y="84"/>
                        <a:pt x="637" y="85"/>
                      </a:cubicBezTo>
                      <a:cubicBezTo>
                        <a:pt x="637" y="86"/>
                        <a:pt x="636" y="87"/>
                        <a:pt x="636" y="87"/>
                      </a:cubicBezTo>
                      <a:cubicBezTo>
                        <a:pt x="636" y="87"/>
                        <a:pt x="636" y="86"/>
                        <a:pt x="635" y="86"/>
                      </a:cubicBezTo>
                      <a:cubicBezTo>
                        <a:pt x="634" y="82"/>
                        <a:pt x="632" y="77"/>
                        <a:pt x="627" y="76"/>
                      </a:cubicBezTo>
                      <a:cubicBezTo>
                        <a:pt x="626" y="76"/>
                        <a:pt x="626" y="76"/>
                        <a:pt x="625" y="76"/>
                      </a:cubicBezTo>
                      <a:cubicBezTo>
                        <a:pt x="623" y="76"/>
                        <a:pt x="621" y="77"/>
                        <a:pt x="619" y="78"/>
                      </a:cubicBezTo>
                      <a:cubicBezTo>
                        <a:pt x="619" y="78"/>
                        <a:pt x="618" y="79"/>
                        <a:pt x="617" y="79"/>
                      </a:cubicBezTo>
                      <a:cubicBezTo>
                        <a:pt x="618" y="79"/>
                        <a:pt x="618" y="78"/>
                        <a:pt x="618" y="77"/>
                      </a:cubicBezTo>
                      <a:cubicBezTo>
                        <a:pt x="620" y="75"/>
                        <a:pt x="622" y="72"/>
                        <a:pt x="621" y="70"/>
                      </a:cubicBezTo>
                      <a:cubicBezTo>
                        <a:pt x="621" y="64"/>
                        <a:pt x="616" y="63"/>
                        <a:pt x="614" y="63"/>
                      </a:cubicBezTo>
                      <a:cubicBezTo>
                        <a:pt x="611" y="63"/>
                        <a:pt x="610" y="62"/>
                        <a:pt x="609" y="61"/>
                      </a:cubicBezTo>
                      <a:cubicBezTo>
                        <a:pt x="609" y="60"/>
                        <a:pt x="608" y="59"/>
                        <a:pt x="608" y="58"/>
                      </a:cubicBezTo>
                      <a:cubicBezTo>
                        <a:pt x="608" y="56"/>
                        <a:pt x="607" y="55"/>
                        <a:pt x="607" y="54"/>
                      </a:cubicBezTo>
                      <a:cubicBezTo>
                        <a:pt x="605" y="50"/>
                        <a:pt x="600" y="47"/>
                        <a:pt x="596" y="46"/>
                      </a:cubicBezTo>
                      <a:cubicBezTo>
                        <a:pt x="596" y="46"/>
                        <a:pt x="595" y="46"/>
                        <a:pt x="595" y="46"/>
                      </a:cubicBezTo>
                      <a:cubicBezTo>
                        <a:pt x="594" y="46"/>
                        <a:pt x="593" y="46"/>
                        <a:pt x="593" y="47"/>
                      </a:cubicBezTo>
                      <a:cubicBezTo>
                        <a:pt x="592" y="47"/>
                        <a:pt x="591" y="47"/>
                        <a:pt x="591" y="47"/>
                      </a:cubicBezTo>
                      <a:cubicBezTo>
                        <a:pt x="590" y="47"/>
                        <a:pt x="590" y="47"/>
                        <a:pt x="589" y="47"/>
                      </a:cubicBezTo>
                      <a:cubicBezTo>
                        <a:pt x="588" y="46"/>
                        <a:pt x="587" y="46"/>
                        <a:pt x="586" y="45"/>
                      </a:cubicBezTo>
                      <a:cubicBezTo>
                        <a:pt x="584" y="44"/>
                        <a:pt x="581" y="43"/>
                        <a:pt x="578" y="43"/>
                      </a:cubicBezTo>
                      <a:cubicBezTo>
                        <a:pt x="578" y="43"/>
                        <a:pt x="577" y="43"/>
                        <a:pt x="576" y="44"/>
                      </a:cubicBezTo>
                      <a:cubicBezTo>
                        <a:pt x="572" y="44"/>
                        <a:pt x="568" y="47"/>
                        <a:pt x="564" y="52"/>
                      </a:cubicBezTo>
                      <a:cubicBezTo>
                        <a:pt x="561" y="57"/>
                        <a:pt x="560" y="60"/>
                        <a:pt x="564" y="65"/>
                      </a:cubicBezTo>
                      <a:cubicBezTo>
                        <a:pt x="564" y="65"/>
                        <a:pt x="564" y="65"/>
                        <a:pt x="564" y="65"/>
                      </a:cubicBezTo>
                      <a:cubicBezTo>
                        <a:pt x="563" y="66"/>
                        <a:pt x="562" y="66"/>
                        <a:pt x="561" y="67"/>
                      </a:cubicBezTo>
                      <a:cubicBezTo>
                        <a:pt x="560" y="65"/>
                        <a:pt x="557" y="64"/>
                        <a:pt x="555" y="64"/>
                      </a:cubicBezTo>
                      <a:cubicBezTo>
                        <a:pt x="555" y="64"/>
                        <a:pt x="554" y="64"/>
                        <a:pt x="554" y="63"/>
                      </a:cubicBezTo>
                      <a:cubicBezTo>
                        <a:pt x="553" y="63"/>
                        <a:pt x="551" y="63"/>
                        <a:pt x="550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5" y="63"/>
                        <a:pt x="544" y="67"/>
                        <a:pt x="544" y="70"/>
                      </a:cubicBezTo>
                      <a:cubicBezTo>
                        <a:pt x="543" y="70"/>
                        <a:pt x="543" y="71"/>
                        <a:pt x="543" y="71"/>
                      </a:cubicBezTo>
                      <a:cubicBezTo>
                        <a:pt x="542" y="74"/>
                        <a:pt x="541" y="76"/>
                        <a:pt x="541" y="77"/>
                      </a:cubicBezTo>
                      <a:cubicBezTo>
                        <a:pt x="540" y="76"/>
                        <a:pt x="540" y="74"/>
                        <a:pt x="540" y="72"/>
                      </a:cubicBezTo>
                      <a:cubicBezTo>
                        <a:pt x="540" y="72"/>
                        <a:pt x="540" y="71"/>
                        <a:pt x="540" y="71"/>
                      </a:cubicBezTo>
                      <a:cubicBezTo>
                        <a:pt x="540" y="70"/>
                        <a:pt x="540" y="69"/>
                        <a:pt x="540" y="69"/>
                      </a:cubicBezTo>
                      <a:cubicBezTo>
                        <a:pt x="540" y="66"/>
                        <a:pt x="539" y="64"/>
                        <a:pt x="540" y="62"/>
                      </a:cubicBezTo>
                      <a:cubicBezTo>
                        <a:pt x="540" y="62"/>
                        <a:pt x="540" y="62"/>
                        <a:pt x="541" y="61"/>
                      </a:cubicBezTo>
                      <a:cubicBezTo>
                        <a:pt x="542" y="60"/>
                        <a:pt x="543" y="60"/>
                        <a:pt x="543" y="58"/>
                      </a:cubicBezTo>
                      <a:cubicBezTo>
                        <a:pt x="547" y="52"/>
                        <a:pt x="543" y="47"/>
                        <a:pt x="541" y="43"/>
                      </a:cubicBezTo>
                      <a:cubicBezTo>
                        <a:pt x="540" y="42"/>
                        <a:pt x="539" y="41"/>
                        <a:pt x="539" y="40"/>
                      </a:cubicBezTo>
                      <a:cubicBezTo>
                        <a:pt x="538" y="38"/>
                        <a:pt x="537" y="37"/>
                        <a:pt x="536" y="36"/>
                      </a:cubicBezTo>
                      <a:cubicBezTo>
                        <a:pt x="535" y="34"/>
                        <a:pt x="534" y="33"/>
                        <a:pt x="533" y="32"/>
                      </a:cubicBezTo>
                      <a:cubicBezTo>
                        <a:pt x="533" y="31"/>
                        <a:pt x="533" y="30"/>
                        <a:pt x="533" y="29"/>
                      </a:cubicBezTo>
                      <a:cubicBezTo>
                        <a:pt x="532" y="28"/>
                        <a:pt x="532" y="27"/>
                        <a:pt x="532" y="26"/>
                      </a:cubicBezTo>
                      <a:cubicBezTo>
                        <a:pt x="531" y="21"/>
                        <a:pt x="527" y="16"/>
                        <a:pt x="523" y="14"/>
                      </a:cubicBezTo>
                      <a:cubicBezTo>
                        <a:pt x="522" y="13"/>
                        <a:pt x="521" y="13"/>
                        <a:pt x="519" y="13"/>
                      </a:cubicBezTo>
                      <a:cubicBezTo>
                        <a:pt x="517" y="13"/>
                        <a:pt x="515" y="14"/>
                        <a:pt x="513" y="15"/>
                      </a:cubicBezTo>
                      <a:cubicBezTo>
                        <a:pt x="512" y="16"/>
                        <a:pt x="511" y="16"/>
                        <a:pt x="510" y="17"/>
                      </a:cubicBezTo>
                      <a:cubicBezTo>
                        <a:pt x="509" y="17"/>
                        <a:pt x="509" y="17"/>
                        <a:pt x="508" y="17"/>
                      </a:cubicBezTo>
                      <a:cubicBezTo>
                        <a:pt x="506" y="18"/>
                        <a:pt x="504" y="18"/>
                        <a:pt x="501" y="20"/>
                      </a:cubicBezTo>
                      <a:cubicBezTo>
                        <a:pt x="496" y="23"/>
                        <a:pt x="491" y="28"/>
                        <a:pt x="487" y="33"/>
                      </a:cubicBezTo>
                      <a:cubicBezTo>
                        <a:pt x="479" y="43"/>
                        <a:pt x="473" y="57"/>
                        <a:pt x="479" y="67"/>
                      </a:cubicBezTo>
                      <a:cubicBezTo>
                        <a:pt x="480" y="68"/>
                        <a:pt x="482" y="70"/>
                        <a:pt x="484" y="71"/>
                      </a:cubicBezTo>
                      <a:cubicBezTo>
                        <a:pt x="485" y="72"/>
                        <a:pt x="488" y="74"/>
                        <a:pt x="489" y="75"/>
                      </a:cubicBezTo>
                      <a:cubicBezTo>
                        <a:pt x="488" y="76"/>
                        <a:pt x="488" y="76"/>
                        <a:pt x="487" y="76"/>
                      </a:cubicBezTo>
                      <a:cubicBezTo>
                        <a:pt x="487" y="76"/>
                        <a:pt x="486" y="77"/>
                        <a:pt x="486" y="77"/>
                      </a:cubicBezTo>
                      <a:cubicBezTo>
                        <a:pt x="484" y="79"/>
                        <a:pt x="481" y="81"/>
                        <a:pt x="479" y="85"/>
                      </a:cubicBezTo>
                      <a:cubicBezTo>
                        <a:pt x="476" y="94"/>
                        <a:pt x="485" y="100"/>
                        <a:pt x="489" y="102"/>
                      </a:cubicBezTo>
                      <a:cubicBezTo>
                        <a:pt x="493" y="105"/>
                        <a:pt x="495" y="106"/>
                        <a:pt x="494" y="110"/>
                      </a:cubicBezTo>
                      <a:cubicBezTo>
                        <a:pt x="494" y="111"/>
                        <a:pt x="494" y="111"/>
                        <a:pt x="494" y="112"/>
                      </a:cubicBezTo>
                      <a:cubicBezTo>
                        <a:pt x="494" y="108"/>
                        <a:pt x="490" y="106"/>
                        <a:pt x="487" y="104"/>
                      </a:cubicBezTo>
                      <a:cubicBezTo>
                        <a:pt x="486" y="103"/>
                        <a:pt x="484" y="102"/>
                        <a:pt x="483" y="101"/>
                      </a:cubicBezTo>
                      <a:cubicBezTo>
                        <a:pt x="482" y="100"/>
                        <a:pt x="481" y="97"/>
                        <a:pt x="480" y="95"/>
                      </a:cubicBezTo>
                      <a:cubicBezTo>
                        <a:pt x="480" y="94"/>
                        <a:pt x="479" y="93"/>
                        <a:pt x="478" y="91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76" y="87"/>
                        <a:pt x="475" y="86"/>
                        <a:pt x="475" y="83"/>
                      </a:cubicBezTo>
                      <a:cubicBezTo>
                        <a:pt x="475" y="81"/>
                        <a:pt x="475" y="80"/>
                        <a:pt x="476" y="78"/>
                      </a:cubicBezTo>
                      <a:cubicBezTo>
                        <a:pt x="476" y="73"/>
                        <a:pt x="477" y="68"/>
                        <a:pt x="473" y="62"/>
                      </a:cubicBezTo>
                      <a:cubicBezTo>
                        <a:pt x="473" y="62"/>
                        <a:pt x="472" y="61"/>
                        <a:pt x="472" y="61"/>
                      </a:cubicBezTo>
                      <a:cubicBezTo>
                        <a:pt x="471" y="60"/>
                        <a:pt x="471" y="59"/>
                        <a:pt x="471" y="58"/>
                      </a:cubicBezTo>
                      <a:cubicBezTo>
                        <a:pt x="471" y="55"/>
                        <a:pt x="472" y="51"/>
                        <a:pt x="473" y="49"/>
                      </a:cubicBezTo>
                      <a:cubicBezTo>
                        <a:pt x="474" y="46"/>
                        <a:pt x="475" y="43"/>
                        <a:pt x="477" y="41"/>
                      </a:cubicBezTo>
                      <a:cubicBezTo>
                        <a:pt x="477" y="40"/>
                        <a:pt x="478" y="39"/>
                        <a:pt x="478" y="38"/>
                      </a:cubicBezTo>
                      <a:cubicBezTo>
                        <a:pt x="479" y="36"/>
                        <a:pt x="481" y="33"/>
                        <a:pt x="483" y="31"/>
                      </a:cubicBezTo>
                      <a:cubicBezTo>
                        <a:pt x="483" y="30"/>
                        <a:pt x="484" y="30"/>
                        <a:pt x="485" y="29"/>
                      </a:cubicBezTo>
                      <a:cubicBezTo>
                        <a:pt x="487" y="25"/>
                        <a:pt x="489" y="22"/>
                        <a:pt x="489" y="17"/>
                      </a:cubicBezTo>
                      <a:cubicBezTo>
                        <a:pt x="488" y="14"/>
                        <a:pt x="488" y="14"/>
                        <a:pt x="488" y="14"/>
                      </a:cubicBezTo>
                      <a:cubicBezTo>
                        <a:pt x="486" y="14"/>
                        <a:pt x="486" y="14"/>
                        <a:pt x="486" y="14"/>
                      </a:cubicBezTo>
                      <a:cubicBezTo>
                        <a:pt x="481" y="14"/>
                        <a:pt x="477" y="14"/>
                        <a:pt x="473" y="13"/>
                      </a:cubicBezTo>
                      <a:cubicBezTo>
                        <a:pt x="470" y="13"/>
                        <a:pt x="470" y="13"/>
                        <a:pt x="470" y="13"/>
                      </a:cubicBezTo>
                      <a:cubicBezTo>
                        <a:pt x="469" y="13"/>
                        <a:pt x="468" y="13"/>
                        <a:pt x="467" y="13"/>
                      </a:cubicBezTo>
                      <a:cubicBezTo>
                        <a:pt x="464" y="13"/>
                        <a:pt x="462" y="13"/>
                        <a:pt x="460" y="15"/>
                      </a:cubicBezTo>
                      <a:cubicBezTo>
                        <a:pt x="459" y="16"/>
                        <a:pt x="459" y="16"/>
                        <a:pt x="458" y="17"/>
                      </a:cubicBezTo>
                      <a:cubicBezTo>
                        <a:pt x="455" y="19"/>
                        <a:pt x="451" y="22"/>
                        <a:pt x="449" y="25"/>
                      </a:cubicBezTo>
                      <a:cubicBezTo>
                        <a:pt x="448" y="27"/>
                        <a:pt x="448" y="27"/>
                        <a:pt x="448" y="27"/>
                      </a:cubicBezTo>
                      <a:cubicBezTo>
                        <a:pt x="443" y="36"/>
                        <a:pt x="437" y="44"/>
                        <a:pt x="434" y="54"/>
                      </a:cubicBezTo>
                      <a:cubicBezTo>
                        <a:pt x="430" y="68"/>
                        <a:pt x="426" y="89"/>
                        <a:pt x="428" y="108"/>
                      </a:cubicBezTo>
                      <a:cubicBezTo>
                        <a:pt x="430" y="115"/>
                        <a:pt x="434" y="119"/>
                        <a:pt x="441" y="121"/>
                      </a:cubicBezTo>
                      <a:cubicBezTo>
                        <a:pt x="444" y="122"/>
                        <a:pt x="446" y="122"/>
                        <a:pt x="449" y="122"/>
                      </a:cubicBezTo>
                      <a:cubicBezTo>
                        <a:pt x="450" y="122"/>
                        <a:pt x="450" y="122"/>
                        <a:pt x="450" y="122"/>
                      </a:cubicBezTo>
                      <a:cubicBezTo>
                        <a:pt x="454" y="122"/>
                        <a:pt x="461" y="126"/>
                        <a:pt x="461" y="129"/>
                      </a:cubicBezTo>
                      <a:cubicBezTo>
                        <a:pt x="461" y="129"/>
                        <a:pt x="461" y="129"/>
                        <a:pt x="460" y="129"/>
                      </a:cubicBezTo>
                      <a:cubicBezTo>
                        <a:pt x="458" y="129"/>
                        <a:pt x="453" y="127"/>
                        <a:pt x="452" y="126"/>
                      </a:cubicBezTo>
                      <a:cubicBezTo>
                        <a:pt x="452" y="126"/>
                        <a:pt x="450" y="126"/>
                        <a:pt x="449" y="125"/>
                      </a:cubicBezTo>
                      <a:cubicBezTo>
                        <a:pt x="447" y="124"/>
                        <a:pt x="443" y="123"/>
                        <a:pt x="440" y="123"/>
                      </a:cubicBezTo>
                      <a:cubicBezTo>
                        <a:pt x="438" y="123"/>
                        <a:pt x="437" y="124"/>
                        <a:pt x="436" y="125"/>
                      </a:cubicBezTo>
                      <a:cubicBezTo>
                        <a:pt x="431" y="129"/>
                        <a:pt x="434" y="134"/>
                        <a:pt x="436" y="137"/>
                      </a:cubicBezTo>
                      <a:cubicBezTo>
                        <a:pt x="437" y="138"/>
                        <a:pt x="437" y="139"/>
                        <a:pt x="437" y="139"/>
                      </a:cubicBezTo>
                      <a:cubicBezTo>
                        <a:pt x="439" y="145"/>
                        <a:pt x="442" y="147"/>
                        <a:pt x="446" y="151"/>
                      </a:cubicBezTo>
                      <a:cubicBezTo>
                        <a:pt x="452" y="156"/>
                        <a:pt x="460" y="157"/>
                        <a:pt x="463" y="157"/>
                      </a:cubicBezTo>
                      <a:cubicBezTo>
                        <a:pt x="463" y="157"/>
                        <a:pt x="464" y="157"/>
                        <a:pt x="464" y="157"/>
                      </a:cubicBezTo>
                      <a:cubicBezTo>
                        <a:pt x="466" y="157"/>
                        <a:pt x="468" y="157"/>
                        <a:pt x="469" y="156"/>
                      </a:cubicBezTo>
                      <a:cubicBezTo>
                        <a:pt x="470" y="156"/>
                        <a:pt x="471" y="156"/>
                        <a:pt x="472" y="156"/>
                      </a:cubicBezTo>
                      <a:cubicBezTo>
                        <a:pt x="472" y="156"/>
                        <a:pt x="473" y="156"/>
                        <a:pt x="474" y="158"/>
                      </a:cubicBezTo>
                      <a:cubicBezTo>
                        <a:pt x="475" y="159"/>
                        <a:pt x="475" y="159"/>
                        <a:pt x="475" y="159"/>
                      </a:cubicBezTo>
                      <a:cubicBezTo>
                        <a:pt x="477" y="162"/>
                        <a:pt x="480" y="166"/>
                        <a:pt x="484" y="167"/>
                      </a:cubicBezTo>
                      <a:cubicBezTo>
                        <a:pt x="485" y="167"/>
                        <a:pt x="485" y="167"/>
                        <a:pt x="486" y="167"/>
                      </a:cubicBezTo>
                      <a:cubicBezTo>
                        <a:pt x="488" y="167"/>
                        <a:pt x="489" y="166"/>
                        <a:pt x="491" y="166"/>
                      </a:cubicBezTo>
                      <a:cubicBezTo>
                        <a:pt x="492" y="165"/>
                        <a:pt x="493" y="165"/>
                        <a:pt x="494" y="165"/>
                      </a:cubicBezTo>
                      <a:cubicBezTo>
                        <a:pt x="494" y="165"/>
                        <a:pt x="495" y="165"/>
                        <a:pt x="495" y="165"/>
                      </a:cubicBezTo>
                      <a:cubicBezTo>
                        <a:pt x="498" y="166"/>
                        <a:pt x="498" y="166"/>
                        <a:pt x="498" y="166"/>
                      </a:cubicBezTo>
                      <a:cubicBezTo>
                        <a:pt x="500" y="166"/>
                        <a:pt x="502" y="167"/>
                        <a:pt x="505" y="167"/>
                      </a:cubicBezTo>
                      <a:cubicBezTo>
                        <a:pt x="503" y="167"/>
                        <a:pt x="501" y="168"/>
                        <a:pt x="500" y="168"/>
                      </a:cubicBezTo>
                      <a:cubicBezTo>
                        <a:pt x="499" y="169"/>
                        <a:pt x="499" y="169"/>
                        <a:pt x="498" y="169"/>
                      </a:cubicBezTo>
                      <a:cubicBezTo>
                        <a:pt x="497" y="169"/>
                        <a:pt x="496" y="169"/>
                        <a:pt x="495" y="169"/>
                      </a:cubicBezTo>
                      <a:cubicBezTo>
                        <a:pt x="495" y="169"/>
                        <a:pt x="495" y="169"/>
                        <a:pt x="495" y="169"/>
                      </a:cubicBezTo>
                      <a:cubicBezTo>
                        <a:pt x="495" y="169"/>
                        <a:pt x="494" y="169"/>
                        <a:pt x="494" y="169"/>
                      </a:cubicBezTo>
                      <a:cubicBezTo>
                        <a:pt x="494" y="169"/>
                        <a:pt x="493" y="169"/>
                        <a:pt x="492" y="169"/>
                      </a:cubicBezTo>
                      <a:cubicBezTo>
                        <a:pt x="492" y="169"/>
                        <a:pt x="491" y="169"/>
                        <a:pt x="491" y="169"/>
                      </a:cubicBezTo>
                      <a:cubicBezTo>
                        <a:pt x="487" y="171"/>
                        <a:pt x="487" y="176"/>
                        <a:pt x="488" y="181"/>
                      </a:cubicBezTo>
                      <a:cubicBezTo>
                        <a:pt x="488" y="181"/>
                        <a:pt x="488" y="182"/>
                        <a:pt x="488" y="182"/>
                      </a:cubicBezTo>
                      <a:cubicBezTo>
                        <a:pt x="488" y="186"/>
                        <a:pt x="488" y="190"/>
                        <a:pt x="489" y="193"/>
                      </a:cubicBezTo>
                      <a:cubicBezTo>
                        <a:pt x="490" y="198"/>
                        <a:pt x="494" y="199"/>
                        <a:pt x="497" y="199"/>
                      </a:cubicBezTo>
                      <a:cubicBezTo>
                        <a:pt x="497" y="200"/>
                        <a:pt x="497" y="200"/>
                        <a:pt x="497" y="201"/>
                      </a:cubicBezTo>
                      <a:cubicBezTo>
                        <a:pt x="497" y="201"/>
                        <a:pt x="497" y="202"/>
                        <a:pt x="497" y="203"/>
                      </a:cubicBezTo>
                      <a:cubicBezTo>
                        <a:pt x="497" y="203"/>
                        <a:pt x="497" y="204"/>
                        <a:pt x="497" y="204"/>
                      </a:cubicBezTo>
                      <a:cubicBezTo>
                        <a:pt x="497" y="206"/>
                        <a:pt x="497" y="209"/>
                        <a:pt x="496" y="210"/>
                      </a:cubicBezTo>
                      <a:cubicBezTo>
                        <a:pt x="495" y="210"/>
                        <a:pt x="494" y="211"/>
                        <a:pt x="494" y="211"/>
                      </a:cubicBezTo>
                      <a:cubicBezTo>
                        <a:pt x="492" y="212"/>
                        <a:pt x="489" y="213"/>
                        <a:pt x="488" y="215"/>
                      </a:cubicBezTo>
                      <a:cubicBezTo>
                        <a:pt x="487" y="217"/>
                        <a:pt x="487" y="220"/>
                        <a:pt x="487" y="223"/>
                      </a:cubicBezTo>
                      <a:cubicBezTo>
                        <a:pt x="487" y="224"/>
                        <a:pt x="487" y="225"/>
                        <a:pt x="486" y="226"/>
                      </a:cubicBezTo>
                      <a:cubicBezTo>
                        <a:pt x="486" y="229"/>
                        <a:pt x="486" y="231"/>
                        <a:pt x="486" y="234"/>
                      </a:cubicBezTo>
                      <a:cubicBezTo>
                        <a:pt x="486" y="237"/>
                        <a:pt x="486" y="240"/>
                        <a:pt x="485" y="243"/>
                      </a:cubicBezTo>
                      <a:cubicBezTo>
                        <a:pt x="485" y="243"/>
                        <a:pt x="485" y="243"/>
                        <a:pt x="484" y="243"/>
                      </a:cubicBezTo>
                      <a:cubicBezTo>
                        <a:pt x="484" y="244"/>
                        <a:pt x="484" y="244"/>
                        <a:pt x="483" y="244"/>
                      </a:cubicBezTo>
                      <a:cubicBezTo>
                        <a:pt x="481" y="246"/>
                        <a:pt x="479" y="250"/>
                        <a:pt x="478" y="254"/>
                      </a:cubicBezTo>
                      <a:cubicBezTo>
                        <a:pt x="478" y="255"/>
                        <a:pt x="478" y="257"/>
                        <a:pt x="478" y="258"/>
                      </a:cubicBezTo>
                      <a:cubicBezTo>
                        <a:pt x="478" y="260"/>
                        <a:pt x="478" y="262"/>
                        <a:pt x="478" y="263"/>
                      </a:cubicBezTo>
                      <a:cubicBezTo>
                        <a:pt x="477" y="263"/>
                        <a:pt x="477" y="264"/>
                        <a:pt x="476" y="264"/>
                      </a:cubicBezTo>
                      <a:cubicBezTo>
                        <a:pt x="475" y="264"/>
                        <a:pt x="474" y="265"/>
                        <a:pt x="473" y="266"/>
                      </a:cubicBezTo>
                      <a:cubicBezTo>
                        <a:pt x="472" y="267"/>
                        <a:pt x="471" y="268"/>
                        <a:pt x="471" y="269"/>
                      </a:cubicBezTo>
                      <a:cubicBezTo>
                        <a:pt x="470" y="268"/>
                        <a:pt x="469" y="266"/>
                        <a:pt x="468" y="264"/>
                      </a:cubicBezTo>
                      <a:cubicBezTo>
                        <a:pt x="467" y="262"/>
                        <a:pt x="465" y="260"/>
                        <a:pt x="463" y="258"/>
                      </a:cubicBezTo>
                      <a:cubicBezTo>
                        <a:pt x="463" y="258"/>
                        <a:pt x="463" y="258"/>
                        <a:pt x="463" y="258"/>
                      </a:cubicBezTo>
                      <a:cubicBezTo>
                        <a:pt x="461" y="257"/>
                        <a:pt x="460" y="255"/>
                        <a:pt x="459" y="253"/>
                      </a:cubicBezTo>
                      <a:cubicBezTo>
                        <a:pt x="458" y="251"/>
                        <a:pt x="457" y="251"/>
                        <a:pt x="457" y="250"/>
                      </a:cubicBezTo>
                      <a:cubicBezTo>
                        <a:pt x="457" y="248"/>
                        <a:pt x="457" y="248"/>
                        <a:pt x="457" y="248"/>
                      </a:cubicBezTo>
                      <a:cubicBezTo>
                        <a:pt x="458" y="246"/>
                        <a:pt x="458" y="243"/>
                        <a:pt x="457" y="241"/>
                      </a:cubicBezTo>
                      <a:cubicBezTo>
                        <a:pt x="457" y="240"/>
                        <a:pt x="457" y="240"/>
                        <a:pt x="457" y="240"/>
                      </a:cubicBezTo>
                      <a:cubicBezTo>
                        <a:pt x="457" y="239"/>
                        <a:pt x="456" y="237"/>
                        <a:pt x="456" y="237"/>
                      </a:cubicBezTo>
                      <a:cubicBezTo>
                        <a:pt x="457" y="236"/>
                        <a:pt x="458" y="235"/>
                        <a:pt x="458" y="234"/>
                      </a:cubicBezTo>
                      <a:cubicBezTo>
                        <a:pt x="459" y="233"/>
                        <a:pt x="459" y="233"/>
                        <a:pt x="459" y="233"/>
                      </a:cubicBezTo>
                      <a:cubicBezTo>
                        <a:pt x="461" y="231"/>
                        <a:pt x="462" y="228"/>
                        <a:pt x="462" y="226"/>
                      </a:cubicBezTo>
                      <a:cubicBezTo>
                        <a:pt x="462" y="225"/>
                        <a:pt x="462" y="224"/>
                        <a:pt x="462" y="223"/>
                      </a:cubicBezTo>
                      <a:cubicBezTo>
                        <a:pt x="462" y="220"/>
                        <a:pt x="463" y="216"/>
                        <a:pt x="461" y="212"/>
                      </a:cubicBezTo>
                      <a:cubicBezTo>
                        <a:pt x="460" y="211"/>
                        <a:pt x="459" y="210"/>
                        <a:pt x="459" y="209"/>
                      </a:cubicBezTo>
                      <a:cubicBezTo>
                        <a:pt x="458" y="208"/>
                        <a:pt x="458" y="208"/>
                        <a:pt x="457" y="207"/>
                      </a:cubicBezTo>
                      <a:cubicBezTo>
                        <a:pt x="456" y="205"/>
                        <a:pt x="454" y="204"/>
                        <a:pt x="452" y="202"/>
                      </a:cubicBezTo>
                      <a:cubicBezTo>
                        <a:pt x="452" y="201"/>
                        <a:pt x="451" y="201"/>
                        <a:pt x="450" y="200"/>
                      </a:cubicBezTo>
                      <a:cubicBezTo>
                        <a:pt x="449" y="200"/>
                        <a:pt x="448" y="199"/>
                        <a:pt x="448" y="199"/>
                      </a:cubicBezTo>
                      <a:cubicBezTo>
                        <a:pt x="448" y="198"/>
                        <a:pt x="448" y="198"/>
                        <a:pt x="447" y="197"/>
                      </a:cubicBezTo>
                      <a:cubicBezTo>
                        <a:pt x="446" y="196"/>
                        <a:pt x="444" y="192"/>
                        <a:pt x="441" y="192"/>
                      </a:cubicBezTo>
                      <a:cubicBezTo>
                        <a:pt x="440" y="192"/>
                        <a:pt x="440" y="192"/>
                        <a:pt x="440" y="192"/>
                      </a:cubicBezTo>
                      <a:cubicBezTo>
                        <a:pt x="435" y="193"/>
                        <a:pt x="435" y="197"/>
                        <a:pt x="435" y="199"/>
                      </a:cubicBezTo>
                      <a:cubicBezTo>
                        <a:pt x="435" y="199"/>
                        <a:pt x="434" y="200"/>
                        <a:pt x="434" y="201"/>
                      </a:cubicBezTo>
                      <a:cubicBezTo>
                        <a:pt x="433" y="202"/>
                        <a:pt x="433" y="203"/>
                        <a:pt x="432" y="205"/>
                      </a:cubicBezTo>
                      <a:cubicBezTo>
                        <a:pt x="432" y="206"/>
                        <a:pt x="432" y="206"/>
                        <a:pt x="432" y="206"/>
                      </a:cubicBezTo>
                      <a:cubicBezTo>
                        <a:pt x="432" y="208"/>
                        <a:pt x="432" y="210"/>
                        <a:pt x="432" y="212"/>
                      </a:cubicBezTo>
                      <a:cubicBezTo>
                        <a:pt x="432" y="215"/>
                        <a:pt x="431" y="217"/>
                        <a:pt x="429" y="220"/>
                      </a:cubicBezTo>
                      <a:cubicBezTo>
                        <a:pt x="429" y="221"/>
                        <a:pt x="429" y="222"/>
                        <a:pt x="428" y="223"/>
                      </a:cubicBezTo>
                      <a:cubicBezTo>
                        <a:pt x="428" y="224"/>
                        <a:pt x="428" y="226"/>
                        <a:pt x="428" y="227"/>
                      </a:cubicBezTo>
                      <a:cubicBezTo>
                        <a:pt x="428" y="230"/>
                        <a:pt x="427" y="230"/>
                        <a:pt x="427" y="231"/>
                      </a:cubicBezTo>
                      <a:cubicBezTo>
                        <a:pt x="427" y="231"/>
                        <a:pt x="426" y="230"/>
                        <a:pt x="425" y="222"/>
                      </a:cubicBezTo>
                      <a:cubicBezTo>
                        <a:pt x="425" y="221"/>
                        <a:pt x="425" y="219"/>
                        <a:pt x="426" y="217"/>
                      </a:cubicBezTo>
                      <a:cubicBezTo>
                        <a:pt x="426" y="213"/>
                        <a:pt x="426" y="208"/>
                        <a:pt x="424" y="203"/>
                      </a:cubicBezTo>
                      <a:cubicBezTo>
                        <a:pt x="423" y="202"/>
                        <a:pt x="422" y="201"/>
                        <a:pt x="422" y="200"/>
                      </a:cubicBezTo>
                      <a:cubicBezTo>
                        <a:pt x="421" y="199"/>
                        <a:pt x="420" y="198"/>
                        <a:pt x="419" y="197"/>
                      </a:cubicBezTo>
                      <a:cubicBezTo>
                        <a:pt x="419" y="196"/>
                        <a:pt x="420" y="196"/>
                        <a:pt x="421" y="194"/>
                      </a:cubicBezTo>
                      <a:cubicBezTo>
                        <a:pt x="423" y="193"/>
                        <a:pt x="425" y="191"/>
                        <a:pt x="425" y="188"/>
                      </a:cubicBezTo>
                      <a:cubicBezTo>
                        <a:pt x="425" y="184"/>
                        <a:pt x="421" y="183"/>
                        <a:pt x="418" y="182"/>
                      </a:cubicBezTo>
                      <a:cubicBezTo>
                        <a:pt x="418" y="182"/>
                        <a:pt x="417" y="182"/>
                        <a:pt x="417" y="182"/>
                      </a:cubicBezTo>
                      <a:cubicBezTo>
                        <a:pt x="416" y="181"/>
                        <a:pt x="415" y="181"/>
                        <a:pt x="415" y="181"/>
                      </a:cubicBezTo>
                      <a:cubicBezTo>
                        <a:pt x="414" y="180"/>
                        <a:pt x="412" y="179"/>
                        <a:pt x="411" y="179"/>
                      </a:cubicBezTo>
                      <a:cubicBezTo>
                        <a:pt x="409" y="179"/>
                        <a:pt x="407" y="181"/>
                        <a:pt x="405" y="182"/>
                      </a:cubicBezTo>
                      <a:cubicBezTo>
                        <a:pt x="405" y="183"/>
                        <a:pt x="404" y="183"/>
                        <a:pt x="404" y="183"/>
                      </a:cubicBezTo>
                      <a:cubicBezTo>
                        <a:pt x="404" y="183"/>
                        <a:pt x="403" y="182"/>
                        <a:pt x="403" y="181"/>
                      </a:cubicBezTo>
                      <a:cubicBezTo>
                        <a:pt x="402" y="180"/>
                        <a:pt x="402" y="180"/>
                        <a:pt x="402" y="180"/>
                      </a:cubicBezTo>
                      <a:cubicBezTo>
                        <a:pt x="401" y="179"/>
                        <a:pt x="399" y="178"/>
                        <a:pt x="398" y="177"/>
                      </a:cubicBezTo>
                      <a:cubicBezTo>
                        <a:pt x="398" y="177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400" y="175"/>
                      </a:cubicBezTo>
                      <a:cubicBezTo>
                        <a:pt x="401" y="174"/>
                        <a:pt x="403" y="173"/>
                        <a:pt x="405" y="172"/>
                      </a:cubicBezTo>
                      <a:cubicBezTo>
                        <a:pt x="406" y="170"/>
                        <a:pt x="406" y="168"/>
                        <a:pt x="406" y="167"/>
                      </a:cubicBezTo>
                      <a:cubicBezTo>
                        <a:pt x="406" y="166"/>
                        <a:pt x="406" y="165"/>
                        <a:pt x="406" y="165"/>
                      </a:cubicBezTo>
                      <a:cubicBezTo>
                        <a:pt x="406" y="165"/>
                        <a:pt x="407" y="165"/>
                        <a:pt x="408" y="165"/>
                      </a:cubicBezTo>
                      <a:cubicBezTo>
                        <a:pt x="409" y="165"/>
                        <a:pt x="411" y="165"/>
                        <a:pt x="412" y="161"/>
                      </a:cubicBezTo>
                      <a:cubicBezTo>
                        <a:pt x="414" y="157"/>
                        <a:pt x="410" y="154"/>
                        <a:pt x="409" y="153"/>
                      </a:cubicBezTo>
                      <a:cubicBezTo>
                        <a:pt x="407" y="152"/>
                        <a:pt x="407" y="152"/>
                        <a:pt x="406" y="151"/>
                      </a:cubicBezTo>
                      <a:cubicBezTo>
                        <a:pt x="406" y="150"/>
                        <a:pt x="405" y="149"/>
                        <a:pt x="405" y="148"/>
                      </a:cubicBezTo>
                      <a:cubicBezTo>
                        <a:pt x="404" y="147"/>
                        <a:pt x="404" y="146"/>
                        <a:pt x="403" y="145"/>
                      </a:cubicBezTo>
                      <a:cubicBezTo>
                        <a:pt x="403" y="144"/>
                        <a:pt x="403" y="143"/>
                        <a:pt x="403" y="143"/>
                      </a:cubicBezTo>
                      <a:cubicBezTo>
                        <a:pt x="402" y="141"/>
                        <a:pt x="402" y="140"/>
                        <a:pt x="401" y="138"/>
                      </a:cubicBezTo>
                      <a:cubicBezTo>
                        <a:pt x="400" y="137"/>
                        <a:pt x="399" y="137"/>
                        <a:pt x="399" y="136"/>
                      </a:cubicBezTo>
                      <a:cubicBezTo>
                        <a:pt x="398" y="135"/>
                        <a:pt x="397" y="135"/>
                        <a:pt x="397" y="134"/>
                      </a:cubicBezTo>
                      <a:cubicBezTo>
                        <a:pt x="396" y="132"/>
                        <a:pt x="396" y="130"/>
                        <a:pt x="397" y="127"/>
                      </a:cubicBezTo>
                      <a:cubicBezTo>
                        <a:pt x="397" y="125"/>
                        <a:pt x="397" y="124"/>
                        <a:pt x="397" y="123"/>
                      </a:cubicBezTo>
                      <a:cubicBezTo>
                        <a:pt x="397" y="119"/>
                        <a:pt x="396" y="115"/>
                        <a:pt x="394" y="112"/>
                      </a:cubicBezTo>
                      <a:cubicBezTo>
                        <a:pt x="394" y="110"/>
                        <a:pt x="392" y="108"/>
                        <a:pt x="391" y="107"/>
                      </a:cubicBezTo>
                      <a:cubicBezTo>
                        <a:pt x="391" y="106"/>
                        <a:pt x="390" y="105"/>
                        <a:pt x="389" y="104"/>
                      </a:cubicBezTo>
                      <a:cubicBezTo>
                        <a:pt x="389" y="104"/>
                        <a:pt x="389" y="103"/>
                        <a:pt x="388" y="102"/>
                      </a:cubicBezTo>
                      <a:cubicBezTo>
                        <a:pt x="388" y="100"/>
                        <a:pt x="387" y="97"/>
                        <a:pt x="385" y="96"/>
                      </a:cubicBezTo>
                      <a:cubicBezTo>
                        <a:pt x="383" y="94"/>
                        <a:pt x="381" y="94"/>
                        <a:pt x="379" y="93"/>
                      </a:cubicBezTo>
                      <a:cubicBezTo>
                        <a:pt x="379" y="93"/>
                        <a:pt x="379" y="93"/>
                        <a:pt x="378" y="93"/>
                      </a:cubicBezTo>
                      <a:cubicBezTo>
                        <a:pt x="380" y="92"/>
                        <a:pt x="381" y="91"/>
                        <a:pt x="382" y="90"/>
                      </a:cubicBezTo>
                      <a:cubicBezTo>
                        <a:pt x="383" y="89"/>
                        <a:pt x="384" y="88"/>
                        <a:pt x="385" y="87"/>
                      </a:cubicBezTo>
                      <a:cubicBezTo>
                        <a:pt x="386" y="86"/>
                        <a:pt x="387" y="86"/>
                        <a:pt x="388" y="85"/>
                      </a:cubicBezTo>
                      <a:cubicBezTo>
                        <a:pt x="393" y="80"/>
                        <a:pt x="392" y="71"/>
                        <a:pt x="391" y="65"/>
                      </a:cubicBezTo>
                      <a:cubicBezTo>
                        <a:pt x="391" y="64"/>
                        <a:pt x="391" y="64"/>
                        <a:pt x="391" y="64"/>
                      </a:cubicBezTo>
                      <a:cubicBezTo>
                        <a:pt x="391" y="63"/>
                        <a:pt x="391" y="62"/>
                        <a:pt x="391" y="62"/>
                      </a:cubicBezTo>
                      <a:cubicBezTo>
                        <a:pt x="391" y="62"/>
                        <a:pt x="392" y="62"/>
                        <a:pt x="393" y="63"/>
                      </a:cubicBezTo>
                      <a:cubicBezTo>
                        <a:pt x="396" y="63"/>
                        <a:pt x="398" y="64"/>
                        <a:pt x="400" y="64"/>
                      </a:cubicBezTo>
                      <a:cubicBezTo>
                        <a:pt x="405" y="64"/>
                        <a:pt x="409" y="62"/>
                        <a:pt x="412" y="58"/>
                      </a:cubicBezTo>
                      <a:cubicBezTo>
                        <a:pt x="414" y="55"/>
                        <a:pt x="416" y="51"/>
                        <a:pt x="417" y="48"/>
                      </a:cubicBezTo>
                      <a:cubicBezTo>
                        <a:pt x="418" y="45"/>
                        <a:pt x="418" y="43"/>
                        <a:pt x="420" y="41"/>
                      </a:cubicBezTo>
                      <a:cubicBezTo>
                        <a:pt x="421" y="39"/>
                        <a:pt x="422" y="37"/>
                        <a:pt x="424" y="35"/>
                      </a:cubicBezTo>
                      <a:cubicBezTo>
                        <a:pt x="426" y="32"/>
                        <a:pt x="429" y="28"/>
                        <a:pt x="430" y="24"/>
                      </a:cubicBezTo>
                      <a:cubicBezTo>
                        <a:pt x="431" y="20"/>
                        <a:pt x="431" y="17"/>
                        <a:pt x="429" y="15"/>
                      </a:cubicBezTo>
                      <a:cubicBezTo>
                        <a:pt x="426" y="10"/>
                        <a:pt x="418" y="8"/>
                        <a:pt x="411" y="6"/>
                      </a:cubicBezTo>
                      <a:cubicBezTo>
                        <a:pt x="408" y="6"/>
                        <a:pt x="405" y="5"/>
                        <a:pt x="403" y="4"/>
                      </a:cubicBezTo>
                      <a:cubicBezTo>
                        <a:pt x="398" y="1"/>
                        <a:pt x="393" y="0"/>
                        <a:pt x="389" y="0"/>
                      </a:cubicBezTo>
                      <a:cubicBezTo>
                        <a:pt x="386" y="0"/>
                        <a:pt x="384" y="1"/>
                        <a:pt x="382" y="1"/>
                      </a:cubicBezTo>
                      <a:cubicBezTo>
                        <a:pt x="379" y="2"/>
                        <a:pt x="372" y="4"/>
                        <a:pt x="370" y="9"/>
                      </a:cubicBezTo>
                      <a:cubicBezTo>
                        <a:pt x="369" y="10"/>
                        <a:pt x="369" y="13"/>
                        <a:pt x="370" y="16"/>
                      </a:cubicBezTo>
                      <a:cubicBezTo>
                        <a:pt x="369" y="16"/>
                        <a:pt x="368" y="17"/>
                        <a:pt x="368" y="17"/>
                      </a:cubicBezTo>
                      <a:cubicBezTo>
                        <a:pt x="365" y="19"/>
                        <a:pt x="365" y="22"/>
                        <a:pt x="365" y="24"/>
                      </a:cubicBezTo>
                      <a:cubicBezTo>
                        <a:pt x="365" y="25"/>
                        <a:pt x="365" y="25"/>
                        <a:pt x="365" y="25"/>
                      </a:cubicBezTo>
                      <a:cubicBezTo>
                        <a:pt x="365" y="26"/>
                        <a:pt x="365" y="27"/>
                        <a:pt x="365" y="28"/>
                      </a:cubicBezTo>
                      <a:cubicBezTo>
                        <a:pt x="364" y="30"/>
                        <a:pt x="364" y="32"/>
                        <a:pt x="364" y="34"/>
                      </a:cubicBezTo>
                      <a:cubicBezTo>
                        <a:pt x="364" y="36"/>
                        <a:pt x="364" y="37"/>
                        <a:pt x="364" y="39"/>
                      </a:cubicBezTo>
                      <a:cubicBezTo>
                        <a:pt x="364" y="42"/>
                        <a:pt x="365" y="45"/>
                        <a:pt x="364" y="47"/>
                      </a:cubicBezTo>
                      <a:cubicBezTo>
                        <a:pt x="364" y="47"/>
                        <a:pt x="364" y="48"/>
                        <a:pt x="363" y="48"/>
                      </a:cubicBezTo>
                      <a:cubicBezTo>
                        <a:pt x="363" y="50"/>
                        <a:pt x="362" y="52"/>
                        <a:pt x="363" y="55"/>
                      </a:cubicBezTo>
                      <a:cubicBezTo>
                        <a:pt x="363" y="56"/>
                        <a:pt x="363" y="57"/>
                        <a:pt x="364" y="58"/>
                      </a:cubicBezTo>
                      <a:cubicBezTo>
                        <a:pt x="364" y="59"/>
                        <a:pt x="365" y="59"/>
                        <a:pt x="365" y="60"/>
                      </a:cubicBezTo>
                      <a:cubicBezTo>
                        <a:pt x="366" y="64"/>
                        <a:pt x="366" y="68"/>
                        <a:pt x="366" y="73"/>
                      </a:cubicBezTo>
                      <a:cubicBezTo>
                        <a:pt x="366" y="74"/>
                        <a:pt x="366" y="76"/>
                        <a:pt x="366" y="77"/>
                      </a:cubicBezTo>
                      <a:cubicBezTo>
                        <a:pt x="366" y="79"/>
                        <a:pt x="366" y="81"/>
                        <a:pt x="366" y="82"/>
                      </a:cubicBezTo>
                      <a:cubicBezTo>
                        <a:pt x="366" y="83"/>
                        <a:pt x="365" y="83"/>
                        <a:pt x="365" y="84"/>
                      </a:cubicBezTo>
                      <a:cubicBezTo>
                        <a:pt x="364" y="86"/>
                        <a:pt x="363" y="88"/>
                        <a:pt x="365" y="91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3" y="92"/>
                        <a:pt x="363" y="94"/>
                        <a:pt x="362" y="95"/>
                      </a:cubicBezTo>
                      <a:cubicBezTo>
                        <a:pt x="362" y="96"/>
                        <a:pt x="362" y="96"/>
                        <a:pt x="362" y="96"/>
                      </a:cubicBezTo>
                      <a:cubicBezTo>
                        <a:pt x="362" y="96"/>
                        <a:pt x="362" y="96"/>
                        <a:pt x="361" y="97"/>
                      </a:cubicBezTo>
                      <a:cubicBezTo>
                        <a:pt x="359" y="97"/>
                        <a:pt x="357" y="98"/>
                        <a:pt x="356" y="100"/>
                      </a:cubicBezTo>
                      <a:cubicBezTo>
                        <a:pt x="355" y="102"/>
                        <a:pt x="355" y="105"/>
                        <a:pt x="356" y="106"/>
                      </a:cubicBezTo>
                      <a:cubicBezTo>
                        <a:pt x="357" y="107"/>
                        <a:pt x="358" y="108"/>
                        <a:pt x="360" y="108"/>
                      </a:cubicBezTo>
                      <a:cubicBezTo>
                        <a:pt x="360" y="108"/>
                        <a:pt x="360" y="108"/>
                        <a:pt x="359" y="108"/>
                      </a:cubicBezTo>
                      <a:cubicBezTo>
                        <a:pt x="359" y="108"/>
                        <a:pt x="359" y="108"/>
                        <a:pt x="358" y="108"/>
                      </a:cubicBezTo>
                      <a:cubicBezTo>
                        <a:pt x="358" y="108"/>
                        <a:pt x="357" y="108"/>
                        <a:pt x="356" y="108"/>
                      </a:cubicBezTo>
                      <a:cubicBezTo>
                        <a:pt x="355" y="108"/>
                        <a:pt x="352" y="108"/>
                        <a:pt x="350" y="110"/>
                      </a:cubicBezTo>
                      <a:cubicBezTo>
                        <a:pt x="348" y="113"/>
                        <a:pt x="347" y="118"/>
                        <a:pt x="346" y="121"/>
                      </a:cubicBezTo>
                      <a:cubicBezTo>
                        <a:pt x="345" y="122"/>
                        <a:pt x="345" y="123"/>
                        <a:pt x="345" y="124"/>
                      </a:cubicBezTo>
                      <a:cubicBezTo>
                        <a:pt x="345" y="124"/>
                        <a:pt x="345" y="125"/>
                        <a:pt x="345" y="125"/>
                      </a:cubicBezTo>
                      <a:cubicBezTo>
                        <a:pt x="343" y="128"/>
                        <a:pt x="341" y="136"/>
                        <a:pt x="347" y="139"/>
                      </a:cubicBezTo>
                      <a:cubicBezTo>
                        <a:pt x="348" y="139"/>
                        <a:pt x="348" y="139"/>
                        <a:pt x="349" y="139"/>
                      </a:cubicBezTo>
                      <a:cubicBezTo>
                        <a:pt x="349" y="139"/>
                        <a:pt x="348" y="140"/>
                        <a:pt x="348" y="140"/>
                      </a:cubicBezTo>
                      <a:cubicBezTo>
                        <a:pt x="346" y="141"/>
                        <a:pt x="345" y="143"/>
                        <a:pt x="344" y="144"/>
                      </a:cubicBezTo>
                      <a:cubicBezTo>
                        <a:pt x="344" y="144"/>
                        <a:pt x="344" y="145"/>
                        <a:pt x="343" y="145"/>
                      </a:cubicBezTo>
                      <a:cubicBezTo>
                        <a:pt x="343" y="146"/>
                        <a:pt x="342" y="146"/>
                        <a:pt x="341" y="148"/>
                      </a:cubicBezTo>
                      <a:cubicBezTo>
                        <a:pt x="340" y="151"/>
                        <a:pt x="340" y="156"/>
                        <a:pt x="340" y="158"/>
                      </a:cubicBezTo>
                      <a:cubicBezTo>
                        <a:pt x="341" y="161"/>
                        <a:pt x="342" y="162"/>
                        <a:pt x="344" y="163"/>
                      </a:cubicBezTo>
                      <a:cubicBezTo>
                        <a:pt x="344" y="164"/>
                        <a:pt x="345" y="164"/>
                        <a:pt x="345" y="165"/>
                      </a:cubicBezTo>
                      <a:cubicBezTo>
                        <a:pt x="345" y="165"/>
                        <a:pt x="345" y="166"/>
                        <a:pt x="345" y="166"/>
                      </a:cubicBezTo>
                      <a:cubicBezTo>
                        <a:pt x="345" y="167"/>
                        <a:pt x="345" y="168"/>
                        <a:pt x="345" y="170"/>
                      </a:cubicBezTo>
                      <a:cubicBezTo>
                        <a:pt x="346" y="172"/>
                        <a:pt x="347" y="173"/>
                        <a:pt x="349" y="174"/>
                      </a:cubicBezTo>
                      <a:cubicBezTo>
                        <a:pt x="351" y="175"/>
                        <a:pt x="353" y="176"/>
                        <a:pt x="355" y="177"/>
                      </a:cubicBezTo>
                      <a:cubicBezTo>
                        <a:pt x="356" y="177"/>
                        <a:pt x="356" y="177"/>
                        <a:pt x="357" y="178"/>
                      </a:cubicBezTo>
                      <a:cubicBezTo>
                        <a:pt x="360" y="179"/>
                        <a:pt x="362" y="181"/>
                        <a:pt x="364" y="182"/>
                      </a:cubicBezTo>
                      <a:cubicBezTo>
                        <a:pt x="365" y="184"/>
                        <a:pt x="367" y="185"/>
                        <a:pt x="368" y="186"/>
                      </a:cubicBezTo>
                      <a:cubicBezTo>
                        <a:pt x="370" y="187"/>
                        <a:pt x="372" y="188"/>
                        <a:pt x="374" y="188"/>
                      </a:cubicBezTo>
                      <a:cubicBezTo>
                        <a:pt x="374" y="188"/>
                        <a:pt x="375" y="188"/>
                        <a:pt x="375" y="188"/>
                      </a:cubicBezTo>
                      <a:cubicBezTo>
                        <a:pt x="376" y="188"/>
                        <a:pt x="377" y="188"/>
                        <a:pt x="378" y="188"/>
                      </a:cubicBezTo>
                      <a:cubicBezTo>
                        <a:pt x="378" y="188"/>
                        <a:pt x="379" y="188"/>
                        <a:pt x="379" y="188"/>
                      </a:cubicBezTo>
                      <a:cubicBezTo>
                        <a:pt x="380" y="188"/>
                        <a:pt x="380" y="188"/>
                        <a:pt x="381" y="188"/>
                      </a:cubicBezTo>
                      <a:cubicBezTo>
                        <a:pt x="381" y="189"/>
                        <a:pt x="380" y="189"/>
                        <a:pt x="379" y="190"/>
                      </a:cubicBezTo>
                      <a:cubicBezTo>
                        <a:pt x="379" y="190"/>
                        <a:pt x="379" y="190"/>
                        <a:pt x="379" y="190"/>
                      </a:cubicBezTo>
                      <a:cubicBezTo>
                        <a:pt x="378" y="190"/>
                        <a:pt x="377" y="189"/>
                        <a:pt x="377" y="189"/>
                      </a:cubicBezTo>
                      <a:cubicBezTo>
                        <a:pt x="376" y="189"/>
                        <a:pt x="375" y="189"/>
                        <a:pt x="374" y="189"/>
                      </a:cubicBezTo>
                      <a:cubicBezTo>
                        <a:pt x="368" y="189"/>
                        <a:pt x="367" y="193"/>
                        <a:pt x="367" y="195"/>
                      </a:cubicBezTo>
                      <a:cubicBezTo>
                        <a:pt x="367" y="196"/>
                        <a:pt x="368" y="197"/>
                        <a:pt x="368" y="198"/>
                      </a:cubicBezTo>
                      <a:cubicBezTo>
                        <a:pt x="368" y="199"/>
                        <a:pt x="368" y="201"/>
                        <a:pt x="368" y="201"/>
                      </a:cubicBezTo>
                      <a:cubicBezTo>
                        <a:pt x="367" y="202"/>
                        <a:pt x="363" y="203"/>
                        <a:pt x="362" y="208"/>
                      </a:cubicBezTo>
                      <a:cubicBezTo>
                        <a:pt x="362" y="211"/>
                        <a:pt x="363" y="214"/>
                        <a:pt x="365" y="216"/>
                      </a:cubicBezTo>
                      <a:cubicBezTo>
                        <a:pt x="367" y="217"/>
                        <a:pt x="368" y="218"/>
                        <a:pt x="369" y="218"/>
                      </a:cubicBezTo>
                      <a:cubicBezTo>
                        <a:pt x="373" y="218"/>
                        <a:pt x="374" y="215"/>
                        <a:pt x="376" y="212"/>
                      </a:cubicBezTo>
                      <a:cubicBezTo>
                        <a:pt x="376" y="213"/>
                        <a:pt x="376" y="214"/>
                        <a:pt x="376" y="214"/>
                      </a:cubicBezTo>
                      <a:cubicBezTo>
                        <a:pt x="376" y="216"/>
                        <a:pt x="376" y="217"/>
                        <a:pt x="376" y="219"/>
                      </a:cubicBezTo>
                      <a:cubicBezTo>
                        <a:pt x="376" y="219"/>
                        <a:pt x="375" y="219"/>
                        <a:pt x="374" y="220"/>
                      </a:cubicBezTo>
                      <a:cubicBezTo>
                        <a:pt x="373" y="221"/>
                        <a:pt x="371" y="223"/>
                        <a:pt x="369" y="225"/>
                      </a:cubicBezTo>
                      <a:cubicBezTo>
                        <a:pt x="367" y="226"/>
                        <a:pt x="366" y="228"/>
                        <a:pt x="365" y="230"/>
                      </a:cubicBezTo>
                      <a:cubicBezTo>
                        <a:pt x="364" y="232"/>
                        <a:pt x="364" y="232"/>
                        <a:pt x="364" y="232"/>
                      </a:cubicBezTo>
                      <a:cubicBezTo>
                        <a:pt x="364" y="232"/>
                        <a:pt x="364" y="232"/>
                        <a:pt x="364" y="233"/>
                      </a:cubicBezTo>
                      <a:cubicBezTo>
                        <a:pt x="363" y="233"/>
                        <a:pt x="363" y="234"/>
                        <a:pt x="363" y="234"/>
                      </a:cubicBezTo>
                      <a:cubicBezTo>
                        <a:pt x="363" y="234"/>
                        <a:pt x="362" y="234"/>
                        <a:pt x="362" y="234"/>
                      </a:cubicBezTo>
                      <a:cubicBezTo>
                        <a:pt x="362" y="234"/>
                        <a:pt x="361" y="234"/>
                        <a:pt x="361" y="234"/>
                      </a:cubicBezTo>
                      <a:cubicBezTo>
                        <a:pt x="360" y="234"/>
                        <a:pt x="360" y="234"/>
                        <a:pt x="359" y="234"/>
                      </a:cubicBezTo>
                      <a:cubicBezTo>
                        <a:pt x="357" y="234"/>
                        <a:pt x="356" y="234"/>
                        <a:pt x="354" y="235"/>
                      </a:cubicBezTo>
                      <a:cubicBezTo>
                        <a:pt x="351" y="237"/>
                        <a:pt x="349" y="239"/>
                        <a:pt x="347" y="242"/>
                      </a:cubicBezTo>
                      <a:cubicBezTo>
                        <a:pt x="347" y="242"/>
                        <a:pt x="347" y="242"/>
                        <a:pt x="347" y="242"/>
                      </a:cubicBezTo>
                      <a:cubicBezTo>
                        <a:pt x="344" y="247"/>
                        <a:pt x="345" y="251"/>
                        <a:pt x="346" y="254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7" y="256"/>
                        <a:pt x="347" y="257"/>
                        <a:pt x="347" y="259"/>
                      </a:cubicBezTo>
                      <a:cubicBezTo>
                        <a:pt x="347" y="259"/>
                        <a:pt x="348" y="260"/>
                        <a:pt x="348" y="260"/>
                      </a:cubicBezTo>
                      <a:cubicBezTo>
                        <a:pt x="348" y="262"/>
                        <a:pt x="348" y="263"/>
                        <a:pt x="349" y="265"/>
                      </a:cubicBezTo>
                      <a:cubicBezTo>
                        <a:pt x="349" y="267"/>
                        <a:pt x="349" y="268"/>
                        <a:pt x="348" y="269"/>
                      </a:cubicBezTo>
                      <a:cubicBezTo>
                        <a:pt x="348" y="270"/>
                        <a:pt x="348" y="270"/>
                        <a:pt x="348" y="270"/>
                      </a:cubicBezTo>
                      <a:cubicBezTo>
                        <a:pt x="348" y="270"/>
                        <a:pt x="348" y="270"/>
                        <a:pt x="347" y="270"/>
                      </a:cubicBezTo>
                      <a:cubicBezTo>
                        <a:pt x="347" y="270"/>
                        <a:pt x="346" y="269"/>
                        <a:pt x="345" y="269"/>
                      </a:cubicBezTo>
                      <a:cubicBezTo>
                        <a:pt x="345" y="268"/>
                        <a:pt x="344" y="268"/>
                        <a:pt x="344" y="268"/>
                      </a:cubicBezTo>
                      <a:cubicBezTo>
                        <a:pt x="343" y="268"/>
                        <a:pt x="342" y="268"/>
                        <a:pt x="342" y="267"/>
                      </a:cubicBezTo>
                      <a:cubicBezTo>
                        <a:pt x="342" y="267"/>
                        <a:pt x="342" y="266"/>
                        <a:pt x="342" y="265"/>
                      </a:cubicBezTo>
                      <a:cubicBezTo>
                        <a:pt x="342" y="264"/>
                        <a:pt x="342" y="264"/>
                        <a:pt x="342" y="263"/>
                      </a:cubicBezTo>
                      <a:cubicBezTo>
                        <a:pt x="342" y="262"/>
                        <a:pt x="341" y="260"/>
                        <a:pt x="340" y="259"/>
                      </a:cubicBezTo>
                      <a:cubicBezTo>
                        <a:pt x="340" y="258"/>
                        <a:pt x="340" y="257"/>
                        <a:pt x="340" y="257"/>
                      </a:cubicBezTo>
                      <a:cubicBezTo>
                        <a:pt x="340" y="255"/>
                        <a:pt x="340" y="254"/>
                        <a:pt x="341" y="252"/>
                      </a:cubicBezTo>
                      <a:cubicBezTo>
                        <a:pt x="341" y="251"/>
                        <a:pt x="341" y="250"/>
                        <a:pt x="341" y="249"/>
                      </a:cubicBezTo>
                      <a:cubicBezTo>
                        <a:pt x="341" y="249"/>
                        <a:pt x="341" y="248"/>
                        <a:pt x="342" y="247"/>
                      </a:cubicBezTo>
                      <a:cubicBezTo>
                        <a:pt x="342" y="246"/>
                        <a:pt x="343" y="245"/>
                        <a:pt x="344" y="244"/>
                      </a:cubicBezTo>
                      <a:cubicBezTo>
                        <a:pt x="346" y="242"/>
                        <a:pt x="348" y="240"/>
                        <a:pt x="348" y="236"/>
                      </a:cubicBezTo>
                      <a:cubicBezTo>
                        <a:pt x="348" y="234"/>
                        <a:pt x="347" y="233"/>
                        <a:pt x="346" y="231"/>
                      </a:cubicBezTo>
                      <a:cubicBezTo>
                        <a:pt x="345" y="230"/>
                        <a:pt x="343" y="229"/>
                        <a:pt x="341" y="229"/>
                      </a:cubicBezTo>
                      <a:cubicBezTo>
                        <a:pt x="340" y="229"/>
                        <a:pt x="340" y="229"/>
                        <a:pt x="340" y="229"/>
                      </a:cubicBezTo>
                      <a:cubicBezTo>
                        <a:pt x="339" y="228"/>
                        <a:pt x="339" y="227"/>
                        <a:pt x="338" y="226"/>
                      </a:cubicBezTo>
                      <a:cubicBezTo>
                        <a:pt x="337" y="226"/>
                        <a:pt x="336" y="226"/>
                        <a:pt x="335" y="226"/>
                      </a:cubicBezTo>
                      <a:cubicBezTo>
                        <a:pt x="335" y="226"/>
                        <a:pt x="334" y="226"/>
                        <a:pt x="334" y="226"/>
                      </a:cubicBezTo>
                      <a:cubicBezTo>
                        <a:pt x="334" y="225"/>
                        <a:pt x="334" y="224"/>
                        <a:pt x="334" y="224"/>
                      </a:cubicBezTo>
                      <a:cubicBezTo>
                        <a:pt x="332" y="222"/>
                        <a:pt x="331" y="221"/>
                        <a:pt x="330" y="220"/>
                      </a:cubicBezTo>
                      <a:cubicBezTo>
                        <a:pt x="329" y="220"/>
                        <a:pt x="329" y="220"/>
                        <a:pt x="329" y="220"/>
                      </a:cubicBezTo>
                      <a:cubicBezTo>
                        <a:pt x="329" y="220"/>
                        <a:pt x="328" y="219"/>
                        <a:pt x="328" y="219"/>
                      </a:cubicBezTo>
                      <a:cubicBezTo>
                        <a:pt x="327" y="219"/>
                        <a:pt x="327" y="218"/>
                        <a:pt x="326" y="217"/>
                      </a:cubicBezTo>
                      <a:cubicBezTo>
                        <a:pt x="325" y="217"/>
                        <a:pt x="323" y="217"/>
                        <a:pt x="322" y="217"/>
                      </a:cubicBezTo>
                      <a:cubicBezTo>
                        <a:pt x="320" y="217"/>
                        <a:pt x="318" y="218"/>
                        <a:pt x="316" y="219"/>
                      </a:cubicBezTo>
                      <a:cubicBezTo>
                        <a:pt x="316" y="219"/>
                        <a:pt x="315" y="219"/>
                        <a:pt x="315" y="220"/>
                      </a:cubicBezTo>
                      <a:cubicBezTo>
                        <a:pt x="315" y="220"/>
                        <a:pt x="315" y="220"/>
                        <a:pt x="314" y="220"/>
                      </a:cubicBezTo>
                      <a:cubicBezTo>
                        <a:pt x="314" y="220"/>
                        <a:pt x="314" y="220"/>
                        <a:pt x="313" y="220"/>
                      </a:cubicBezTo>
                      <a:cubicBezTo>
                        <a:pt x="313" y="220"/>
                        <a:pt x="312" y="220"/>
                        <a:pt x="312" y="220"/>
                      </a:cubicBezTo>
                      <a:cubicBezTo>
                        <a:pt x="310" y="220"/>
                        <a:pt x="308" y="220"/>
                        <a:pt x="307" y="221"/>
                      </a:cubicBezTo>
                      <a:cubicBezTo>
                        <a:pt x="304" y="224"/>
                        <a:pt x="305" y="228"/>
                        <a:pt x="305" y="230"/>
                      </a:cubicBezTo>
                      <a:cubicBezTo>
                        <a:pt x="305" y="231"/>
                        <a:pt x="305" y="231"/>
                        <a:pt x="305" y="231"/>
                      </a:cubicBezTo>
                      <a:cubicBezTo>
                        <a:pt x="306" y="233"/>
                        <a:pt x="306" y="238"/>
                        <a:pt x="310" y="240"/>
                      </a:cubicBezTo>
                      <a:cubicBezTo>
                        <a:pt x="312" y="241"/>
                        <a:pt x="313" y="242"/>
                        <a:pt x="315" y="242"/>
                      </a:cubicBezTo>
                      <a:cubicBezTo>
                        <a:pt x="317" y="242"/>
                        <a:pt x="319" y="241"/>
                        <a:pt x="320" y="241"/>
                      </a:cubicBezTo>
                      <a:cubicBezTo>
                        <a:pt x="321" y="241"/>
                        <a:pt x="321" y="241"/>
                        <a:pt x="321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2"/>
                        <a:pt x="322" y="242"/>
                      </a:cubicBezTo>
                      <a:cubicBezTo>
                        <a:pt x="323" y="243"/>
                        <a:pt x="323" y="244"/>
                        <a:pt x="324" y="246"/>
                      </a:cubicBezTo>
                      <a:cubicBezTo>
                        <a:pt x="324" y="247"/>
                        <a:pt x="324" y="247"/>
                        <a:pt x="324" y="248"/>
                      </a:cubicBezTo>
                      <a:cubicBezTo>
                        <a:pt x="324" y="249"/>
                        <a:pt x="322" y="250"/>
                        <a:pt x="321" y="250"/>
                      </a:cubicBezTo>
                      <a:cubicBezTo>
                        <a:pt x="320" y="250"/>
                        <a:pt x="320" y="250"/>
                        <a:pt x="320" y="250"/>
                      </a:cubicBezTo>
                      <a:cubicBezTo>
                        <a:pt x="319" y="249"/>
                        <a:pt x="318" y="248"/>
                        <a:pt x="317" y="247"/>
                      </a:cubicBezTo>
                      <a:cubicBezTo>
                        <a:pt x="317" y="246"/>
                        <a:pt x="316" y="244"/>
                        <a:pt x="314" y="243"/>
                      </a:cubicBezTo>
                      <a:cubicBezTo>
                        <a:pt x="313" y="242"/>
                        <a:pt x="310" y="241"/>
                        <a:pt x="308" y="241"/>
                      </a:cubicBezTo>
                      <a:cubicBezTo>
                        <a:pt x="305" y="241"/>
                        <a:pt x="303" y="242"/>
                        <a:pt x="301" y="243"/>
                      </a:cubicBezTo>
                      <a:cubicBezTo>
                        <a:pt x="300" y="243"/>
                        <a:pt x="300" y="243"/>
                        <a:pt x="300" y="243"/>
                      </a:cubicBezTo>
                      <a:cubicBezTo>
                        <a:pt x="299" y="243"/>
                        <a:pt x="299" y="244"/>
                        <a:pt x="298" y="244"/>
                      </a:cubicBezTo>
                      <a:cubicBezTo>
                        <a:pt x="298" y="244"/>
                        <a:pt x="298" y="244"/>
                        <a:pt x="298" y="244"/>
                      </a:cubicBezTo>
                      <a:cubicBezTo>
                        <a:pt x="297" y="243"/>
                        <a:pt x="297" y="242"/>
                        <a:pt x="296" y="242"/>
                      </a:cubicBezTo>
                      <a:cubicBezTo>
                        <a:pt x="295" y="241"/>
                        <a:pt x="294" y="240"/>
                        <a:pt x="293" y="239"/>
                      </a:cubicBezTo>
                      <a:cubicBezTo>
                        <a:pt x="291" y="238"/>
                        <a:pt x="290" y="238"/>
                        <a:pt x="289" y="238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7" y="238"/>
                        <a:pt x="287" y="238"/>
                        <a:pt x="287" y="238"/>
                      </a:cubicBezTo>
                      <a:cubicBezTo>
                        <a:pt x="286" y="238"/>
                        <a:pt x="285" y="237"/>
                        <a:pt x="284" y="237"/>
                      </a:cubicBezTo>
                      <a:cubicBezTo>
                        <a:pt x="282" y="236"/>
                        <a:pt x="281" y="236"/>
                        <a:pt x="279" y="236"/>
                      </a:cubicBezTo>
                      <a:cubicBezTo>
                        <a:pt x="278" y="236"/>
                        <a:pt x="278" y="236"/>
                        <a:pt x="277" y="236"/>
                      </a:cubicBezTo>
                      <a:cubicBezTo>
                        <a:pt x="274" y="236"/>
                        <a:pt x="271" y="236"/>
                        <a:pt x="269" y="237"/>
                      </a:cubicBezTo>
                      <a:cubicBezTo>
                        <a:pt x="268" y="237"/>
                        <a:pt x="267" y="237"/>
                        <a:pt x="267" y="237"/>
                      </a:cubicBezTo>
                      <a:cubicBezTo>
                        <a:pt x="265" y="238"/>
                        <a:pt x="264" y="238"/>
                        <a:pt x="262" y="238"/>
                      </a:cubicBezTo>
                      <a:cubicBezTo>
                        <a:pt x="262" y="238"/>
                        <a:pt x="261" y="238"/>
                        <a:pt x="261" y="237"/>
                      </a:cubicBezTo>
                      <a:cubicBezTo>
                        <a:pt x="260" y="236"/>
                        <a:pt x="260" y="236"/>
                        <a:pt x="258" y="235"/>
                      </a:cubicBezTo>
                      <a:cubicBezTo>
                        <a:pt x="257" y="234"/>
                        <a:pt x="256" y="234"/>
                        <a:pt x="255" y="234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4" y="237"/>
                        <a:pt x="254" y="237"/>
                        <a:pt x="254" y="237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2" y="234"/>
                        <a:pt x="251" y="234"/>
                        <a:pt x="250" y="232"/>
                      </a:cubicBezTo>
                      <a:cubicBezTo>
                        <a:pt x="249" y="231"/>
                        <a:pt x="249" y="231"/>
                        <a:pt x="248" y="230"/>
                      </a:cubicBezTo>
                      <a:cubicBezTo>
                        <a:pt x="247" y="230"/>
                        <a:pt x="247" y="229"/>
                        <a:pt x="246" y="229"/>
                      </a:cubicBezTo>
                      <a:cubicBezTo>
                        <a:pt x="246" y="229"/>
                        <a:pt x="246" y="229"/>
                        <a:pt x="246" y="229"/>
                      </a:cubicBezTo>
                      <a:cubicBezTo>
                        <a:pt x="246" y="228"/>
                        <a:pt x="245" y="227"/>
                        <a:pt x="245" y="227"/>
                      </a:cubicBezTo>
                      <a:cubicBezTo>
                        <a:pt x="244" y="226"/>
                        <a:pt x="244" y="226"/>
                        <a:pt x="244" y="226"/>
                      </a:cubicBezTo>
                      <a:cubicBezTo>
                        <a:pt x="243" y="222"/>
                        <a:pt x="241" y="218"/>
                        <a:pt x="236" y="218"/>
                      </a:cubicBezTo>
                      <a:cubicBezTo>
                        <a:pt x="235" y="218"/>
                        <a:pt x="235" y="218"/>
                        <a:pt x="234" y="218"/>
                      </a:cubicBezTo>
                      <a:cubicBezTo>
                        <a:pt x="233" y="218"/>
                        <a:pt x="231" y="219"/>
                        <a:pt x="229" y="219"/>
                      </a:cubicBezTo>
                      <a:cubicBezTo>
                        <a:pt x="228" y="219"/>
                        <a:pt x="227" y="218"/>
                        <a:pt x="227" y="218"/>
                      </a:cubicBezTo>
                      <a:cubicBezTo>
                        <a:pt x="226" y="218"/>
                        <a:pt x="225" y="215"/>
                        <a:pt x="225" y="214"/>
                      </a:cubicBezTo>
                      <a:cubicBezTo>
                        <a:pt x="225" y="213"/>
                        <a:pt x="225" y="213"/>
                        <a:pt x="225" y="213"/>
                      </a:cubicBezTo>
                      <a:cubicBezTo>
                        <a:pt x="224" y="211"/>
                        <a:pt x="223" y="209"/>
                        <a:pt x="222" y="207"/>
                      </a:cubicBezTo>
                      <a:cubicBezTo>
                        <a:pt x="220" y="205"/>
                        <a:pt x="218" y="205"/>
                        <a:pt x="217" y="205"/>
                      </a:cubicBezTo>
                      <a:cubicBezTo>
                        <a:pt x="217" y="205"/>
                        <a:pt x="217" y="204"/>
                        <a:pt x="217" y="204"/>
                      </a:cubicBezTo>
                      <a:cubicBezTo>
                        <a:pt x="217" y="204"/>
                        <a:pt x="217" y="202"/>
                        <a:pt x="217" y="201"/>
                      </a:cubicBezTo>
                      <a:cubicBezTo>
                        <a:pt x="217" y="201"/>
                        <a:pt x="217" y="201"/>
                        <a:pt x="217" y="201"/>
                      </a:cubicBezTo>
                      <a:cubicBezTo>
                        <a:pt x="217" y="199"/>
                        <a:pt x="217" y="198"/>
                        <a:pt x="218" y="197"/>
                      </a:cubicBezTo>
                      <a:cubicBezTo>
                        <a:pt x="218" y="194"/>
                        <a:pt x="219" y="190"/>
                        <a:pt x="217" y="185"/>
                      </a:cubicBezTo>
                      <a:cubicBezTo>
                        <a:pt x="216" y="184"/>
                        <a:pt x="214" y="179"/>
                        <a:pt x="208" y="179"/>
                      </a:cubicBezTo>
                      <a:cubicBezTo>
                        <a:pt x="207" y="179"/>
                        <a:pt x="206" y="179"/>
                        <a:pt x="205" y="179"/>
                      </a:cubicBezTo>
                      <a:cubicBezTo>
                        <a:pt x="203" y="179"/>
                        <a:pt x="200" y="179"/>
                        <a:pt x="197" y="179"/>
                      </a:cubicBezTo>
                      <a:cubicBezTo>
                        <a:pt x="194" y="180"/>
                        <a:pt x="193" y="180"/>
                        <a:pt x="191" y="182"/>
                      </a:cubicBezTo>
                      <a:cubicBezTo>
                        <a:pt x="190" y="182"/>
                        <a:pt x="189" y="182"/>
                        <a:pt x="188" y="182"/>
                      </a:cubicBezTo>
                      <a:cubicBezTo>
                        <a:pt x="187" y="182"/>
                        <a:pt x="185" y="182"/>
                        <a:pt x="184" y="182"/>
                      </a:cubicBezTo>
                      <a:cubicBezTo>
                        <a:pt x="182" y="181"/>
                        <a:pt x="180" y="181"/>
                        <a:pt x="179" y="181"/>
                      </a:cubicBezTo>
                      <a:cubicBezTo>
                        <a:pt x="178" y="181"/>
                        <a:pt x="177" y="181"/>
                        <a:pt x="176" y="181"/>
                      </a:cubicBezTo>
                      <a:cubicBezTo>
                        <a:pt x="176" y="181"/>
                        <a:pt x="174" y="182"/>
                        <a:pt x="173" y="183"/>
                      </a:cubicBezTo>
                      <a:cubicBezTo>
                        <a:pt x="172" y="184"/>
                        <a:pt x="172" y="184"/>
                        <a:pt x="171" y="185"/>
                      </a:cubicBezTo>
                      <a:cubicBezTo>
                        <a:pt x="171" y="185"/>
                        <a:pt x="171" y="185"/>
                        <a:pt x="170" y="185"/>
                      </a:cubicBezTo>
                      <a:cubicBezTo>
                        <a:pt x="168" y="186"/>
                        <a:pt x="166" y="187"/>
                        <a:pt x="165" y="190"/>
                      </a:cubicBezTo>
                      <a:cubicBezTo>
                        <a:pt x="163" y="194"/>
                        <a:pt x="166" y="199"/>
                        <a:pt x="167" y="200"/>
                      </a:cubicBezTo>
                      <a:cubicBezTo>
                        <a:pt x="167" y="201"/>
                        <a:pt x="167" y="201"/>
                        <a:pt x="167" y="201"/>
                      </a:cubicBezTo>
                      <a:cubicBezTo>
                        <a:pt x="168" y="202"/>
                        <a:pt x="170" y="204"/>
                        <a:pt x="171" y="205"/>
                      </a:cubicBezTo>
                      <a:cubicBezTo>
                        <a:pt x="172" y="205"/>
                        <a:pt x="174" y="205"/>
                        <a:pt x="175" y="205"/>
                      </a:cubicBezTo>
                      <a:cubicBezTo>
                        <a:pt x="178" y="205"/>
                        <a:pt x="180" y="204"/>
                        <a:pt x="181" y="201"/>
                      </a:cubicBezTo>
                      <a:cubicBezTo>
                        <a:pt x="181" y="201"/>
                        <a:pt x="182" y="199"/>
                        <a:pt x="183" y="199"/>
                      </a:cubicBezTo>
                      <a:cubicBezTo>
                        <a:pt x="183" y="199"/>
                        <a:pt x="183" y="199"/>
                        <a:pt x="183" y="199"/>
                      </a:cubicBezTo>
                      <a:cubicBezTo>
                        <a:pt x="183" y="200"/>
                        <a:pt x="184" y="203"/>
                        <a:pt x="188" y="204"/>
                      </a:cubicBezTo>
                      <a:cubicBezTo>
                        <a:pt x="191" y="204"/>
                        <a:pt x="194" y="202"/>
                        <a:pt x="196" y="200"/>
                      </a:cubicBezTo>
                      <a:cubicBezTo>
                        <a:pt x="197" y="200"/>
                        <a:pt x="198" y="199"/>
                        <a:pt x="199" y="199"/>
                      </a:cubicBezTo>
                      <a:cubicBezTo>
                        <a:pt x="201" y="198"/>
                        <a:pt x="203" y="197"/>
                        <a:pt x="205" y="197"/>
                      </a:cubicBezTo>
                      <a:cubicBezTo>
                        <a:pt x="205" y="196"/>
                        <a:pt x="206" y="196"/>
                        <a:pt x="207" y="196"/>
                      </a:cubicBezTo>
                      <a:cubicBezTo>
                        <a:pt x="207" y="196"/>
                        <a:pt x="207" y="196"/>
                        <a:pt x="207" y="196"/>
                      </a:cubicBezTo>
                      <a:cubicBezTo>
                        <a:pt x="207" y="198"/>
                        <a:pt x="201" y="200"/>
                        <a:pt x="198" y="202"/>
                      </a:cubicBezTo>
                      <a:cubicBezTo>
                        <a:pt x="197" y="202"/>
                        <a:pt x="196" y="203"/>
                        <a:pt x="196" y="203"/>
                      </a:cubicBezTo>
                      <a:cubicBezTo>
                        <a:pt x="193" y="204"/>
                        <a:pt x="190" y="205"/>
                        <a:pt x="187" y="205"/>
                      </a:cubicBezTo>
                      <a:cubicBezTo>
                        <a:pt x="183" y="205"/>
                        <a:pt x="179" y="206"/>
                        <a:pt x="176" y="208"/>
                      </a:cubicBezTo>
                      <a:cubicBezTo>
                        <a:pt x="166" y="213"/>
                        <a:pt x="168" y="219"/>
                        <a:pt x="169" y="224"/>
                      </a:cubicBezTo>
                      <a:cubicBezTo>
                        <a:pt x="170" y="226"/>
                        <a:pt x="170" y="228"/>
                        <a:pt x="170" y="230"/>
                      </a:cubicBezTo>
                      <a:cubicBezTo>
                        <a:pt x="171" y="231"/>
                        <a:pt x="171" y="233"/>
                        <a:pt x="170" y="235"/>
                      </a:cubicBezTo>
                      <a:cubicBezTo>
                        <a:pt x="170" y="236"/>
                        <a:pt x="170" y="238"/>
                        <a:pt x="170" y="241"/>
                      </a:cubicBezTo>
                      <a:cubicBezTo>
                        <a:pt x="170" y="242"/>
                        <a:pt x="170" y="243"/>
                        <a:pt x="171" y="244"/>
                      </a:cubicBezTo>
                      <a:cubicBezTo>
                        <a:pt x="171" y="246"/>
                        <a:pt x="172" y="248"/>
                        <a:pt x="171" y="249"/>
                      </a:cubicBezTo>
                      <a:cubicBezTo>
                        <a:pt x="171" y="250"/>
                        <a:pt x="168" y="250"/>
                        <a:pt x="166" y="250"/>
                      </a:cubicBezTo>
                      <a:cubicBezTo>
                        <a:pt x="164" y="250"/>
                        <a:pt x="163" y="250"/>
                        <a:pt x="163" y="250"/>
                      </a:cubicBezTo>
                      <a:cubicBezTo>
                        <a:pt x="163" y="250"/>
                        <a:pt x="162" y="249"/>
                        <a:pt x="162" y="247"/>
                      </a:cubicBezTo>
                      <a:cubicBezTo>
                        <a:pt x="162" y="246"/>
                        <a:pt x="162" y="245"/>
                        <a:pt x="162" y="244"/>
                      </a:cubicBezTo>
                      <a:cubicBezTo>
                        <a:pt x="163" y="244"/>
                        <a:pt x="163" y="244"/>
                        <a:pt x="164" y="243"/>
                      </a:cubicBezTo>
                      <a:cubicBezTo>
                        <a:pt x="167" y="242"/>
                        <a:pt x="169" y="237"/>
                        <a:pt x="168" y="233"/>
                      </a:cubicBezTo>
                      <a:cubicBezTo>
                        <a:pt x="168" y="230"/>
                        <a:pt x="166" y="227"/>
                        <a:pt x="164" y="226"/>
                      </a:cubicBezTo>
                      <a:cubicBezTo>
                        <a:pt x="162" y="225"/>
                        <a:pt x="160" y="225"/>
                        <a:pt x="159" y="225"/>
                      </a:cubicBezTo>
                      <a:cubicBezTo>
                        <a:pt x="158" y="224"/>
                        <a:pt x="158" y="224"/>
                        <a:pt x="158" y="224"/>
                      </a:cubicBezTo>
                      <a:cubicBezTo>
                        <a:pt x="157" y="224"/>
                        <a:pt x="158" y="221"/>
                        <a:pt x="158" y="220"/>
                      </a:cubicBezTo>
                      <a:cubicBezTo>
                        <a:pt x="158" y="218"/>
                        <a:pt x="159" y="216"/>
                        <a:pt x="158" y="214"/>
                      </a:cubicBezTo>
                      <a:cubicBezTo>
                        <a:pt x="157" y="210"/>
                        <a:pt x="154" y="209"/>
                        <a:pt x="152" y="209"/>
                      </a:cubicBezTo>
                      <a:cubicBezTo>
                        <a:pt x="151" y="209"/>
                        <a:pt x="150" y="207"/>
                        <a:pt x="149" y="207"/>
                      </a:cubicBezTo>
                      <a:cubicBezTo>
                        <a:pt x="149" y="206"/>
                        <a:pt x="149" y="205"/>
                        <a:pt x="149" y="204"/>
                      </a:cubicBezTo>
                      <a:cubicBezTo>
                        <a:pt x="149" y="202"/>
                        <a:pt x="149" y="198"/>
                        <a:pt x="146" y="196"/>
                      </a:cubicBezTo>
                      <a:cubicBezTo>
                        <a:pt x="145" y="196"/>
                        <a:pt x="144" y="196"/>
                        <a:pt x="143" y="196"/>
                      </a:cubicBezTo>
                      <a:cubicBezTo>
                        <a:pt x="143" y="196"/>
                        <a:pt x="143" y="196"/>
                        <a:pt x="142" y="196"/>
                      </a:cubicBezTo>
                      <a:cubicBezTo>
                        <a:pt x="141" y="196"/>
                        <a:pt x="141" y="196"/>
                        <a:pt x="140" y="196"/>
                      </a:cubicBezTo>
                      <a:cubicBezTo>
                        <a:pt x="138" y="196"/>
                        <a:pt x="137" y="196"/>
                        <a:pt x="136" y="196"/>
                      </a:cubicBezTo>
                      <a:cubicBezTo>
                        <a:pt x="135" y="197"/>
                        <a:pt x="135" y="197"/>
                        <a:pt x="135" y="197"/>
                      </a:cubicBezTo>
                      <a:cubicBezTo>
                        <a:pt x="134" y="198"/>
                        <a:pt x="133" y="198"/>
                        <a:pt x="132" y="198"/>
                      </a:cubicBezTo>
                      <a:cubicBezTo>
                        <a:pt x="131" y="198"/>
                        <a:pt x="131" y="198"/>
                        <a:pt x="130" y="198"/>
                      </a:cubicBezTo>
                      <a:cubicBezTo>
                        <a:pt x="127" y="198"/>
                        <a:pt x="124" y="197"/>
                        <a:pt x="121" y="197"/>
                      </a:cubicBezTo>
                      <a:cubicBezTo>
                        <a:pt x="120" y="197"/>
                        <a:pt x="120" y="196"/>
                        <a:pt x="119" y="196"/>
                      </a:cubicBezTo>
                      <a:cubicBezTo>
                        <a:pt x="118" y="196"/>
                        <a:pt x="116" y="196"/>
                        <a:pt x="115" y="195"/>
                      </a:cubicBezTo>
                      <a:cubicBezTo>
                        <a:pt x="113" y="195"/>
                        <a:pt x="113" y="195"/>
                        <a:pt x="113" y="195"/>
                      </a:cubicBezTo>
                      <a:cubicBezTo>
                        <a:pt x="112" y="195"/>
                        <a:pt x="110" y="195"/>
                        <a:pt x="109" y="194"/>
                      </a:cubicBezTo>
                      <a:cubicBezTo>
                        <a:pt x="108" y="194"/>
                        <a:pt x="106" y="194"/>
                        <a:pt x="105" y="193"/>
                      </a:cubicBezTo>
                      <a:cubicBezTo>
                        <a:pt x="103" y="193"/>
                        <a:pt x="101" y="192"/>
                        <a:pt x="99" y="191"/>
                      </a:cubicBezTo>
                      <a:cubicBezTo>
                        <a:pt x="98" y="191"/>
                        <a:pt x="98" y="191"/>
                        <a:pt x="98" y="191"/>
                      </a:cubicBezTo>
                      <a:cubicBezTo>
                        <a:pt x="97" y="191"/>
                        <a:pt x="97" y="191"/>
                        <a:pt x="96" y="191"/>
                      </a:cubicBezTo>
                      <a:cubicBezTo>
                        <a:pt x="96" y="190"/>
                        <a:pt x="96" y="190"/>
                        <a:pt x="96" y="190"/>
                      </a:cubicBezTo>
                      <a:cubicBezTo>
                        <a:pt x="95" y="189"/>
                        <a:pt x="95" y="188"/>
                        <a:pt x="93" y="187"/>
                      </a:cubicBezTo>
                      <a:cubicBezTo>
                        <a:pt x="92" y="186"/>
                        <a:pt x="92" y="186"/>
                        <a:pt x="91" y="186"/>
                      </a:cubicBezTo>
                      <a:cubicBezTo>
                        <a:pt x="91" y="186"/>
                        <a:pt x="90" y="186"/>
                        <a:pt x="90" y="185"/>
                      </a:cubicBezTo>
                      <a:cubicBezTo>
                        <a:pt x="89" y="185"/>
                        <a:pt x="89" y="185"/>
                        <a:pt x="88" y="184"/>
                      </a:cubicBezTo>
                      <a:cubicBezTo>
                        <a:pt x="88" y="184"/>
                        <a:pt x="87" y="183"/>
                        <a:pt x="86" y="182"/>
                      </a:cubicBezTo>
                      <a:cubicBezTo>
                        <a:pt x="84" y="182"/>
                        <a:pt x="83" y="181"/>
                        <a:pt x="81" y="181"/>
                      </a:cubicBezTo>
                      <a:cubicBezTo>
                        <a:pt x="81" y="180"/>
                        <a:pt x="81" y="180"/>
                        <a:pt x="81" y="180"/>
                      </a:cubicBezTo>
                      <a:cubicBezTo>
                        <a:pt x="78" y="179"/>
                        <a:pt x="76" y="178"/>
                        <a:pt x="75" y="177"/>
                      </a:cubicBezTo>
                      <a:cubicBezTo>
                        <a:pt x="78" y="176"/>
                        <a:pt x="79" y="173"/>
                        <a:pt x="79" y="172"/>
                      </a:cubicBezTo>
                      <a:cubicBezTo>
                        <a:pt x="80" y="171"/>
                        <a:pt x="80" y="171"/>
                        <a:pt x="82" y="170"/>
                      </a:cubicBezTo>
                      <a:cubicBezTo>
                        <a:pt x="84" y="170"/>
                        <a:pt x="85" y="170"/>
                        <a:pt x="87" y="170"/>
                      </a:cubicBezTo>
                      <a:cubicBezTo>
                        <a:pt x="89" y="170"/>
                        <a:pt x="91" y="170"/>
                        <a:pt x="92" y="171"/>
                      </a:cubicBezTo>
                      <a:cubicBezTo>
                        <a:pt x="93" y="171"/>
                        <a:pt x="93" y="171"/>
                        <a:pt x="94" y="171"/>
                      </a:cubicBezTo>
                      <a:cubicBezTo>
                        <a:pt x="97" y="171"/>
                        <a:pt x="100" y="169"/>
                        <a:pt x="101" y="166"/>
                      </a:cubicBezTo>
                      <a:cubicBezTo>
                        <a:pt x="103" y="164"/>
                        <a:pt x="102" y="161"/>
                        <a:pt x="101" y="159"/>
                      </a:cubicBezTo>
                      <a:cubicBezTo>
                        <a:pt x="100" y="159"/>
                        <a:pt x="100" y="158"/>
                        <a:pt x="100" y="158"/>
                      </a:cubicBezTo>
                      <a:cubicBezTo>
                        <a:pt x="100" y="154"/>
                        <a:pt x="98" y="150"/>
                        <a:pt x="96" y="148"/>
                      </a:cubicBezTo>
                      <a:cubicBezTo>
                        <a:pt x="95" y="147"/>
                        <a:pt x="95" y="145"/>
                        <a:pt x="94" y="144"/>
                      </a:cubicBezTo>
                      <a:cubicBezTo>
                        <a:pt x="94" y="143"/>
                        <a:pt x="94" y="143"/>
                        <a:pt x="94" y="143"/>
                      </a:cubicBezTo>
                      <a:cubicBezTo>
                        <a:pt x="93" y="141"/>
                        <a:pt x="90" y="134"/>
                        <a:pt x="85" y="132"/>
                      </a:cubicBezTo>
                      <a:cubicBezTo>
                        <a:pt x="84" y="131"/>
                        <a:pt x="82" y="131"/>
                        <a:pt x="81" y="131"/>
                      </a:cubicBezTo>
                      <a:cubicBezTo>
                        <a:pt x="79" y="131"/>
                        <a:pt x="77" y="131"/>
                        <a:pt x="76" y="131"/>
                      </a:cubicBezTo>
                      <a:cubicBezTo>
                        <a:pt x="75" y="132"/>
                        <a:pt x="75" y="132"/>
                        <a:pt x="75" y="132"/>
                      </a:cubicBezTo>
                      <a:cubicBezTo>
                        <a:pt x="74" y="132"/>
                        <a:pt x="73" y="131"/>
                        <a:pt x="72" y="130"/>
                      </a:cubicBezTo>
                      <a:cubicBezTo>
                        <a:pt x="71" y="129"/>
                        <a:pt x="71" y="129"/>
                        <a:pt x="71" y="129"/>
                      </a:cubicBezTo>
                      <a:cubicBezTo>
                        <a:pt x="70" y="128"/>
                        <a:pt x="68" y="127"/>
                        <a:pt x="67" y="126"/>
                      </a:cubicBezTo>
                      <a:cubicBezTo>
                        <a:pt x="65" y="124"/>
                        <a:pt x="63" y="123"/>
                        <a:pt x="61" y="121"/>
                      </a:cubicBezTo>
                      <a:cubicBezTo>
                        <a:pt x="59" y="118"/>
                        <a:pt x="57" y="116"/>
                        <a:pt x="56" y="113"/>
                      </a:cubicBezTo>
                      <a:cubicBezTo>
                        <a:pt x="55" y="110"/>
                        <a:pt x="53" y="106"/>
                        <a:pt x="49" y="102"/>
                      </a:cubicBezTo>
                      <a:cubicBezTo>
                        <a:pt x="46" y="100"/>
                        <a:pt x="44" y="99"/>
                        <a:pt x="42" y="98"/>
                      </a:cubicBezTo>
                      <a:cubicBezTo>
                        <a:pt x="41" y="97"/>
                        <a:pt x="41" y="97"/>
                        <a:pt x="41" y="97"/>
                      </a:cubicBezTo>
                      <a:cubicBezTo>
                        <a:pt x="40" y="97"/>
                        <a:pt x="40" y="96"/>
                        <a:pt x="39" y="95"/>
                      </a:cubicBezTo>
                      <a:cubicBezTo>
                        <a:pt x="39" y="94"/>
                        <a:pt x="39" y="94"/>
                        <a:pt x="39" y="94"/>
                      </a:cubicBezTo>
                      <a:cubicBezTo>
                        <a:pt x="37" y="91"/>
                        <a:pt x="35" y="89"/>
                        <a:pt x="34" y="86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63" y="257"/>
                        <a:pt x="63" y="257"/>
                        <a:pt x="63" y="257"/>
                      </a:cubicBezTo>
                      <a:cubicBezTo>
                        <a:pt x="74" y="287"/>
                        <a:pt x="101" y="288"/>
                        <a:pt x="103" y="288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228" y="374"/>
                        <a:pt x="228" y="374"/>
                        <a:pt x="228" y="374"/>
                      </a:cubicBezTo>
                      <a:cubicBezTo>
                        <a:pt x="224" y="384"/>
                        <a:pt x="215" y="434"/>
                        <a:pt x="200" y="526"/>
                      </a:cubicBezTo>
                      <a:cubicBezTo>
                        <a:pt x="199" y="529"/>
                        <a:pt x="199" y="529"/>
                        <a:pt x="199" y="529"/>
                      </a:cubicBezTo>
                      <a:cubicBezTo>
                        <a:pt x="339" y="547"/>
                        <a:pt x="339" y="547"/>
                        <a:pt x="339" y="547"/>
                      </a:cubicBezTo>
                      <a:cubicBezTo>
                        <a:pt x="339" y="545"/>
                        <a:pt x="339" y="545"/>
                        <a:pt x="339" y="545"/>
                      </a:cubicBezTo>
                      <a:cubicBezTo>
                        <a:pt x="340" y="543"/>
                        <a:pt x="340" y="541"/>
                        <a:pt x="341" y="540"/>
                      </a:cubicBezTo>
                      <a:cubicBezTo>
                        <a:pt x="341" y="538"/>
                        <a:pt x="342" y="537"/>
                        <a:pt x="342" y="535"/>
                      </a:cubicBezTo>
                      <a:cubicBezTo>
                        <a:pt x="342" y="535"/>
                        <a:pt x="343" y="534"/>
                        <a:pt x="343" y="534"/>
                      </a:cubicBezTo>
                      <a:cubicBezTo>
                        <a:pt x="343" y="533"/>
                        <a:pt x="343" y="533"/>
                        <a:pt x="343" y="532"/>
                      </a:cubicBezTo>
                      <a:cubicBezTo>
                        <a:pt x="343" y="531"/>
                        <a:pt x="344" y="531"/>
                        <a:pt x="344" y="530"/>
                      </a:cubicBezTo>
                      <a:cubicBezTo>
                        <a:pt x="345" y="529"/>
                        <a:pt x="346" y="528"/>
                        <a:pt x="346" y="526"/>
                      </a:cubicBezTo>
                      <a:cubicBezTo>
                        <a:pt x="347" y="525"/>
                        <a:pt x="348" y="524"/>
                        <a:pt x="348" y="522"/>
                      </a:cubicBezTo>
                      <a:cubicBezTo>
                        <a:pt x="349" y="519"/>
                        <a:pt x="351" y="516"/>
                        <a:pt x="353" y="514"/>
                      </a:cubicBezTo>
                      <a:cubicBezTo>
                        <a:pt x="353" y="514"/>
                        <a:pt x="353" y="513"/>
                        <a:pt x="354" y="513"/>
                      </a:cubicBezTo>
                      <a:cubicBezTo>
                        <a:pt x="354" y="512"/>
                        <a:pt x="355" y="512"/>
                        <a:pt x="356" y="510"/>
                      </a:cubicBezTo>
                      <a:cubicBezTo>
                        <a:pt x="357" y="509"/>
                        <a:pt x="357" y="507"/>
                        <a:pt x="357" y="506"/>
                      </a:cubicBezTo>
                      <a:cubicBezTo>
                        <a:pt x="357" y="506"/>
                        <a:pt x="357" y="505"/>
                        <a:pt x="357" y="505"/>
                      </a:cubicBezTo>
                      <a:cubicBezTo>
                        <a:pt x="357" y="504"/>
                        <a:pt x="357" y="503"/>
                        <a:pt x="357" y="502"/>
                      </a:cubicBezTo>
                      <a:cubicBezTo>
                        <a:pt x="357" y="500"/>
                        <a:pt x="357" y="497"/>
                        <a:pt x="358" y="496"/>
                      </a:cubicBezTo>
                      <a:cubicBezTo>
                        <a:pt x="360" y="494"/>
                        <a:pt x="362" y="492"/>
                        <a:pt x="364" y="490"/>
                      </a:cubicBezTo>
                      <a:cubicBezTo>
                        <a:pt x="366" y="487"/>
                        <a:pt x="366" y="487"/>
                        <a:pt x="366" y="487"/>
                      </a:cubicBezTo>
                      <a:cubicBezTo>
                        <a:pt x="368" y="485"/>
                        <a:pt x="370" y="484"/>
                        <a:pt x="370" y="480"/>
                      </a:cubicBezTo>
                      <a:cubicBezTo>
                        <a:pt x="370" y="479"/>
                        <a:pt x="370" y="478"/>
                        <a:pt x="370" y="477"/>
                      </a:cubicBezTo>
                      <a:cubicBezTo>
                        <a:pt x="370" y="477"/>
                        <a:pt x="370" y="477"/>
                        <a:pt x="370" y="476"/>
                      </a:cubicBezTo>
                      <a:cubicBezTo>
                        <a:pt x="370" y="476"/>
                        <a:pt x="370" y="476"/>
                        <a:pt x="371" y="476"/>
                      </a:cubicBezTo>
                      <a:cubicBezTo>
                        <a:pt x="372" y="476"/>
                        <a:pt x="374" y="475"/>
                        <a:pt x="375" y="473"/>
                      </a:cubicBezTo>
                      <a:cubicBezTo>
                        <a:pt x="376" y="472"/>
                        <a:pt x="376" y="471"/>
                        <a:pt x="376" y="469"/>
                      </a:cubicBezTo>
                      <a:cubicBezTo>
                        <a:pt x="376" y="469"/>
                        <a:pt x="377" y="468"/>
                        <a:pt x="377" y="468"/>
                      </a:cubicBezTo>
                      <a:cubicBezTo>
                        <a:pt x="377" y="468"/>
                        <a:pt x="378" y="467"/>
                        <a:pt x="378" y="467"/>
                      </a:cubicBezTo>
                      <a:cubicBezTo>
                        <a:pt x="379" y="466"/>
                        <a:pt x="380" y="465"/>
                        <a:pt x="381" y="463"/>
                      </a:cubicBezTo>
                      <a:cubicBezTo>
                        <a:pt x="382" y="462"/>
                        <a:pt x="382" y="462"/>
                        <a:pt x="382" y="461"/>
                      </a:cubicBezTo>
                      <a:cubicBezTo>
                        <a:pt x="383" y="460"/>
                        <a:pt x="383" y="459"/>
                        <a:pt x="385" y="457"/>
                      </a:cubicBezTo>
                      <a:cubicBezTo>
                        <a:pt x="385" y="457"/>
                        <a:pt x="385" y="457"/>
                        <a:pt x="386" y="456"/>
                      </a:cubicBezTo>
                      <a:cubicBezTo>
                        <a:pt x="387" y="456"/>
                        <a:pt x="388" y="455"/>
                        <a:pt x="388" y="453"/>
                      </a:cubicBezTo>
                      <a:cubicBezTo>
                        <a:pt x="389" y="454"/>
                        <a:pt x="391" y="454"/>
                        <a:pt x="392" y="454"/>
                      </a:cubicBezTo>
                      <a:cubicBezTo>
                        <a:pt x="394" y="454"/>
                        <a:pt x="396" y="453"/>
                        <a:pt x="396" y="449"/>
                      </a:cubicBezTo>
                      <a:cubicBezTo>
                        <a:pt x="396" y="448"/>
                        <a:pt x="396" y="448"/>
                        <a:pt x="396" y="447"/>
                      </a:cubicBezTo>
                      <a:cubicBezTo>
                        <a:pt x="397" y="447"/>
                        <a:pt x="397" y="447"/>
                        <a:pt x="398" y="447"/>
                      </a:cubicBezTo>
                      <a:cubicBezTo>
                        <a:pt x="398" y="447"/>
                        <a:pt x="399" y="447"/>
                        <a:pt x="399" y="447"/>
                      </a:cubicBezTo>
                      <a:cubicBezTo>
                        <a:pt x="401" y="448"/>
                        <a:pt x="402" y="448"/>
                        <a:pt x="403" y="448"/>
                      </a:cubicBezTo>
                      <a:cubicBezTo>
                        <a:pt x="405" y="448"/>
                        <a:pt x="407" y="447"/>
                        <a:pt x="408" y="446"/>
                      </a:cubicBezTo>
                      <a:cubicBezTo>
                        <a:pt x="409" y="445"/>
                        <a:pt x="409" y="444"/>
                        <a:pt x="410" y="443"/>
                      </a:cubicBezTo>
                      <a:cubicBezTo>
                        <a:pt x="410" y="443"/>
                        <a:pt x="410" y="443"/>
                        <a:pt x="410" y="443"/>
                      </a:cubicBezTo>
                      <a:cubicBezTo>
                        <a:pt x="411" y="442"/>
                        <a:pt x="411" y="442"/>
                        <a:pt x="412" y="442"/>
                      </a:cubicBezTo>
                      <a:cubicBezTo>
                        <a:pt x="413" y="441"/>
                        <a:pt x="413" y="441"/>
                        <a:pt x="413" y="441"/>
                      </a:cubicBezTo>
                      <a:cubicBezTo>
                        <a:pt x="415" y="440"/>
                        <a:pt x="418" y="438"/>
                        <a:pt x="418" y="434"/>
                      </a:cubicBezTo>
                      <a:cubicBezTo>
                        <a:pt x="419" y="431"/>
                        <a:pt x="419" y="428"/>
                        <a:pt x="418" y="426"/>
                      </a:cubicBezTo>
                      <a:cubicBezTo>
                        <a:pt x="417" y="423"/>
                        <a:pt x="416" y="420"/>
                        <a:pt x="414" y="418"/>
                      </a:cubicBezTo>
                      <a:cubicBezTo>
                        <a:pt x="414" y="418"/>
                        <a:pt x="414" y="418"/>
                        <a:pt x="415" y="418"/>
                      </a:cubicBezTo>
                      <a:cubicBezTo>
                        <a:pt x="415" y="418"/>
                        <a:pt x="415" y="418"/>
                        <a:pt x="415" y="418"/>
                      </a:cubicBezTo>
                      <a:cubicBezTo>
                        <a:pt x="419" y="418"/>
                        <a:pt x="424" y="416"/>
                        <a:pt x="427" y="413"/>
                      </a:cubicBezTo>
                      <a:cubicBezTo>
                        <a:pt x="428" y="411"/>
                        <a:pt x="429" y="408"/>
                        <a:pt x="430" y="405"/>
                      </a:cubicBezTo>
                      <a:cubicBezTo>
                        <a:pt x="431" y="399"/>
                        <a:pt x="432" y="397"/>
                        <a:pt x="434" y="397"/>
                      </a:cubicBezTo>
                      <a:cubicBezTo>
                        <a:pt x="435" y="397"/>
                        <a:pt x="435" y="397"/>
                        <a:pt x="435" y="397"/>
                      </a:cubicBezTo>
                      <a:cubicBezTo>
                        <a:pt x="437" y="397"/>
                        <a:pt x="438" y="398"/>
                        <a:pt x="441" y="399"/>
                      </a:cubicBezTo>
                      <a:cubicBezTo>
                        <a:pt x="443" y="400"/>
                        <a:pt x="446" y="401"/>
                        <a:pt x="449" y="401"/>
                      </a:cubicBezTo>
                      <a:cubicBezTo>
                        <a:pt x="451" y="401"/>
                        <a:pt x="452" y="401"/>
                        <a:pt x="453" y="400"/>
                      </a:cubicBezTo>
                      <a:cubicBezTo>
                        <a:pt x="461" y="398"/>
                        <a:pt x="464" y="391"/>
                        <a:pt x="466" y="385"/>
                      </a:cubicBezTo>
                      <a:cubicBezTo>
                        <a:pt x="468" y="380"/>
                        <a:pt x="471" y="375"/>
                        <a:pt x="474" y="370"/>
                      </a:cubicBezTo>
                      <a:cubicBezTo>
                        <a:pt x="474" y="369"/>
                        <a:pt x="474" y="369"/>
                        <a:pt x="474" y="369"/>
                      </a:cubicBezTo>
                      <a:cubicBezTo>
                        <a:pt x="476" y="367"/>
                        <a:pt x="478" y="364"/>
                        <a:pt x="479" y="360"/>
                      </a:cubicBezTo>
                      <a:cubicBezTo>
                        <a:pt x="479" y="359"/>
                        <a:pt x="480" y="358"/>
                        <a:pt x="480" y="357"/>
                      </a:cubicBezTo>
                      <a:cubicBezTo>
                        <a:pt x="480" y="356"/>
                        <a:pt x="480" y="356"/>
                        <a:pt x="480" y="355"/>
                      </a:cubicBezTo>
                      <a:cubicBezTo>
                        <a:pt x="480" y="355"/>
                        <a:pt x="480" y="355"/>
                        <a:pt x="480" y="355"/>
                      </a:cubicBezTo>
                      <a:cubicBezTo>
                        <a:pt x="480" y="353"/>
                        <a:pt x="481" y="351"/>
                        <a:pt x="479" y="349"/>
                      </a:cubicBezTo>
                      <a:cubicBezTo>
                        <a:pt x="478" y="348"/>
                        <a:pt x="478" y="347"/>
                        <a:pt x="477" y="347"/>
                      </a:cubicBezTo>
                      <a:cubicBezTo>
                        <a:pt x="478" y="346"/>
                        <a:pt x="478" y="345"/>
                        <a:pt x="479" y="343"/>
                      </a:cubicBezTo>
                      <a:cubicBezTo>
                        <a:pt x="479" y="343"/>
                        <a:pt x="479" y="342"/>
                        <a:pt x="479" y="342"/>
                      </a:cubicBezTo>
                      <a:cubicBezTo>
                        <a:pt x="479" y="341"/>
                        <a:pt x="479" y="341"/>
                        <a:pt x="480" y="340"/>
                      </a:cubicBezTo>
                      <a:cubicBezTo>
                        <a:pt x="482" y="339"/>
                        <a:pt x="484" y="337"/>
                        <a:pt x="486" y="335"/>
                      </a:cubicBezTo>
                      <a:cubicBezTo>
                        <a:pt x="487" y="333"/>
                        <a:pt x="488" y="331"/>
                        <a:pt x="488" y="328"/>
                      </a:cubicBezTo>
                      <a:cubicBezTo>
                        <a:pt x="488" y="327"/>
                        <a:pt x="488" y="326"/>
                        <a:pt x="489" y="325"/>
                      </a:cubicBezTo>
                      <a:cubicBezTo>
                        <a:pt x="489" y="324"/>
                        <a:pt x="490" y="324"/>
                        <a:pt x="491" y="323"/>
                      </a:cubicBezTo>
                      <a:cubicBezTo>
                        <a:pt x="493" y="322"/>
                        <a:pt x="495" y="320"/>
                        <a:pt x="496" y="316"/>
                      </a:cubicBezTo>
                      <a:cubicBezTo>
                        <a:pt x="496" y="313"/>
                        <a:pt x="495" y="310"/>
                        <a:pt x="492" y="309"/>
                      </a:cubicBezTo>
                      <a:cubicBezTo>
                        <a:pt x="491" y="308"/>
                        <a:pt x="490" y="308"/>
                        <a:pt x="489" y="308"/>
                      </a:cubicBezTo>
                      <a:cubicBezTo>
                        <a:pt x="488" y="308"/>
                        <a:pt x="488" y="308"/>
                        <a:pt x="487" y="307"/>
                      </a:cubicBezTo>
                      <a:cubicBezTo>
                        <a:pt x="486" y="307"/>
                        <a:pt x="485" y="306"/>
                        <a:pt x="484" y="305"/>
                      </a:cubicBezTo>
                      <a:cubicBezTo>
                        <a:pt x="482" y="303"/>
                        <a:pt x="482" y="302"/>
                        <a:pt x="482" y="302"/>
                      </a:cubicBezTo>
                      <a:cubicBezTo>
                        <a:pt x="483" y="302"/>
                        <a:pt x="485" y="302"/>
                        <a:pt x="486" y="302"/>
                      </a:cubicBezTo>
                      <a:cubicBezTo>
                        <a:pt x="487" y="302"/>
                        <a:pt x="487" y="302"/>
                        <a:pt x="487" y="302"/>
                      </a:cubicBezTo>
                      <a:cubicBezTo>
                        <a:pt x="488" y="302"/>
                        <a:pt x="489" y="302"/>
                        <a:pt x="490" y="302"/>
                      </a:cubicBezTo>
                      <a:cubicBezTo>
                        <a:pt x="491" y="302"/>
                        <a:pt x="492" y="301"/>
                        <a:pt x="493" y="301"/>
                      </a:cubicBezTo>
                      <a:cubicBezTo>
                        <a:pt x="495" y="301"/>
                        <a:pt x="496" y="300"/>
                        <a:pt x="498" y="300"/>
                      </a:cubicBezTo>
                      <a:cubicBezTo>
                        <a:pt x="499" y="305"/>
                        <a:pt x="502" y="312"/>
                        <a:pt x="509" y="313"/>
                      </a:cubicBezTo>
                      <a:cubicBezTo>
                        <a:pt x="510" y="313"/>
                        <a:pt x="510" y="313"/>
                        <a:pt x="510" y="313"/>
                      </a:cubicBezTo>
                      <a:cubicBezTo>
                        <a:pt x="510" y="313"/>
                        <a:pt x="511" y="313"/>
                        <a:pt x="511" y="313"/>
                      </a:cubicBezTo>
                      <a:cubicBezTo>
                        <a:pt x="513" y="313"/>
                        <a:pt x="514" y="313"/>
                        <a:pt x="516" y="311"/>
                      </a:cubicBezTo>
                      <a:cubicBezTo>
                        <a:pt x="517" y="310"/>
                        <a:pt x="517" y="309"/>
                        <a:pt x="517" y="308"/>
                      </a:cubicBezTo>
                      <a:cubicBezTo>
                        <a:pt x="517" y="308"/>
                        <a:pt x="517" y="308"/>
                        <a:pt x="517" y="308"/>
                      </a:cubicBezTo>
                      <a:cubicBezTo>
                        <a:pt x="518" y="308"/>
                        <a:pt x="519" y="309"/>
                        <a:pt x="520" y="309"/>
                      </a:cubicBezTo>
                      <a:cubicBezTo>
                        <a:pt x="521" y="309"/>
                        <a:pt x="521" y="309"/>
                        <a:pt x="522" y="309"/>
                      </a:cubicBezTo>
                      <a:cubicBezTo>
                        <a:pt x="523" y="308"/>
                        <a:pt x="525" y="307"/>
                        <a:pt x="526" y="305"/>
                      </a:cubicBezTo>
                      <a:cubicBezTo>
                        <a:pt x="526" y="304"/>
                        <a:pt x="526" y="304"/>
                        <a:pt x="526" y="303"/>
                      </a:cubicBezTo>
                      <a:cubicBezTo>
                        <a:pt x="527" y="304"/>
                        <a:pt x="528" y="304"/>
                        <a:pt x="528" y="304"/>
                      </a:cubicBezTo>
                      <a:cubicBezTo>
                        <a:pt x="529" y="305"/>
                        <a:pt x="530" y="305"/>
                        <a:pt x="531" y="305"/>
                      </a:cubicBezTo>
                      <a:cubicBezTo>
                        <a:pt x="535" y="305"/>
                        <a:pt x="537" y="301"/>
                        <a:pt x="538" y="299"/>
                      </a:cubicBezTo>
                      <a:cubicBezTo>
                        <a:pt x="539" y="298"/>
                        <a:pt x="539" y="297"/>
                        <a:pt x="540" y="297"/>
                      </a:cubicBezTo>
                      <a:cubicBezTo>
                        <a:pt x="541" y="296"/>
                        <a:pt x="541" y="295"/>
                        <a:pt x="542" y="294"/>
                      </a:cubicBezTo>
                      <a:cubicBezTo>
                        <a:pt x="542" y="293"/>
                        <a:pt x="543" y="293"/>
                        <a:pt x="543" y="292"/>
                      </a:cubicBezTo>
                      <a:cubicBezTo>
                        <a:pt x="544" y="292"/>
                        <a:pt x="545" y="291"/>
                        <a:pt x="545" y="291"/>
                      </a:cubicBezTo>
                      <a:cubicBezTo>
                        <a:pt x="547" y="290"/>
                        <a:pt x="549" y="289"/>
                        <a:pt x="550" y="286"/>
                      </a:cubicBezTo>
                      <a:cubicBezTo>
                        <a:pt x="551" y="285"/>
                        <a:pt x="551" y="284"/>
                        <a:pt x="552" y="283"/>
                      </a:cubicBezTo>
                      <a:cubicBezTo>
                        <a:pt x="552" y="281"/>
                        <a:pt x="552" y="280"/>
                        <a:pt x="553" y="280"/>
                      </a:cubicBezTo>
                      <a:cubicBezTo>
                        <a:pt x="553" y="279"/>
                        <a:pt x="554" y="279"/>
                        <a:pt x="555" y="278"/>
                      </a:cubicBezTo>
                      <a:cubicBezTo>
                        <a:pt x="556" y="278"/>
                        <a:pt x="558" y="277"/>
                        <a:pt x="559" y="276"/>
                      </a:cubicBezTo>
                      <a:cubicBezTo>
                        <a:pt x="562" y="272"/>
                        <a:pt x="562" y="268"/>
                        <a:pt x="561" y="264"/>
                      </a:cubicBezTo>
                      <a:cubicBezTo>
                        <a:pt x="561" y="263"/>
                        <a:pt x="561" y="262"/>
                        <a:pt x="561" y="261"/>
                      </a:cubicBezTo>
                      <a:cubicBezTo>
                        <a:pt x="561" y="261"/>
                        <a:pt x="561" y="260"/>
                        <a:pt x="561" y="260"/>
                      </a:cubicBezTo>
                      <a:cubicBezTo>
                        <a:pt x="562" y="259"/>
                        <a:pt x="562" y="257"/>
                        <a:pt x="561" y="255"/>
                      </a:cubicBezTo>
                      <a:cubicBezTo>
                        <a:pt x="560" y="253"/>
                        <a:pt x="558" y="251"/>
                        <a:pt x="556" y="248"/>
                      </a:cubicBezTo>
                      <a:cubicBezTo>
                        <a:pt x="555" y="247"/>
                        <a:pt x="554" y="246"/>
                        <a:pt x="552" y="244"/>
                      </a:cubicBezTo>
                      <a:cubicBezTo>
                        <a:pt x="551" y="242"/>
                        <a:pt x="550" y="241"/>
                        <a:pt x="549" y="239"/>
                      </a:cubicBezTo>
                      <a:cubicBezTo>
                        <a:pt x="548" y="238"/>
                        <a:pt x="547" y="237"/>
                        <a:pt x="547" y="235"/>
                      </a:cubicBezTo>
                      <a:cubicBezTo>
                        <a:pt x="547" y="234"/>
                        <a:pt x="546" y="232"/>
                        <a:pt x="545" y="231"/>
                      </a:cubicBezTo>
                      <a:cubicBezTo>
                        <a:pt x="545" y="230"/>
                        <a:pt x="544" y="229"/>
                        <a:pt x="543" y="228"/>
                      </a:cubicBezTo>
                      <a:cubicBezTo>
                        <a:pt x="542" y="227"/>
                        <a:pt x="540" y="224"/>
                        <a:pt x="540" y="223"/>
                      </a:cubicBezTo>
                      <a:cubicBezTo>
                        <a:pt x="540" y="223"/>
                        <a:pt x="540" y="223"/>
                        <a:pt x="540" y="223"/>
                      </a:cubicBezTo>
                      <a:cubicBezTo>
                        <a:pt x="540" y="223"/>
                        <a:pt x="541" y="223"/>
                        <a:pt x="541" y="223"/>
                      </a:cubicBezTo>
                      <a:cubicBezTo>
                        <a:pt x="542" y="223"/>
                        <a:pt x="543" y="223"/>
                        <a:pt x="544" y="223"/>
                      </a:cubicBezTo>
                      <a:cubicBezTo>
                        <a:pt x="546" y="223"/>
                        <a:pt x="547" y="222"/>
                        <a:pt x="549" y="221"/>
                      </a:cubicBezTo>
                      <a:cubicBezTo>
                        <a:pt x="550" y="220"/>
                        <a:pt x="551" y="218"/>
                        <a:pt x="553" y="217"/>
                      </a:cubicBezTo>
                      <a:cubicBezTo>
                        <a:pt x="555" y="214"/>
                        <a:pt x="556" y="212"/>
                        <a:pt x="556" y="209"/>
                      </a:cubicBezTo>
                      <a:cubicBezTo>
                        <a:pt x="556" y="203"/>
                        <a:pt x="552" y="203"/>
                        <a:pt x="550" y="203"/>
                      </a:cubicBezTo>
                      <a:cubicBezTo>
                        <a:pt x="549" y="203"/>
                        <a:pt x="549" y="203"/>
                        <a:pt x="548" y="202"/>
                      </a:cubicBezTo>
                      <a:cubicBezTo>
                        <a:pt x="548" y="202"/>
                        <a:pt x="548" y="202"/>
                        <a:pt x="548" y="202"/>
                      </a:cubicBezTo>
                      <a:cubicBezTo>
                        <a:pt x="549" y="200"/>
                        <a:pt x="552" y="197"/>
                        <a:pt x="551" y="193"/>
                      </a:cubicBezTo>
                      <a:cubicBezTo>
                        <a:pt x="551" y="192"/>
                        <a:pt x="550" y="190"/>
                        <a:pt x="548" y="189"/>
                      </a:cubicBezTo>
                      <a:cubicBezTo>
                        <a:pt x="546" y="188"/>
                        <a:pt x="544" y="187"/>
                        <a:pt x="542" y="187"/>
                      </a:cubicBezTo>
                      <a:cubicBezTo>
                        <a:pt x="540" y="187"/>
                        <a:pt x="539" y="186"/>
                        <a:pt x="538" y="185"/>
                      </a:cubicBezTo>
                      <a:cubicBezTo>
                        <a:pt x="537" y="185"/>
                        <a:pt x="536" y="184"/>
                        <a:pt x="536" y="184"/>
                      </a:cubicBezTo>
                      <a:cubicBezTo>
                        <a:pt x="535" y="183"/>
                        <a:pt x="534" y="181"/>
                        <a:pt x="533" y="180"/>
                      </a:cubicBezTo>
                      <a:cubicBezTo>
                        <a:pt x="532" y="180"/>
                        <a:pt x="532" y="180"/>
                        <a:pt x="532" y="180"/>
                      </a:cubicBezTo>
                      <a:cubicBezTo>
                        <a:pt x="532" y="180"/>
                        <a:pt x="532" y="179"/>
                        <a:pt x="532" y="179"/>
                      </a:cubicBezTo>
                      <a:cubicBezTo>
                        <a:pt x="533" y="176"/>
                        <a:pt x="533" y="174"/>
                        <a:pt x="532" y="173"/>
                      </a:cubicBezTo>
                      <a:cubicBezTo>
                        <a:pt x="531" y="172"/>
                        <a:pt x="530" y="170"/>
                        <a:pt x="526" y="170"/>
                      </a:cubicBezTo>
                      <a:cubicBezTo>
                        <a:pt x="523" y="170"/>
                        <a:pt x="520" y="171"/>
                        <a:pt x="519" y="172"/>
                      </a:cubicBezTo>
                      <a:cubicBezTo>
                        <a:pt x="518" y="173"/>
                        <a:pt x="517" y="173"/>
                        <a:pt x="516" y="173"/>
                      </a:cubicBezTo>
                      <a:cubicBezTo>
                        <a:pt x="515" y="173"/>
                        <a:pt x="515" y="173"/>
                        <a:pt x="514" y="173"/>
                      </a:cubicBezTo>
                      <a:cubicBezTo>
                        <a:pt x="513" y="172"/>
                        <a:pt x="513" y="172"/>
                        <a:pt x="512" y="171"/>
                      </a:cubicBezTo>
                      <a:cubicBezTo>
                        <a:pt x="511" y="170"/>
                        <a:pt x="510" y="169"/>
                        <a:pt x="508" y="168"/>
                      </a:cubicBezTo>
                      <a:cubicBezTo>
                        <a:pt x="508" y="168"/>
                        <a:pt x="508" y="168"/>
                        <a:pt x="507" y="168"/>
                      </a:cubicBezTo>
                      <a:cubicBezTo>
                        <a:pt x="509" y="168"/>
                        <a:pt x="510" y="168"/>
                        <a:pt x="511" y="168"/>
                      </a:cubicBezTo>
                      <a:cubicBezTo>
                        <a:pt x="513" y="168"/>
                        <a:pt x="516" y="168"/>
                        <a:pt x="518" y="167"/>
                      </a:cubicBezTo>
                      <a:cubicBezTo>
                        <a:pt x="519" y="167"/>
                        <a:pt x="520" y="167"/>
                        <a:pt x="520" y="167"/>
                      </a:cubicBezTo>
                      <a:cubicBezTo>
                        <a:pt x="521" y="167"/>
                        <a:pt x="522" y="167"/>
                        <a:pt x="524" y="168"/>
                      </a:cubicBezTo>
                      <a:cubicBezTo>
                        <a:pt x="525" y="168"/>
                        <a:pt x="526" y="169"/>
                        <a:pt x="526" y="169"/>
                      </a:cubicBezTo>
                      <a:cubicBezTo>
                        <a:pt x="528" y="170"/>
                        <a:pt x="530" y="170"/>
                        <a:pt x="531" y="170"/>
                      </a:cubicBezTo>
                      <a:cubicBezTo>
                        <a:pt x="535" y="170"/>
                        <a:pt x="538" y="168"/>
                        <a:pt x="540" y="165"/>
                      </a:cubicBezTo>
                      <a:cubicBezTo>
                        <a:pt x="543" y="162"/>
                        <a:pt x="547" y="160"/>
                        <a:pt x="551" y="160"/>
                      </a:cubicBezTo>
                      <a:cubicBezTo>
                        <a:pt x="552" y="160"/>
                        <a:pt x="554" y="161"/>
                        <a:pt x="555" y="161"/>
                      </a:cubicBezTo>
                      <a:cubicBezTo>
                        <a:pt x="557" y="161"/>
                        <a:pt x="558" y="162"/>
                        <a:pt x="560" y="162"/>
                      </a:cubicBezTo>
                      <a:cubicBezTo>
                        <a:pt x="563" y="163"/>
                        <a:pt x="567" y="165"/>
                        <a:pt x="571" y="165"/>
                      </a:cubicBezTo>
                      <a:cubicBezTo>
                        <a:pt x="573" y="165"/>
                        <a:pt x="575" y="164"/>
                        <a:pt x="577" y="164"/>
                      </a:cubicBezTo>
                      <a:cubicBezTo>
                        <a:pt x="581" y="162"/>
                        <a:pt x="582" y="159"/>
                        <a:pt x="582" y="157"/>
                      </a:cubicBezTo>
                      <a:cubicBezTo>
                        <a:pt x="583" y="152"/>
                        <a:pt x="579" y="147"/>
                        <a:pt x="578" y="146"/>
                      </a:cubicBezTo>
                      <a:cubicBezTo>
                        <a:pt x="579" y="146"/>
                        <a:pt x="579" y="147"/>
                        <a:pt x="580" y="147"/>
                      </a:cubicBezTo>
                      <a:cubicBezTo>
                        <a:pt x="582" y="147"/>
                        <a:pt x="583" y="148"/>
                        <a:pt x="585" y="148"/>
                      </a:cubicBezTo>
                      <a:cubicBezTo>
                        <a:pt x="585" y="148"/>
                        <a:pt x="586" y="148"/>
                        <a:pt x="586" y="148"/>
                      </a:cubicBezTo>
                      <a:cubicBezTo>
                        <a:pt x="587" y="147"/>
                        <a:pt x="587" y="147"/>
                        <a:pt x="588" y="147"/>
                      </a:cubicBezTo>
                      <a:cubicBezTo>
                        <a:pt x="588" y="147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50"/>
                      </a:cubicBezTo>
                      <a:cubicBezTo>
                        <a:pt x="589" y="150"/>
                        <a:pt x="589" y="151"/>
                        <a:pt x="589" y="151"/>
                      </a:cubicBezTo>
                      <a:cubicBezTo>
                        <a:pt x="589" y="153"/>
                        <a:pt x="588" y="157"/>
                        <a:pt x="591" y="160"/>
                      </a:cubicBezTo>
                      <a:cubicBezTo>
                        <a:pt x="592" y="160"/>
                        <a:pt x="594" y="161"/>
                        <a:pt x="595" y="161"/>
                      </a:cubicBezTo>
                      <a:cubicBezTo>
                        <a:pt x="596" y="161"/>
                        <a:pt x="597" y="161"/>
                        <a:pt x="598" y="160"/>
                      </a:cubicBezTo>
                      <a:cubicBezTo>
                        <a:pt x="599" y="160"/>
                        <a:pt x="599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1" y="161"/>
                        <a:pt x="601" y="162"/>
                      </a:cubicBezTo>
                      <a:cubicBezTo>
                        <a:pt x="601" y="163"/>
                        <a:pt x="601" y="163"/>
                        <a:pt x="601" y="163"/>
                      </a:cubicBezTo>
                      <a:cubicBezTo>
                        <a:pt x="601" y="167"/>
                        <a:pt x="603" y="168"/>
                        <a:pt x="606" y="168"/>
                      </a:cubicBezTo>
                      <a:cubicBezTo>
                        <a:pt x="606" y="168"/>
                        <a:pt x="607" y="169"/>
                        <a:pt x="607" y="169"/>
                      </a:cubicBezTo>
                      <a:cubicBezTo>
                        <a:pt x="608" y="169"/>
                        <a:pt x="608" y="170"/>
                        <a:pt x="609" y="170"/>
                      </a:cubicBezTo>
                      <a:cubicBezTo>
                        <a:pt x="610" y="171"/>
                        <a:pt x="611" y="173"/>
                        <a:pt x="613" y="174"/>
                      </a:cubicBezTo>
                      <a:cubicBezTo>
                        <a:pt x="615" y="174"/>
                        <a:pt x="617" y="174"/>
                        <a:pt x="618" y="174"/>
                      </a:cubicBezTo>
                      <a:cubicBezTo>
                        <a:pt x="620" y="174"/>
                        <a:pt x="621" y="174"/>
                        <a:pt x="622" y="175"/>
                      </a:cubicBezTo>
                      <a:cubicBezTo>
                        <a:pt x="623" y="177"/>
                        <a:pt x="623" y="178"/>
                        <a:pt x="623" y="179"/>
                      </a:cubicBezTo>
                      <a:cubicBezTo>
                        <a:pt x="623" y="179"/>
                        <a:pt x="622" y="180"/>
                        <a:pt x="622" y="181"/>
                      </a:cubicBezTo>
                      <a:cubicBezTo>
                        <a:pt x="621" y="181"/>
                        <a:pt x="620" y="181"/>
                        <a:pt x="619" y="182"/>
                      </a:cubicBezTo>
                      <a:cubicBezTo>
                        <a:pt x="617" y="182"/>
                        <a:pt x="614" y="183"/>
                        <a:pt x="612" y="187"/>
                      </a:cubicBezTo>
                      <a:cubicBezTo>
                        <a:pt x="611" y="190"/>
                        <a:pt x="611" y="197"/>
                        <a:pt x="613" y="200"/>
                      </a:cubicBezTo>
                      <a:cubicBezTo>
                        <a:pt x="614" y="202"/>
                        <a:pt x="616" y="203"/>
                        <a:pt x="618" y="203"/>
                      </a:cubicBezTo>
                      <a:cubicBezTo>
                        <a:pt x="619" y="203"/>
                        <a:pt x="621" y="203"/>
                        <a:pt x="622" y="202"/>
                      </a:cubicBezTo>
                      <a:cubicBezTo>
                        <a:pt x="626" y="199"/>
                        <a:pt x="628" y="195"/>
                        <a:pt x="630" y="192"/>
                      </a:cubicBezTo>
                      <a:cubicBezTo>
                        <a:pt x="631" y="189"/>
                        <a:pt x="633" y="187"/>
                        <a:pt x="635" y="185"/>
                      </a:cubicBezTo>
                      <a:cubicBezTo>
                        <a:pt x="636" y="185"/>
                        <a:pt x="638" y="184"/>
                        <a:pt x="638" y="184"/>
                      </a:cubicBezTo>
                      <a:cubicBezTo>
                        <a:pt x="638" y="184"/>
                        <a:pt x="638" y="185"/>
                        <a:pt x="638" y="185"/>
                      </a:cubicBezTo>
                      <a:cubicBezTo>
                        <a:pt x="638" y="187"/>
                        <a:pt x="638" y="188"/>
                        <a:pt x="638" y="189"/>
                      </a:cubicBezTo>
                      <a:cubicBezTo>
                        <a:pt x="638" y="192"/>
                        <a:pt x="639" y="194"/>
                        <a:pt x="641" y="197"/>
                      </a:cubicBezTo>
                      <a:cubicBezTo>
                        <a:pt x="643" y="198"/>
                        <a:pt x="646" y="201"/>
                        <a:pt x="649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2" y="201"/>
                        <a:pt x="652" y="200"/>
                        <a:pt x="653" y="200"/>
                      </a:cubicBezTo>
                      <a:cubicBezTo>
                        <a:pt x="653" y="205"/>
                        <a:pt x="656" y="207"/>
                        <a:pt x="657" y="207"/>
                      </a:cubicBezTo>
                      <a:cubicBezTo>
                        <a:pt x="658" y="208"/>
                        <a:pt x="659" y="208"/>
                        <a:pt x="660" y="208"/>
                      </a:cubicBezTo>
                      <a:cubicBezTo>
                        <a:pt x="661" y="208"/>
                        <a:pt x="662" y="208"/>
                        <a:pt x="663" y="207"/>
                      </a:cubicBezTo>
                      <a:cubicBezTo>
                        <a:pt x="664" y="207"/>
                        <a:pt x="664" y="207"/>
                        <a:pt x="665" y="207"/>
                      </a:cubicBezTo>
                      <a:cubicBezTo>
                        <a:pt x="665" y="207"/>
                        <a:pt x="665" y="207"/>
                        <a:pt x="665" y="207"/>
                      </a:cubicBezTo>
                      <a:cubicBezTo>
                        <a:pt x="667" y="208"/>
                        <a:pt x="669" y="212"/>
                        <a:pt x="671" y="215"/>
                      </a:cubicBezTo>
                      <a:cubicBezTo>
                        <a:pt x="672" y="217"/>
                        <a:pt x="673" y="219"/>
                        <a:pt x="675" y="221"/>
                      </a:cubicBezTo>
                      <a:cubicBezTo>
                        <a:pt x="677" y="223"/>
                        <a:pt x="677" y="223"/>
                        <a:pt x="677" y="223"/>
                      </a:cubicBezTo>
                      <a:cubicBezTo>
                        <a:pt x="679" y="226"/>
                        <a:pt x="682" y="229"/>
                        <a:pt x="684" y="233"/>
                      </a:cubicBezTo>
                      <a:cubicBezTo>
                        <a:pt x="685" y="236"/>
                        <a:pt x="687" y="241"/>
                        <a:pt x="686" y="244"/>
                      </a:cubicBezTo>
                      <a:cubicBezTo>
                        <a:pt x="686" y="245"/>
                        <a:pt x="685" y="246"/>
                        <a:pt x="684" y="248"/>
                      </a:cubicBezTo>
                      <a:cubicBezTo>
                        <a:pt x="682" y="250"/>
                        <a:pt x="680" y="252"/>
                        <a:pt x="680" y="256"/>
                      </a:cubicBezTo>
                      <a:cubicBezTo>
                        <a:pt x="680" y="258"/>
                        <a:pt x="680" y="260"/>
                        <a:pt x="682" y="262"/>
                      </a:cubicBezTo>
                      <a:cubicBezTo>
                        <a:pt x="680" y="262"/>
                        <a:pt x="678" y="263"/>
                        <a:pt x="677" y="265"/>
                      </a:cubicBezTo>
                      <a:cubicBezTo>
                        <a:pt x="676" y="266"/>
                        <a:pt x="675" y="268"/>
                        <a:pt x="675" y="269"/>
                      </a:cubicBezTo>
                      <a:cubicBezTo>
                        <a:pt x="675" y="270"/>
                        <a:pt x="674" y="271"/>
                        <a:pt x="674" y="271"/>
                      </a:cubicBezTo>
                      <a:cubicBezTo>
                        <a:pt x="673" y="273"/>
                        <a:pt x="672" y="275"/>
                        <a:pt x="671" y="277"/>
                      </a:cubicBezTo>
                      <a:cubicBezTo>
                        <a:pt x="669" y="281"/>
                        <a:pt x="666" y="285"/>
                        <a:pt x="667" y="290"/>
                      </a:cubicBezTo>
                      <a:cubicBezTo>
                        <a:pt x="669" y="296"/>
                        <a:pt x="674" y="298"/>
                        <a:pt x="678" y="300"/>
                      </a:cubicBezTo>
                      <a:cubicBezTo>
                        <a:pt x="681" y="302"/>
                        <a:pt x="684" y="303"/>
                        <a:pt x="686" y="305"/>
                      </a:cubicBezTo>
                      <a:cubicBezTo>
                        <a:pt x="686" y="306"/>
                        <a:pt x="686" y="306"/>
                        <a:pt x="686" y="307"/>
                      </a:cubicBezTo>
                      <a:cubicBezTo>
                        <a:pt x="686" y="307"/>
                        <a:pt x="684" y="308"/>
                        <a:pt x="681" y="309"/>
                      </a:cubicBezTo>
                      <a:cubicBezTo>
                        <a:pt x="680" y="309"/>
                        <a:pt x="680" y="309"/>
                        <a:pt x="679" y="309"/>
                      </a:cubicBezTo>
                      <a:cubicBezTo>
                        <a:pt x="678" y="310"/>
                        <a:pt x="676" y="310"/>
                        <a:pt x="675" y="310"/>
                      </a:cubicBezTo>
                      <a:cubicBezTo>
                        <a:pt x="672" y="312"/>
                        <a:pt x="671" y="314"/>
                        <a:pt x="669" y="315"/>
                      </a:cubicBezTo>
                      <a:cubicBezTo>
                        <a:pt x="669" y="316"/>
                        <a:pt x="668" y="317"/>
                        <a:pt x="668" y="317"/>
                      </a:cubicBezTo>
                      <a:cubicBezTo>
                        <a:pt x="667" y="318"/>
                        <a:pt x="666" y="319"/>
                        <a:pt x="665" y="320"/>
                      </a:cubicBezTo>
                      <a:cubicBezTo>
                        <a:pt x="664" y="321"/>
                        <a:pt x="664" y="321"/>
                        <a:pt x="664" y="321"/>
                      </a:cubicBezTo>
                      <a:cubicBezTo>
                        <a:pt x="662" y="322"/>
                        <a:pt x="659" y="323"/>
                        <a:pt x="655" y="323"/>
                      </a:cubicBezTo>
                      <a:cubicBezTo>
                        <a:pt x="655" y="323"/>
                        <a:pt x="655" y="323"/>
                        <a:pt x="655" y="323"/>
                      </a:cubicBezTo>
                      <a:cubicBezTo>
                        <a:pt x="652" y="323"/>
                        <a:pt x="649" y="322"/>
                        <a:pt x="645" y="322"/>
                      </a:cubicBezTo>
                      <a:cubicBezTo>
                        <a:pt x="642" y="321"/>
                        <a:pt x="638" y="321"/>
                        <a:pt x="634" y="321"/>
                      </a:cubicBezTo>
                      <a:cubicBezTo>
                        <a:pt x="632" y="321"/>
                        <a:pt x="630" y="321"/>
                        <a:pt x="628" y="321"/>
                      </a:cubicBezTo>
                      <a:cubicBezTo>
                        <a:pt x="626" y="322"/>
                        <a:pt x="626" y="322"/>
                        <a:pt x="626" y="322"/>
                      </a:cubicBezTo>
                      <a:cubicBezTo>
                        <a:pt x="626" y="324"/>
                        <a:pt x="626" y="324"/>
                        <a:pt x="626" y="324"/>
                      </a:cubicBezTo>
                      <a:cubicBezTo>
                        <a:pt x="625" y="325"/>
                        <a:pt x="625" y="325"/>
                        <a:pt x="625" y="325"/>
                      </a:cubicBezTo>
                      <a:cubicBezTo>
                        <a:pt x="625" y="326"/>
                        <a:pt x="625" y="328"/>
                        <a:pt x="626" y="329"/>
                      </a:cubicBezTo>
                      <a:cubicBezTo>
                        <a:pt x="626" y="331"/>
                        <a:pt x="627" y="332"/>
                        <a:pt x="628" y="332"/>
                      </a:cubicBezTo>
                      <a:cubicBezTo>
                        <a:pt x="628" y="332"/>
                        <a:pt x="628" y="332"/>
                        <a:pt x="628" y="332"/>
                      </a:cubicBezTo>
                      <a:cubicBezTo>
                        <a:pt x="629" y="334"/>
                        <a:pt x="629" y="334"/>
                        <a:pt x="628" y="335"/>
                      </a:cubicBezTo>
                      <a:cubicBezTo>
                        <a:pt x="627" y="335"/>
                        <a:pt x="627" y="336"/>
                        <a:pt x="626" y="336"/>
                      </a:cubicBezTo>
                      <a:cubicBezTo>
                        <a:pt x="625" y="337"/>
                        <a:pt x="623" y="338"/>
                        <a:pt x="621" y="342"/>
                      </a:cubicBezTo>
                      <a:cubicBezTo>
                        <a:pt x="621" y="343"/>
                        <a:pt x="621" y="343"/>
                        <a:pt x="621" y="344"/>
                      </a:cubicBezTo>
                      <a:cubicBezTo>
                        <a:pt x="621" y="345"/>
                        <a:pt x="621" y="345"/>
                        <a:pt x="620" y="346"/>
                      </a:cubicBezTo>
                      <a:cubicBezTo>
                        <a:pt x="620" y="347"/>
                        <a:pt x="620" y="347"/>
                        <a:pt x="620" y="347"/>
                      </a:cubicBezTo>
                      <a:cubicBezTo>
                        <a:pt x="619" y="349"/>
                        <a:pt x="619" y="350"/>
                        <a:pt x="619" y="352"/>
                      </a:cubicBezTo>
                      <a:cubicBezTo>
                        <a:pt x="619" y="353"/>
                        <a:pt x="620" y="354"/>
                        <a:pt x="620" y="355"/>
                      </a:cubicBezTo>
                      <a:cubicBezTo>
                        <a:pt x="620" y="358"/>
                        <a:pt x="620" y="361"/>
                        <a:pt x="624" y="365"/>
                      </a:cubicBezTo>
                      <a:cubicBezTo>
                        <a:pt x="627" y="369"/>
                        <a:pt x="632" y="371"/>
                        <a:pt x="637" y="372"/>
                      </a:cubicBezTo>
                      <a:cubicBezTo>
                        <a:pt x="638" y="373"/>
                        <a:pt x="639" y="373"/>
                        <a:pt x="640" y="373"/>
                      </a:cubicBezTo>
                      <a:cubicBezTo>
                        <a:pt x="644" y="373"/>
                        <a:pt x="647" y="371"/>
                        <a:pt x="649" y="370"/>
                      </a:cubicBezTo>
                      <a:cubicBezTo>
                        <a:pt x="650" y="369"/>
                        <a:pt x="651" y="369"/>
                        <a:pt x="652" y="368"/>
                      </a:cubicBezTo>
                      <a:cubicBezTo>
                        <a:pt x="655" y="367"/>
                        <a:pt x="658" y="365"/>
                        <a:pt x="662" y="362"/>
                      </a:cubicBezTo>
                      <a:cubicBezTo>
                        <a:pt x="664" y="360"/>
                        <a:pt x="665" y="358"/>
                        <a:pt x="665" y="357"/>
                      </a:cubicBezTo>
                      <a:cubicBezTo>
                        <a:pt x="666" y="356"/>
                        <a:pt x="666" y="355"/>
                        <a:pt x="666" y="355"/>
                      </a:cubicBezTo>
                      <a:cubicBezTo>
                        <a:pt x="667" y="355"/>
                        <a:pt x="667" y="355"/>
                        <a:pt x="667" y="355"/>
                      </a:cubicBezTo>
                      <a:cubicBezTo>
                        <a:pt x="668" y="355"/>
                        <a:pt x="669" y="355"/>
                        <a:pt x="670" y="356"/>
                      </a:cubicBezTo>
                      <a:cubicBezTo>
                        <a:pt x="671" y="356"/>
                        <a:pt x="671" y="356"/>
                        <a:pt x="671" y="356"/>
                      </a:cubicBezTo>
                      <a:cubicBezTo>
                        <a:pt x="673" y="356"/>
                        <a:pt x="675" y="357"/>
                        <a:pt x="676" y="357"/>
                      </a:cubicBezTo>
                      <a:cubicBezTo>
                        <a:pt x="680" y="357"/>
                        <a:pt x="684" y="355"/>
                        <a:pt x="685" y="353"/>
                      </a:cubicBezTo>
                      <a:cubicBezTo>
                        <a:pt x="686" y="351"/>
                        <a:pt x="686" y="350"/>
                        <a:pt x="685" y="348"/>
                      </a:cubicBezTo>
                      <a:cubicBezTo>
                        <a:pt x="686" y="347"/>
                        <a:pt x="686" y="347"/>
                        <a:pt x="686" y="347"/>
                      </a:cubicBezTo>
                      <a:cubicBezTo>
                        <a:pt x="687" y="348"/>
                        <a:pt x="688" y="350"/>
                        <a:pt x="691" y="351"/>
                      </a:cubicBezTo>
                      <a:cubicBezTo>
                        <a:pt x="691" y="351"/>
                        <a:pt x="691" y="351"/>
                        <a:pt x="691" y="351"/>
                      </a:cubicBezTo>
                      <a:cubicBezTo>
                        <a:pt x="692" y="351"/>
                        <a:pt x="692" y="351"/>
                        <a:pt x="692" y="351"/>
                      </a:cubicBezTo>
                      <a:cubicBezTo>
                        <a:pt x="695" y="351"/>
                        <a:pt x="696" y="348"/>
                        <a:pt x="697" y="347"/>
                      </a:cubicBezTo>
                      <a:cubicBezTo>
                        <a:pt x="697" y="346"/>
                        <a:pt x="697" y="346"/>
                        <a:pt x="697" y="346"/>
                      </a:cubicBezTo>
                      <a:cubicBezTo>
                        <a:pt x="698" y="346"/>
                        <a:pt x="698" y="347"/>
                        <a:pt x="698" y="348"/>
                      </a:cubicBezTo>
                      <a:cubicBezTo>
                        <a:pt x="699" y="348"/>
                        <a:pt x="699" y="348"/>
                        <a:pt x="699" y="348"/>
                      </a:cubicBezTo>
                      <a:cubicBezTo>
                        <a:pt x="700" y="350"/>
                        <a:pt x="702" y="352"/>
                        <a:pt x="703" y="353"/>
                      </a:cubicBezTo>
                      <a:cubicBezTo>
                        <a:pt x="704" y="354"/>
                        <a:pt x="704" y="354"/>
                        <a:pt x="705" y="355"/>
                      </a:cubicBezTo>
                      <a:cubicBezTo>
                        <a:pt x="707" y="357"/>
                        <a:pt x="709" y="358"/>
                        <a:pt x="711" y="359"/>
                      </a:cubicBezTo>
                      <a:cubicBezTo>
                        <a:pt x="713" y="360"/>
                        <a:pt x="713" y="360"/>
                        <a:pt x="713" y="360"/>
                      </a:cubicBezTo>
                      <a:cubicBezTo>
                        <a:pt x="715" y="361"/>
                        <a:pt x="716" y="362"/>
                        <a:pt x="717" y="364"/>
                      </a:cubicBezTo>
                      <a:cubicBezTo>
                        <a:pt x="717" y="364"/>
                        <a:pt x="717" y="364"/>
                        <a:pt x="717" y="364"/>
                      </a:cubicBezTo>
                      <a:cubicBezTo>
                        <a:pt x="719" y="367"/>
                        <a:pt x="721" y="368"/>
                        <a:pt x="724" y="368"/>
                      </a:cubicBezTo>
                      <a:cubicBezTo>
                        <a:pt x="724" y="368"/>
                        <a:pt x="725" y="368"/>
                        <a:pt x="726" y="368"/>
                      </a:cubicBezTo>
                      <a:cubicBezTo>
                        <a:pt x="727" y="368"/>
                        <a:pt x="727" y="368"/>
                        <a:pt x="728" y="369"/>
                      </a:cubicBezTo>
                      <a:cubicBezTo>
                        <a:pt x="729" y="369"/>
                        <a:pt x="731" y="370"/>
                        <a:pt x="733" y="370"/>
                      </a:cubicBezTo>
                      <a:cubicBezTo>
                        <a:pt x="733" y="370"/>
                        <a:pt x="733" y="370"/>
                        <a:pt x="733" y="370"/>
                      </a:cubicBezTo>
                      <a:cubicBezTo>
                        <a:pt x="734" y="370"/>
                        <a:pt x="735" y="370"/>
                        <a:pt x="737" y="370"/>
                      </a:cubicBezTo>
                      <a:cubicBezTo>
                        <a:pt x="739" y="370"/>
                        <a:pt x="740" y="370"/>
                        <a:pt x="742" y="370"/>
                      </a:cubicBezTo>
                      <a:cubicBezTo>
                        <a:pt x="741" y="371"/>
                        <a:pt x="741" y="371"/>
                        <a:pt x="740" y="372"/>
                      </a:cubicBezTo>
                      <a:cubicBezTo>
                        <a:pt x="738" y="374"/>
                        <a:pt x="736" y="377"/>
                        <a:pt x="736" y="380"/>
                      </a:cubicBezTo>
                      <a:cubicBezTo>
                        <a:pt x="736" y="381"/>
                        <a:pt x="737" y="383"/>
                        <a:pt x="739" y="384"/>
                      </a:cubicBezTo>
                      <a:cubicBezTo>
                        <a:pt x="741" y="386"/>
                        <a:pt x="742" y="388"/>
                        <a:pt x="744" y="390"/>
                      </a:cubicBezTo>
                      <a:cubicBezTo>
                        <a:pt x="746" y="392"/>
                        <a:pt x="748" y="392"/>
                        <a:pt x="751" y="392"/>
                      </a:cubicBezTo>
                      <a:cubicBezTo>
                        <a:pt x="752" y="392"/>
                        <a:pt x="753" y="392"/>
                        <a:pt x="754" y="392"/>
                      </a:cubicBezTo>
                      <a:cubicBezTo>
                        <a:pt x="755" y="392"/>
                        <a:pt x="756" y="392"/>
                        <a:pt x="757" y="392"/>
                      </a:cubicBezTo>
                      <a:cubicBezTo>
                        <a:pt x="757" y="392"/>
                        <a:pt x="758" y="392"/>
                        <a:pt x="758" y="392"/>
                      </a:cubicBezTo>
                      <a:cubicBezTo>
                        <a:pt x="759" y="393"/>
                        <a:pt x="759" y="394"/>
                        <a:pt x="758" y="395"/>
                      </a:cubicBezTo>
                      <a:cubicBezTo>
                        <a:pt x="758" y="396"/>
                        <a:pt x="758" y="397"/>
                        <a:pt x="759" y="398"/>
                      </a:cubicBezTo>
                      <a:cubicBezTo>
                        <a:pt x="759" y="402"/>
                        <a:pt x="763" y="407"/>
                        <a:pt x="769" y="407"/>
                      </a:cubicBezTo>
                      <a:cubicBezTo>
                        <a:pt x="770" y="407"/>
                        <a:pt x="770" y="407"/>
                        <a:pt x="771" y="407"/>
                      </a:cubicBezTo>
                      <a:cubicBezTo>
                        <a:pt x="776" y="405"/>
                        <a:pt x="776" y="401"/>
                        <a:pt x="776" y="399"/>
                      </a:cubicBezTo>
                      <a:cubicBezTo>
                        <a:pt x="775" y="397"/>
                        <a:pt x="776" y="396"/>
                        <a:pt x="776" y="396"/>
                      </a:cubicBezTo>
                      <a:cubicBezTo>
                        <a:pt x="777" y="396"/>
                        <a:pt x="779" y="395"/>
                        <a:pt x="781" y="395"/>
                      </a:cubicBezTo>
                      <a:cubicBezTo>
                        <a:pt x="783" y="395"/>
                        <a:pt x="784" y="395"/>
                        <a:pt x="785" y="395"/>
                      </a:cubicBezTo>
                      <a:cubicBezTo>
                        <a:pt x="786" y="396"/>
                        <a:pt x="788" y="398"/>
                        <a:pt x="789" y="399"/>
                      </a:cubicBezTo>
                      <a:cubicBezTo>
                        <a:pt x="792" y="401"/>
                        <a:pt x="795" y="403"/>
                        <a:pt x="798" y="404"/>
                      </a:cubicBezTo>
                      <a:cubicBezTo>
                        <a:pt x="801" y="405"/>
                        <a:pt x="803" y="405"/>
                        <a:pt x="806" y="405"/>
                      </a:cubicBezTo>
                      <a:cubicBezTo>
                        <a:pt x="808" y="405"/>
                        <a:pt x="809" y="405"/>
                        <a:pt x="811" y="405"/>
                      </a:cubicBezTo>
                      <a:cubicBezTo>
                        <a:pt x="812" y="405"/>
                        <a:pt x="813" y="405"/>
                        <a:pt x="814" y="405"/>
                      </a:cubicBezTo>
                      <a:cubicBezTo>
                        <a:pt x="814" y="405"/>
                        <a:pt x="814" y="405"/>
                        <a:pt x="815" y="405"/>
                      </a:cubicBezTo>
                      <a:cubicBezTo>
                        <a:pt x="817" y="405"/>
                        <a:pt x="819" y="405"/>
                        <a:pt x="822" y="405"/>
                      </a:cubicBezTo>
                      <a:cubicBezTo>
                        <a:pt x="823" y="405"/>
                        <a:pt x="823" y="405"/>
                        <a:pt x="823" y="405"/>
                      </a:cubicBezTo>
                      <a:cubicBezTo>
                        <a:pt x="823" y="405"/>
                        <a:pt x="824" y="405"/>
                        <a:pt x="824" y="405"/>
                      </a:cubicBezTo>
                      <a:cubicBezTo>
                        <a:pt x="826" y="405"/>
                        <a:pt x="827" y="405"/>
                        <a:pt x="828" y="405"/>
                      </a:cubicBezTo>
                      <a:cubicBezTo>
                        <a:pt x="829" y="405"/>
                        <a:pt x="830" y="404"/>
                        <a:pt x="831" y="404"/>
                      </a:cubicBezTo>
                      <a:cubicBezTo>
                        <a:pt x="832" y="404"/>
                        <a:pt x="835" y="405"/>
                        <a:pt x="836" y="405"/>
                      </a:cubicBezTo>
                      <a:cubicBezTo>
                        <a:pt x="839" y="406"/>
                        <a:pt x="842" y="407"/>
                        <a:pt x="845" y="407"/>
                      </a:cubicBezTo>
                      <a:cubicBezTo>
                        <a:pt x="848" y="407"/>
                        <a:pt x="850" y="406"/>
                        <a:pt x="851" y="404"/>
                      </a:cubicBezTo>
                      <a:cubicBezTo>
                        <a:pt x="853" y="403"/>
                        <a:pt x="853" y="400"/>
                        <a:pt x="853" y="398"/>
                      </a:cubicBezTo>
                      <a:cubicBezTo>
                        <a:pt x="853" y="389"/>
                        <a:pt x="844" y="382"/>
                        <a:pt x="837" y="378"/>
                      </a:cubicBezTo>
                      <a:cubicBezTo>
                        <a:pt x="834" y="377"/>
                        <a:pt x="832" y="376"/>
                        <a:pt x="829" y="375"/>
                      </a:cubicBezTo>
                      <a:cubicBezTo>
                        <a:pt x="824" y="373"/>
                        <a:pt x="820" y="371"/>
                        <a:pt x="816" y="368"/>
                      </a:cubicBezTo>
                      <a:cubicBezTo>
                        <a:pt x="814" y="367"/>
                        <a:pt x="812" y="367"/>
                        <a:pt x="810" y="366"/>
                      </a:cubicBezTo>
                      <a:cubicBezTo>
                        <a:pt x="809" y="366"/>
                        <a:pt x="808" y="366"/>
                        <a:pt x="807" y="365"/>
                      </a:cubicBezTo>
                      <a:cubicBezTo>
                        <a:pt x="803" y="364"/>
                        <a:pt x="798" y="361"/>
                        <a:pt x="794" y="359"/>
                      </a:cubicBezTo>
                      <a:cubicBezTo>
                        <a:pt x="793" y="358"/>
                        <a:pt x="791" y="357"/>
                        <a:pt x="790" y="357"/>
                      </a:cubicBezTo>
                      <a:cubicBezTo>
                        <a:pt x="788" y="355"/>
                        <a:pt x="786" y="354"/>
                        <a:pt x="785" y="353"/>
                      </a:cubicBezTo>
                      <a:cubicBezTo>
                        <a:pt x="785" y="352"/>
                        <a:pt x="785" y="352"/>
                        <a:pt x="785" y="352"/>
                      </a:cubicBezTo>
                      <a:cubicBezTo>
                        <a:pt x="786" y="352"/>
                        <a:pt x="788" y="353"/>
                        <a:pt x="789" y="353"/>
                      </a:cubicBezTo>
                      <a:cubicBezTo>
                        <a:pt x="791" y="354"/>
                        <a:pt x="792" y="354"/>
                        <a:pt x="793" y="354"/>
                      </a:cubicBezTo>
                      <a:cubicBezTo>
                        <a:pt x="794" y="354"/>
                        <a:pt x="795" y="354"/>
                        <a:pt x="796" y="354"/>
                      </a:cubicBezTo>
                      <a:cubicBezTo>
                        <a:pt x="797" y="354"/>
                        <a:pt x="797" y="354"/>
                        <a:pt x="798" y="354"/>
                      </a:cubicBezTo>
                      <a:cubicBezTo>
                        <a:pt x="799" y="354"/>
                        <a:pt x="799" y="354"/>
                        <a:pt x="800" y="354"/>
                      </a:cubicBezTo>
                      <a:cubicBezTo>
                        <a:pt x="801" y="354"/>
                        <a:pt x="802" y="354"/>
                        <a:pt x="802" y="355"/>
                      </a:cubicBezTo>
                      <a:cubicBezTo>
                        <a:pt x="806" y="355"/>
                        <a:pt x="809" y="357"/>
                        <a:pt x="812" y="358"/>
                      </a:cubicBezTo>
                      <a:cubicBezTo>
                        <a:pt x="815" y="359"/>
                        <a:pt x="817" y="360"/>
                        <a:pt x="819" y="361"/>
                      </a:cubicBezTo>
                      <a:cubicBezTo>
                        <a:pt x="820" y="361"/>
                        <a:pt x="821" y="362"/>
                        <a:pt x="822" y="362"/>
                      </a:cubicBezTo>
                      <a:cubicBezTo>
                        <a:pt x="823" y="362"/>
                        <a:pt x="824" y="361"/>
                        <a:pt x="825" y="361"/>
                      </a:cubicBezTo>
                      <a:cubicBezTo>
                        <a:pt x="826" y="361"/>
                        <a:pt x="827" y="361"/>
                        <a:pt x="827" y="361"/>
                      </a:cubicBezTo>
                      <a:cubicBezTo>
                        <a:pt x="827" y="361"/>
                        <a:pt x="828" y="361"/>
                        <a:pt x="828" y="361"/>
                      </a:cubicBezTo>
                      <a:cubicBezTo>
                        <a:pt x="828" y="361"/>
                        <a:pt x="829" y="362"/>
                        <a:pt x="830" y="362"/>
                      </a:cubicBezTo>
                      <a:cubicBezTo>
                        <a:pt x="831" y="363"/>
                        <a:pt x="832" y="365"/>
                        <a:pt x="834" y="365"/>
                      </a:cubicBezTo>
                      <a:cubicBezTo>
                        <a:pt x="835" y="366"/>
                        <a:pt x="836" y="366"/>
                        <a:pt x="838" y="366"/>
                      </a:cubicBezTo>
                      <a:cubicBezTo>
                        <a:pt x="838" y="366"/>
                        <a:pt x="839" y="366"/>
                        <a:pt x="840" y="366"/>
                      </a:cubicBezTo>
                      <a:cubicBezTo>
                        <a:pt x="841" y="366"/>
                        <a:pt x="842" y="366"/>
                        <a:pt x="842" y="366"/>
                      </a:cubicBezTo>
                      <a:cubicBezTo>
                        <a:pt x="843" y="366"/>
                        <a:pt x="843" y="366"/>
                        <a:pt x="843" y="366"/>
                      </a:cubicBezTo>
                      <a:cubicBezTo>
                        <a:pt x="844" y="366"/>
                        <a:pt x="845" y="366"/>
                        <a:pt x="846" y="367"/>
                      </a:cubicBezTo>
                      <a:cubicBezTo>
                        <a:pt x="847" y="367"/>
                        <a:pt x="847" y="367"/>
                        <a:pt x="847" y="367"/>
                      </a:cubicBezTo>
                      <a:cubicBezTo>
                        <a:pt x="848" y="368"/>
                        <a:pt x="848" y="368"/>
                        <a:pt x="849" y="368"/>
                      </a:cubicBezTo>
                      <a:cubicBezTo>
                        <a:pt x="850" y="369"/>
                        <a:pt x="851" y="369"/>
                        <a:pt x="852" y="370"/>
                      </a:cubicBezTo>
                      <a:cubicBezTo>
                        <a:pt x="854" y="371"/>
                        <a:pt x="855" y="371"/>
                        <a:pt x="857" y="371"/>
                      </a:cubicBezTo>
                      <a:cubicBezTo>
                        <a:pt x="859" y="371"/>
                        <a:pt x="861" y="370"/>
                        <a:pt x="862" y="367"/>
                      </a:cubicBezTo>
                      <a:cubicBezTo>
                        <a:pt x="863" y="365"/>
                        <a:pt x="862" y="362"/>
                        <a:pt x="861" y="360"/>
                      </a:cubicBezTo>
                      <a:cubicBezTo>
                        <a:pt x="861" y="360"/>
                        <a:pt x="861" y="360"/>
                        <a:pt x="862" y="359"/>
                      </a:cubicBezTo>
                      <a:close/>
                      <a:moveTo>
                        <a:pt x="493" y="120"/>
                      </a:moveTo>
                      <a:cubicBezTo>
                        <a:pt x="493" y="120"/>
                        <a:pt x="493" y="121"/>
                        <a:pt x="493" y="121"/>
                      </a:cubicBezTo>
                      <a:cubicBezTo>
                        <a:pt x="492" y="120"/>
                        <a:pt x="490" y="120"/>
                        <a:pt x="489" y="120"/>
                      </a:cubicBezTo>
                      <a:cubicBezTo>
                        <a:pt x="489" y="120"/>
                        <a:pt x="489" y="120"/>
                        <a:pt x="489" y="120"/>
                      </a:cubicBezTo>
                      <a:cubicBezTo>
                        <a:pt x="490" y="120"/>
                        <a:pt x="490" y="120"/>
                        <a:pt x="490" y="120"/>
                      </a:cubicBezTo>
                      <a:cubicBezTo>
                        <a:pt x="492" y="118"/>
                        <a:pt x="493" y="116"/>
                        <a:pt x="494" y="115"/>
                      </a:cubicBezTo>
                      <a:cubicBezTo>
                        <a:pt x="494" y="116"/>
                        <a:pt x="493" y="120"/>
                        <a:pt x="493" y="120"/>
                      </a:cubicBezTo>
                      <a:close/>
                      <a:moveTo>
                        <a:pt x="457" y="346"/>
                      </a:moveTo>
                      <a:cubicBezTo>
                        <a:pt x="452" y="346"/>
                        <a:pt x="448" y="345"/>
                        <a:pt x="445" y="342"/>
                      </a:cubicBezTo>
                      <a:cubicBezTo>
                        <a:pt x="444" y="341"/>
                        <a:pt x="444" y="341"/>
                        <a:pt x="444" y="341"/>
                      </a:cubicBezTo>
                      <a:cubicBezTo>
                        <a:pt x="443" y="340"/>
                        <a:pt x="442" y="339"/>
                        <a:pt x="441" y="338"/>
                      </a:cubicBezTo>
                      <a:cubicBezTo>
                        <a:pt x="440" y="336"/>
                        <a:pt x="439" y="335"/>
                        <a:pt x="438" y="333"/>
                      </a:cubicBezTo>
                      <a:cubicBezTo>
                        <a:pt x="437" y="331"/>
                        <a:pt x="435" y="330"/>
                        <a:pt x="433" y="329"/>
                      </a:cubicBezTo>
                      <a:cubicBezTo>
                        <a:pt x="431" y="328"/>
                        <a:pt x="430" y="327"/>
                        <a:pt x="428" y="326"/>
                      </a:cubicBezTo>
                      <a:cubicBezTo>
                        <a:pt x="430" y="326"/>
                        <a:pt x="433" y="326"/>
                        <a:pt x="435" y="327"/>
                      </a:cubicBezTo>
                      <a:cubicBezTo>
                        <a:pt x="437" y="328"/>
                        <a:pt x="439" y="329"/>
                        <a:pt x="440" y="330"/>
                      </a:cubicBezTo>
                      <a:cubicBezTo>
                        <a:pt x="443" y="332"/>
                        <a:pt x="445" y="334"/>
                        <a:pt x="447" y="336"/>
                      </a:cubicBezTo>
                      <a:cubicBezTo>
                        <a:pt x="448" y="338"/>
                        <a:pt x="450" y="340"/>
                        <a:pt x="453" y="342"/>
                      </a:cubicBezTo>
                      <a:cubicBezTo>
                        <a:pt x="453" y="342"/>
                        <a:pt x="454" y="342"/>
                        <a:pt x="454" y="343"/>
                      </a:cubicBezTo>
                      <a:cubicBezTo>
                        <a:pt x="455" y="344"/>
                        <a:pt x="456" y="345"/>
                        <a:pt x="457" y="345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7" y="346"/>
                      </a:cubicBezTo>
                      <a:close/>
                      <a:moveTo>
                        <a:pt x="567" y="79"/>
                      </a:moveTo>
                      <a:cubicBezTo>
                        <a:pt x="566" y="78"/>
                        <a:pt x="566" y="78"/>
                        <a:pt x="566" y="78"/>
                      </a:cubicBezTo>
                      <a:cubicBezTo>
                        <a:pt x="565" y="77"/>
                        <a:pt x="564" y="76"/>
                        <a:pt x="563" y="75"/>
                      </a:cubicBezTo>
                      <a:cubicBezTo>
                        <a:pt x="563" y="75"/>
                        <a:pt x="563" y="75"/>
                        <a:pt x="563" y="74"/>
                      </a:cubicBezTo>
                      <a:cubicBezTo>
                        <a:pt x="563" y="74"/>
                        <a:pt x="564" y="74"/>
                        <a:pt x="564" y="74"/>
                      </a:cubicBezTo>
                      <a:cubicBezTo>
                        <a:pt x="567" y="75"/>
                        <a:pt x="572" y="79"/>
                        <a:pt x="573" y="81"/>
                      </a:cubicBezTo>
                      <a:cubicBezTo>
                        <a:pt x="573" y="82"/>
                        <a:pt x="573" y="82"/>
                        <a:pt x="573" y="82"/>
                      </a:cubicBezTo>
                      <a:cubicBezTo>
                        <a:pt x="573" y="82"/>
                        <a:pt x="573" y="82"/>
                        <a:pt x="572" y="82"/>
                      </a:cubicBezTo>
                      <a:cubicBezTo>
                        <a:pt x="571" y="82"/>
                        <a:pt x="569" y="81"/>
                        <a:pt x="567" y="79"/>
                      </a:cubicBezTo>
                      <a:close/>
                      <a:moveTo>
                        <a:pt x="573" y="140"/>
                      </a:moveTo>
                      <a:cubicBezTo>
                        <a:pt x="573" y="140"/>
                        <a:pt x="574" y="140"/>
                        <a:pt x="574" y="140"/>
                      </a:cubicBezTo>
                      <a:cubicBezTo>
                        <a:pt x="574" y="140"/>
                        <a:pt x="574" y="140"/>
                        <a:pt x="574" y="140"/>
                      </a:cubicBezTo>
                      <a:cubicBezTo>
                        <a:pt x="575" y="140"/>
                        <a:pt x="575" y="141"/>
                        <a:pt x="575" y="142"/>
                      </a:cubicBezTo>
                      <a:cubicBezTo>
                        <a:pt x="575" y="142"/>
                        <a:pt x="576" y="143"/>
                        <a:pt x="576" y="144"/>
                      </a:cubicBezTo>
                      <a:cubicBezTo>
                        <a:pt x="575" y="143"/>
                        <a:pt x="574" y="142"/>
                        <a:pt x="573" y="140"/>
                      </a:cubicBezTo>
                      <a:close/>
                      <a:moveTo>
                        <a:pt x="739" y="259"/>
                      </a:moveTo>
                      <a:cubicBezTo>
                        <a:pt x="739" y="260"/>
                        <a:pt x="738" y="261"/>
                        <a:pt x="736" y="261"/>
                      </a:cubicBezTo>
                      <a:cubicBezTo>
                        <a:pt x="736" y="261"/>
                        <a:pt x="735" y="261"/>
                        <a:pt x="735" y="261"/>
                      </a:cubicBezTo>
                      <a:cubicBezTo>
                        <a:pt x="734" y="261"/>
                        <a:pt x="732" y="261"/>
                        <a:pt x="732" y="261"/>
                      </a:cubicBezTo>
                      <a:cubicBezTo>
                        <a:pt x="731" y="261"/>
                        <a:pt x="731" y="261"/>
                        <a:pt x="730" y="261"/>
                      </a:cubicBezTo>
                      <a:cubicBezTo>
                        <a:pt x="726" y="263"/>
                        <a:pt x="723" y="268"/>
                        <a:pt x="720" y="273"/>
                      </a:cubicBezTo>
                      <a:cubicBezTo>
                        <a:pt x="719" y="273"/>
                        <a:pt x="719" y="273"/>
                        <a:pt x="719" y="273"/>
                      </a:cubicBezTo>
                      <a:cubicBezTo>
                        <a:pt x="720" y="271"/>
                        <a:pt x="720" y="270"/>
                        <a:pt x="719" y="267"/>
                      </a:cubicBezTo>
                      <a:cubicBezTo>
                        <a:pt x="717" y="262"/>
                        <a:pt x="714" y="259"/>
                        <a:pt x="710" y="258"/>
                      </a:cubicBezTo>
                      <a:cubicBezTo>
                        <a:pt x="712" y="254"/>
                        <a:pt x="713" y="250"/>
                        <a:pt x="713" y="246"/>
                      </a:cubicBezTo>
                      <a:cubicBezTo>
                        <a:pt x="716" y="247"/>
                        <a:pt x="719" y="249"/>
                        <a:pt x="723" y="250"/>
                      </a:cubicBezTo>
                      <a:cubicBezTo>
                        <a:pt x="725" y="250"/>
                        <a:pt x="727" y="251"/>
                        <a:pt x="729" y="251"/>
                      </a:cubicBezTo>
                      <a:cubicBezTo>
                        <a:pt x="731" y="251"/>
                        <a:pt x="734" y="251"/>
                        <a:pt x="736" y="252"/>
                      </a:cubicBezTo>
                      <a:cubicBezTo>
                        <a:pt x="738" y="253"/>
                        <a:pt x="739" y="255"/>
                        <a:pt x="740" y="257"/>
                      </a:cubicBezTo>
                      <a:cubicBezTo>
                        <a:pt x="740" y="258"/>
                        <a:pt x="740" y="259"/>
                        <a:pt x="739" y="25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7" name="Freeform 28">
                  <a:extLst>
                    <a:ext uri="{FF2B5EF4-FFF2-40B4-BE49-F238E27FC236}">
                      <a16:creationId xmlns:a16="http://schemas.microsoft.com/office/drawing/2014/main" id="{272F49D3-A220-7B44-A789-AC813A09B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687327" y="3713860"/>
                  <a:ext cx="92329" cy="69063"/>
                </a:xfrm>
                <a:custGeom>
                  <a:avLst/>
                  <a:gdLst>
                    <a:gd name="T0" fmla="*/ 16 w 17"/>
                    <a:gd name="T1" fmla="*/ 2 h 14"/>
                    <a:gd name="T2" fmla="*/ 12 w 17"/>
                    <a:gd name="T3" fmla="*/ 0 h 14"/>
                    <a:gd name="T4" fmla="*/ 10 w 17"/>
                    <a:gd name="T5" fmla="*/ 0 h 14"/>
                    <a:gd name="T6" fmla="*/ 7 w 17"/>
                    <a:gd name="T7" fmla="*/ 2 h 14"/>
                    <a:gd name="T8" fmla="*/ 6 w 17"/>
                    <a:gd name="T9" fmla="*/ 3 h 14"/>
                    <a:gd name="T10" fmla="*/ 1 w 17"/>
                    <a:gd name="T11" fmla="*/ 7 h 14"/>
                    <a:gd name="T12" fmla="*/ 1 w 17"/>
                    <a:gd name="T13" fmla="*/ 11 h 14"/>
                    <a:gd name="T14" fmla="*/ 5 w 17"/>
                    <a:gd name="T15" fmla="*/ 14 h 14"/>
                    <a:gd name="T16" fmla="*/ 10 w 17"/>
                    <a:gd name="T17" fmla="*/ 11 h 14"/>
                    <a:gd name="T18" fmla="*/ 10 w 17"/>
                    <a:gd name="T19" fmla="*/ 11 h 14"/>
                    <a:gd name="T20" fmla="*/ 12 w 17"/>
                    <a:gd name="T21" fmla="*/ 11 h 14"/>
                    <a:gd name="T22" fmla="*/ 16 w 17"/>
                    <a:gd name="T23" fmla="*/ 7 h 14"/>
                    <a:gd name="T24" fmla="*/ 16 w 17"/>
                    <a:gd name="T25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" h="14">
                      <a:moveTo>
                        <a:pt x="16" y="2"/>
                      </a:moveTo>
                      <a:cubicBezTo>
                        <a:pt x="15" y="0"/>
                        <a:pt x="14" y="0"/>
                        <a:pt x="12" y="0"/>
                      </a:cubicBezTo>
                      <a:cubicBezTo>
                        <a:pt x="12" y="0"/>
                        <a:pt x="11" y="0"/>
                        <a:pt x="10" y="0"/>
                      </a:cubicBezTo>
                      <a:cubicBezTo>
                        <a:pt x="9" y="0"/>
                        <a:pt x="8" y="1"/>
                        <a:pt x="7" y="2"/>
                      </a:cubicBezTo>
                      <a:cubicBezTo>
                        <a:pt x="7" y="2"/>
                        <a:pt x="6" y="3"/>
                        <a:pt x="6" y="3"/>
                      </a:cubicBezTo>
                      <a:cubicBezTo>
                        <a:pt x="4" y="3"/>
                        <a:pt x="2" y="4"/>
                        <a:pt x="1" y="7"/>
                      </a:cubicBezTo>
                      <a:cubicBezTo>
                        <a:pt x="0" y="7"/>
                        <a:pt x="0" y="9"/>
                        <a:pt x="1" y="11"/>
                      </a:cubicBezTo>
                      <a:cubicBezTo>
                        <a:pt x="2" y="14"/>
                        <a:pt x="4" y="14"/>
                        <a:pt x="5" y="14"/>
                      </a:cubicBezTo>
                      <a:cubicBezTo>
                        <a:pt x="7" y="14"/>
                        <a:pt x="9" y="12"/>
                        <a:pt x="10" y="11"/>
                      </a:cubicBez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1" y="11"/>
                        <a:pt x="11" y="11"/>
                        <a:pt x="12" y="11"/>
                      </a:cubicBezTo>
                      <a:cubicBezTo>
                        <a:pt x="13" y="10"/>
                        <a:pt x="15" y="9"/>
                        <a:pt x="16" y="7"/>
                      </a:cubicBezTo>
                      <a:cubicBezTo>
                        <a:pt x="17" y="6"/>
                        <a:pt x="17" y="3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8" name="Freeform 29">
                  <a:extLst>
                    <a:ext uri="{FF2B5EF4-FFF2-40B4-BE49-F238E27FC236}">
                      <a16:creationId xmlns:a16="http://schemas.microsoft.com/office/drawing/2014/main" id="{3C15FB7C-771B-8144-A2C8-B5088C0810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49962" y="6269195"/>
                  <a:ext cx="108743" cy="102661"/>
                </a:xfrm>
                <a:custGeom>
                  <a:avLst/>
                  <a:gdLst>
                    <a:gd name="T0" fmla="*/ 19 w 20"/>
                    <a:gd name="T1" fmla="*/ 8 h 21"/>
                    <a:gd name="T2" fmla="*/ 14 w 20"/>
                    <a:gd name="T3" fmla="*/ 3 h 21"/>
                    <a:gd name="T4" fmla="*/ 10 w 20"/>
                    <a:gd name="T5" fmla="*/ 0 h 21"/>
                    <a:gd name="T6" fmla="*/ 7 w 20"/>
                    <a:gd name="T7" fmla="*/ 0 h 21"/>
                    <a:gd name="T8" fmla="*/ 2 w 20"/>
                    <a:gd name="T9" fmla="*/ 3 h 21"/>
                    <a:gd name="T10" fmla="*/ 3 w 20"/>
                    <a:gd name="T11" fmla="*/ 7 h 21"/>
                    <a:gd name="T12" fmla="*/ 0 w 20"/>
                    <a:gd name="T13" fmla="*/ 8 h 21"/>
                    <a:gd name="T14" fmla="*/ 0 w 20"/>
                    <a:gd name="T15" fmla="*/ 11 h 21"/>
                    <a:gd name="T16" fmla="*/ 1 w 20"/>
                    <a:gd name="T17" fmla="*/ 13 h 21"/>
                    <a:gd name="T18" fmla="*/ 3 w 20"/>
                    <a:gd name="T19" fmla="*/ 19 h 21"/>
                    <a:gd name="T20" fmla="*/ 7 w 20"/>
                    <a:gd name="T21" fmla="*/ 21 h 21"/>
                    <a:gd name="T22" fmla="*/ 12 w 20"/>
                    <a:gd name="T23" fmla="*/ 18 h 21"/>
                    <a:gd name="T24" fmla="*/ 13 w 20"/>
                    <a:gd name="T25" fmla="*/ 17 h 21"/>
                    <a:gd name="T26" fmla="*/ 14 w 20"/>
                    <a:gd name="T27" fmla="*/ 16 h 21"/>
                    <a:gd name="T28" fmla="*/ 16 w 20"/>
                    <a:gd name="T29" fmla="*/ 15 h 21"/>
                    <a:gd name="T30" fmla="*/ 19 w 20"/>
                    <a:gd name="T31" fmla="*/ 8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" h="21">
                      <a:moveTo>
                        <a:pt x="19" y="8"/>
                      </a:moveTo>
                      <a:cubicBezTo>
                        <a:pt x="18" y="5"/>
                        <a:pt x="16" y="3"/>
                        <a:pt x="14" y="3"/>
                      </a:cubicBezTo>
                      <a:cubicBezTo>
                        <a:pt x="13" y="2"/>
                        <a:pt x="12" y="1"/>
                        <a:pt x="10" y="0"/>
                      </a:cubicBezTo>
                      <a:cubicBezTo>
                        <a:pt x="9" y="0"/>
                        <a:pt x="8" y="0"/>
                        <a:pt x="7" y="0"/>
                      </a:cubicBezTo>
                      <a:cubicBezTo>
                        <a:pt x="5" y="0"/>
                        <a:pt x="3" y="1"/>
                        <a:pt x="2" y="3"/>
                      </a:cubicBezTo>
                      <a:cubicBezTo>
                        <a:pt x="2" y="5"/>
                        <a:pt x="2" y="6"/>
                        <a:pt x="3" y="7"/>
                      </a:cubicBezTo>
                      <a:cubicBezTo>
                        <a:pt x="3" y="7"/>
                        <a:pt x="0" y="8"/>
                        <a:pt x="0" y="8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1" y="11"/>
                        <a:pt x="1" y="12"/>
                        <a:pt x="1" y="13"/>
                      </a:cubicBezTo>
                      <a:cubicBezTo>
                        <a:pt x="1" y="15"/>
                        <a:pt x="1" y="17"/>
                        <a:pt x="3" y="19"/>
                      </a:cubicBezTo>
                      <a:cubicBezTo>
                        <a:pt x="4" y="20"/>
                        <a:pt x="6" y="21"/>
                        <a:pt x="7" y="21"/>
                      </a:cubicBezTo>
                      <a:cubicBezTo>
                        <a:pt x="10" y="21"/>
                        <a:pt x="11" y="19"/>
                        <a:pt x="12" y="18"/>
                      </a:cubicBezTo>
                      <a:cubicBezTo>
                        <a:pt x="12" y="17"/>
                        <a:pt x="12" y="17"/>
                        <a:pt x="13" y="17"/>
                      </a:cubicBezTo>
                      <a:cubicBezTo>
                        <a:pt x="13" y="16"/>
                        <a:pt x="13" y="16"/>
                        <a:pt x="14" y="16"/>
                      </a:cubicBezTo>
                      <a:cubicBezTo>
                        <a:pt x="14" y="16"/>
                        <a:pt x="15" y="16"/>
                        <a:pt x="16" y="15"/>
                      </a:cubicBezTo>
                      <a:cubicBezTo>
                        <a:pt x="19" y="14"/>
                        <a:pt x="20" y="11"/>
                        <a:pt x="19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9" name="Freeform 30">
                  <a:extLst>
                    <a:ext uri="{FF2B5EF4-FFF2-40B4-BE49-F238E27FC236}">
                      <a16:creationId xmlns:a16="http://schemas.microsoft.com/office/drawing/2014/main" id="{782C77D5-C374-9044-8BE1-81EB3AAB0C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619277" y="6168400"/>
                  <a:ext cx="1743987" cy="1597784"/>
                </a:xfrm>
                <a:custGeom>
                  <a:avLst/>
                  <a:gdLst>
                    <a:gd name="T0" fmla="*/ 307 w 320"/>
                    <a:gd name="T1" fmla="*/ 198 h 322"/>
                    <a:gd name="T2" fmla="*/ 303 w 320"/>
                    <a:gd name="T3" fmla="*/ 188 h 322"/>
                    <a:gd name="T4" fmla="*/ 296 w 320"/>
                    <a:gd name="T5" fmla="*/ 170 h 322"/>
                    <a:gd name="T6" fmla="*/ 274 w 320"/>
                    <a:gd name="T7" fmla="*/ 161 h 322"/>
                    <a:gd name="T8" fmla="*/ 258 w 320"/>
                    <a:gd name="T9" fmla="*/ 166 h 322"/>
                    <a:gd name="T10" fmla="*/ 247 w 320"/>
                    <a:gd name="T11" fmla="*/ 156 h 322"/>
                    <a:gd name="T12" fmla="*/ 229 w 320"/>
                    <a:gd name="T13" fmla="*/ 166 h 322"/>
                    <a:gd name="T14" fmla="*/ 221 w 320"/>
                    <a:gd name="T15" fmla="*/ 175 h 322"/>
                    <a:gd name="T16" fmla="*/ 218 w 320"/>
                    <a:gd name="T17" fmla="*/ 175 h 322"/>
                    <a:gd name="T18" fmla="*/ 227 w 320"/>
                    <a:gd name="T19" fmla="*/ 162 h 322"/>
                    <a:gd name="T20" fmla="*/ 240 w 320"/>
                    <a:gd name="T21" fmla="*/ 144 h 322"/>
                    <a:gd name="T22" fmla="*/ 225 w 320"/>
                    <a:gd name="T23" fmla="*/ 140 h 322"/>
                    <a:gd name="T24" fmla="*/ 208 w 320"/>
                    <a:gd name="T25" fmla="*/ 147 h 322"/>
                    <a:gd name="T26" fmla="*/ 195 w 320"/>
                    <a:gd name="T27" fmla="*/ 140 h 322"/>
                    <a:gd name="T28" fmla="*/ 174 w 320"/>
                    <a:gd name="T29" fmla="*/ 143 h 322"/>
                    <a:gd name="T30" fmla="*/ 165 w 320"/>
                    <a:gd name="T31" fmla="*/ 148 h 322"/>
                    <a:gd name="T32" fmla="*/ 155 w 320"/>
                    <a:gd name="T33" fmla="*/ 132 h 322"/>
                    <a:gd name="T34" fmla="*/ 142 w 320"/>
                    <a:gd name="T35" fmla="*/ 132 h 322"/>
                    <a:gd name="T36" fmla="*/ 132 w 320"/>
                    <a:gd name="T37" fmla="*/ 132 h 322"/>
                    <a:gd name="T38" fmla="*/ 112 w 320"/>
                    <a:gd name="T39" fmla="*/ 119 h 322"/>
                    <a:gd name="T40" fmla="*/ 117 w 320"/>
                    <a:gd name="T41" fmla="*/ 107 h 322"/>
                    <a:gd name="T42" fmla="*/ 110 w 320"/>
                    <a:gd name="T43" fmla="*/ 93 h 322"/>
                    <a:gd name="T44" fmla="*/ 104 w 320"/>
                    <a:gd name="T45" fmla="*/ 92 h 322"/>
                    <a:gd name="T46" fmla="*/ 95 w 320"/>
                    <a:gd name="T47" fmla="*/ 76 h 322"/>
                    <a:gd name="T48" fmla="*/ 73 w 320"/>
                    <a:gd name="T49" fmla="*/ 68 h 322"/>
                    <a:gd name="T50" fmla="*/ 62 w 320"/>
                    <a:gd name="T51" fmla="*/ 60 h 322"/>
                    <a:gd name="T52" fmla="*/ 38 w 320"/>
                    <a:gd name="T53" fmla="*/ 36 h 322"/>
                    <a:gd name="T54" fmla="*/ 13 w 320"/>
                    <a:gd name="T55" fmla="*/ 14 h 322"/>
                    <a:gd name="T56" fmla="*/ 3 w 320"/>
                    <a:gd name="T57" fmla="*/ 11 h 322"/>
                    <a:gd name="T58" fmla="*/ 11 w 320"/>
                    <a:gd name="T59" fmla="*/ 42 h 322"/>
                    <a:gd name="T60" fmla="*/ 21 w 320"/>
                    <a:gd name="T61" fmla="*/ 50 h 322"/>
                    <a:gd name="T62" fmla="*/ 38 w 320"/>
                    <a:gd name="T63" fmla="*/ 58 h 322"/>
                    <a:gd name="T64" fmla="*/ 65 w 320"/>
                    <a:gd name="T65" fmla="*/ 114 h 322"/>
                    <a:gd name="T66" fmla="*/ 83 w 320"/>
                    <a:gd name="T67" fmla="*/ 156 h 322"/>
                    <a:gd name="T68" fmla="*/ 104 w 320"/>
                    <a:gd name="T69" fmla="*/ 181 h 322"/>
                    <a:gd name="T70" fmla="*/ 94 w 320"/>
                    <a:gd name="T71" fmla="*/ 207 h 322"/>
                    <a:gd name="T72" fmla="*/ 43 w 320"/>
                    <a:gd name="T73" fmla="*/ 210 h 322"/>
                    <a:gd name="T74" fmla="*/ 34 w 320"/>
                    <a:gd name="T75" fmla="*/ 223 h 322"/>
                    <a:gd name="T76" fmla="*/ 24 w 320"/>
                    <a:gd name="T77" fmla="*/ 242 h 322"/>
                    <a:gd name="T78" fmla="*/ 38 w 320"/>
                    <a:gd name="T79" fmla="*/ 272 h 322"/>
                    <a:gd name="T80" fmla="*/ 59 w 320"/>
                    <a:gd name="T81" fmla="*/ 290 h 322"/>
                    <a:gd name="T82" fmla="*/ 72 w 320"/>
                    <a:gd name="T83" fmla="*/ 292 h 322"/>
                    <a:gd name="T84" fmla="*/ 81 w 320"/>
                    <a:gd name="T85" fmla="*/ 311 h 322"/>
                    <a:gd name="T86" fmla="*/ 107 w 320"/>
                    <a:gd name="T87" fmla="*/ 312 h 322"/>
                    <a:gd name="T88" fmla="*/ 135 w 320"/>
                    <a:gd name="T89" fmla="*/ 322 h 322"/>
                    <a:gd name="T90" fmla="*/ 129 w 320"/>
                    <a:gd name="T91" fmla="*/ 263 h 322"/>
                    <a:gd name="T92" fmla="*/ 154 w 320"/>
                    <a:gd name="T93" fmla="*/ 297 h 322"/>
                    <a:gd name="T94" fmla="*/ 302 w 320"/>
                    <a:gd name="T95" fmla="*/ 249 h 322"/>
                    <a:gd name="T96" fmla="*/ 201 w 320"/>
                    <a:gd name="T97" fmla="*/ 212 h 322"/>
                    <a:gd name="T98" fmla="*/ 214 w 320"/>
                    <a:gd name="T99" fmla="*/ 189 h 322"/>
                    <a:gd name="T100" fmla="*/ 201 w 320"/>
                    <a:gd name="T101" fmla="*/ 216 h 3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20" h="322">
                      <a:moveTo>
                        <a:pt x="320" y="207"/>
                      </a:moveTo>
                      <a:cubicBezTo>
                        <a:pt x="319" y="206"/>
                        <a:pt x="319" y="206"/>
                        <a:pt x="319" y="206"/>
                      </a:cubicBezTo>
                      <a:cubicBezTo>
                        <a:pt x="319" y="204"/>
                        <a:pt x="319" y="202"/>
                        <a:pt x="316" y="200"/>
                      </a:cubicBezTo>
                      <a:cubicBezTo>
                        <a:pt x="314" y="198"/>
                        <a:pt x="311" y="198"/>
                        <a:pt x="310" y="198"/>
                      </a:cubicBezTo>
                      <a:cubicBezTo>
                        <a:pt x="309" y="198"/>
                        <a:pt x="308" y="198"/>
                        <a:pt x="307" y="198"/>
                      </a:cubicBezTo>
                      <a:cubicBezTo>
                        <a:pt x="306" y="198"/>
                        <a:pt x="306" y="198"/>
                        <a:pt x="305" y="198"/>
                      </a:cubicBezTo>
                      <a:cubicBezTo>
                        <a:pt x="304" y="198"/>
                        <a:pt x="304" y="198"/>
                        <a:pt x="303" y="198"/>
                      </a:cubicBezTo>
                      <a:cubicBezTo>
                        <a:pt x="303" y="197"/>
                        <a:pt x="303" y="197"/>
                        <a:pt x="302" y="195"/>
                      </a:cubicBezTo>
                      <a:cubicBezTo>
                        <a:pt x="302" y="193"/>
                        <a:pt x="302" y="192"/>
                        <a:pt x="303" y="190"/>
                      </a:cubicBezTo>
                      <a:cubicBezTo>
                        <a:pt x="303" y="189"/>
                        <a:pt x="303" y="189"/>
                        <a:pt x="303" y="188"/>
                      </a:cubicBezTo>
                      <a:cubicBezTo>
                        <a:pt x="303" y="186"/>
                        <a:pt x="303" y="183"/>
                        <a:pt x="301" y="181"/>
                      </a:cubicBezTo>
                      <a:cubicBezTo>
                        <a:pt x="300" y="180"/>
                        <a:pt x="299" y="180"/>
                        <a:pt x="298" y="180"/>
                      </a:cubicBezTo>
                      <a:cubicBezTo>
                        <a:pt x="298" y="180"/>
                        <a:pt x="298" y="180"/>
                        <a:pt x="298" y="180"/>
                      </a:cubicBezTo>
                      <a:cubicBezTo>
                        <a:pt x="298" y="179"/>
                        <a:pt x="298" y="179"/>
                        <a:pt x="298" y="179"/>
                      </a:cubicBezTo>
                      <a:cubicBezTo>
                        <a:pt x="299" y="177"/>
                        <a:pt x="300" y="174"/>
                        <a:pt x="296" y="170"/>
                      </a:cubicBezTo>
                      <a:cubicBezTo>
                        <a:pt x="293" y="167"/>
                        <a:pt x="290" y="166"/>
                        <a:pt x="286" y="164"/>
                      </a:cubicBezTo>
                      <a:cubicBezTo>
                        <a:pt x="284" y="164"/>
                        <a:pt x="283" y="163"/>
                        <a:pt x="281" y="163"/>
                      </a:cubicBezTo>
                      <a:cubicBezTo>
                        <a:pt x="281" y="163"/>
                        <a:pt x="281" y="163"/>
                        <a:pt x="280" y="163"/>
                      </a:cubicBezTo>
                      <a:cubicBezTo>
                        <a:pt x="279" y="163"/>
                        <a:pt x="279" y="163"/>
                        <a:pt x="278" y="162"/>
                      </a:cubicBezTo>
                      <a:cubicBezTo>
                        <a:pt x="277" y="162"/>
                        <a:pt x="275" y="162"/>
                        <a:pt x="274" y="161"/>
                      </a:cubicBezTo>
                      <a:cubicBezTo>
                        <a:pt x="273" y="161"/>
                        <a:pt x="272" y="161"/>
                        <a:pt x="272" y="161"/>
                      </a:cubicBezTo>
                      <a:cubicBezTo>
                        <a:pt x="271" y="161"/>
                        <a:pt x="269" y="161"/>
                        <a:pt x="268" y="161"/>
                      </a:cubicBezTo>
                      <a:cubicBezTo>
                        <a:pt x="268" y="161"/>
                        <a:pt x="267" y="161"/>
                        <a:pt x="267" y="161"/>
                      </a:cubicBezTo>
                      <a:cubicBezTo>
                        <a:pt x="264" y="161"/>
                        <a:pt x="261" y="163"/>
                        <a:pt x="261" y="163"/>
                      </a:cubicBezTo>
                      <a:cubicBezTo>
                        <a:pt x="260" y="164"/>
                        <a:pt x="259" y="165"/>
                        <a:pt x="258" y="166"/>
                      </a:cubicBezTo>
                      <a:cubicBezTo>
                        <a:pt x="258" y="165"/>
                        <a:pt x="257" y="164"/>
                        <a:pt x="257" y="163"/>
                      </a:cubicBezTo>
                      <a:cubicBezTo>
                        <a:pt x="256" y="161"/>
                        <a:pt x="254" y="161"/>
                        <a:pt x="253" y="160"/>
                      </a:cubicBezTo>
                      <a:cubicBezTo>
                        <a:pt x="253" y="160"/>
                        <a:pt x="252" y="160"/>
                        <a:pt x="252" y="159"/>
                      </a:cubicBezTo>
                      <a:cubicBezTo>
                        <a:pt x="252" y="159"/>
                        <a:pt x="251" y="159"/>
                        <a:pt x="251" y="158"/>
                      </a:cubicBezTo>
                      <a:cubicBezTo>
                        <a:pt x="250" y="158"/>
                        <a:pt x="249" y="157"/>
                        <a:pt x="247" y="156"/>
                      </a:cubicBezTo>
                      <a:cubicBezTo>
                        <a:pt x="246" y="156"/>
                        <a:pt x="244" y="155"/>
                        <a:pt x="242" y="155"/>
                      </a:cubicBezTo>
                      <a:cubicBezTo>
                        <a:pt x="241" y="155"/>
                        <a:pt x="240" y="155"/>
                        <a:pt x="239" y="155"/>
                      </a:cubicBezTo>
                      <a:cubicBezTo>
                        <a:pt x="234" y="156"/>
                        <a:pt x="233" y="158"/>
                        <a:pt x="231" y="162"/>
                      </a:cubicBezTo>
                      <a:cubicBezTo>
                        <a:pt x="231" y="163"/>
                        <a:pt x="231" y="163"/>
                        <a:pt x="231" y="163"/>
                      </a:cubicBezTo>
                      <a:cubicBezTo>
                        <a:pt x="230" y="164"/>
                        <a:pt x="230" y="165"/>
                        <a:pt x="229" y="166"/>
                      </a:cubicBezTo>
                      <a:cubicBezTo>
                        <a:pt x="229" y="166"/>
                        <a:pt x="229" y="166"/>
                        <a:pt x="229" y="167"/>
                      </a:cubicBezTo>
                      <a:cubicBezTo>
                        <a:pt x="228" y="167"/>
                        <a:pt x="228" y="167"/>
                        <a:pt x="227" y="167"/>
                      </a:cubicBezTo>
                      <a:cubicBezTo>
                        <a:pt x="226" y="168"/>
                        <a:pt x="225" y="170"/>
                        <a:pt x="224" y="171"/>
                      </a:cubicBezTo>
                      <a:cubicBezTo>
                        <a:pt x="224" y="172"/>
                        <a:pt x="223" y="173"/>
                        <a:pt x="223" y="173"/>
                      </a:cubicBezTo>
                      <a:cubicBezTo>
                        <a:pt x="222" y="174"/>
                        <a:pt x="222" y="175"/>
                        <a:pt x="221" y="175"/>
                      </a:cubicBezTo>
                      <a:cubicBezTo>
                        <a:pt x="220" y="176"/>
                        <a:pt x="219" y="177"/>
                        <a:pt x="218" y="178"/>
                      </a:cubicBezTo>
                      <a:cubicBezTo>
                        <a:pt x="218" y="178"/>
                        <a:pt x="218" y="178"/>
                        <a:pt x="218" y="178"/>
                      </a:cubicBezTo>
                      <a:cubicBezTo>
                        <a:pt x="218" y="178"/>
                        <a:pt x="218" y="177"/>
                        <a:pt x="218" y="177"/>
                      </a:cubicBezTo>
                      <a:cubicBezTo>
                        <a:pt x="218" y="176"/>
                        <a:pt x="218" y="176"/>
                        <a:pt x="218" y="175"/>
                      </a:cubicBezTo>
                      <a:cubicBezTo>
                        <a:pt x="218" y="175"/>
                        <a:pt x="218" y="175"/>
                        <a:pt x="218" y="175"/>
                      </a:cubicBezTo>
                      <a:cubicBezTo>
                        <a:pt x="219" y="174"/>
                        <a:pt x="219" y="172"/>
                        <a:pt x="219" y="172"/>
                      </a:cubicBezTo>
                      <a:cubicBezTo>
                        <a:pt x="220" y="172"/>
                        <a:pt x="220" y="171"/>
                        <a:pt x="221" y="171"/>
                      </a:cubicBezTo>
                      <a:cubicBezTo>
                        <a:pt x="222" y="171"/>
                        <a:pt x="223" y="170"/>
                        <a:pt x="224" y="169"/>
                      </a:cubicBezTo>
                      <a:cubicBezTo>
                        <a:pt x="226" y="168"/>
                        <a:pt x="226" y="166"/>
                        <a:pt x="227" y="164"/>
                      </a:cubicBezTo>
                      <a:cubicBezTo>
                        <a:pt x="227" y="163"/>
                        <a:pt x="227" y="163"/>
                        <a:pt x="227" y="162"/>
                      </a:cubicBezTo>
                      <a:cubicBezTo>
                        <a:pt x="228" y="161"/>
                        <a:pt x="230" y="160"/>
                        <a:pt x="231" y="159"/>
                      </a:cubicBezTo>
                      <a:cubicBezTo>
                        <a:pt x="232" y="158"/>
                        <a:pt x="232" y="158"/>
                        <a:pt x="232" y="158"/>
                      </a:cubicBezTo>
                      <a:cubicBezTo>
                        <a:pt x="232" y="157"/>
                        <a:pt x="233" y="157"/>
                        <a:pt x="234" y="156"/>
                      </a:cubicBezTo>
                      <a:cubicBezTo>
                        <a:pt x="235" y="155"/>
                        <a:pt x="237" y="154"/>
                        <a:pt x="239" y="152"/>
                      </a:cubicBezTo>
                      <a:cubicBezTo>
                        <a:pt x="241" y="149"/>
                        <a:pt x="241" y="146"/>
                        <a:pt x="240" y="144"/>
                      </a:cubicBezTo>
                      <a:cubicBezTo>
                        <a:pt x="240" y="142"/>
                        <a:pt x="238" y="141"/>
                        <a:pt x="236" y="140"/>
                      </a:cubicBezTo>
                      <a:cubicBezTo>
                        <a:pt x="235" y="140"/>
                        <a:pt x="234" y="139"/>
                        <a:pt x="233" y="139"/>
                      </a:cubicBezTo>
                      <a:cubicBezTo>
                        <a:pt x="231" y="139"/>
                        <a:pt x="229" y="140"/>
                        <a:pt x="228" y="141"/>
                      </a:cubicBezTo>
                      <a:cubicBezTo>
                        <a:pt x="227" y="141"/>
                        <a:pt x="227" y="141"/>
                        <a:pt x="227" y="141"/>
                      </a:cubicBezTo>
                      <a:cubicBezTo>
                        <a:pt x="227" y="141"/>
                        <a:pt x="226" y="140"/>
                        <a:pt x="225" y="140"/>
                      </a:cubicBezTo>
                      <a:cubicBezTo>
                        <a:pt x="225" y="140"/>
                        <a:pt x="223" y="139"/>
                        <a:pt x="222" y="139"/>
                      </a:cubicBezTo>
                      <a:cubicBezTo>
                        <a:pt x="221" y="138"/>
                        <a:pt x="221" y="138"/>
                        <a:pt x="220" y="138"/>
                      </a:cubicBezTo>
                      <a:cubicBezTo>
                        <a:pt x="217" y="138"/>
                        <a:pt x="213" y="140"/>
                        <a:pt x="211" y="143"/>
                      </a:cubicBezTo>
                      <a:cubicBezTo>
                        <a:pt x="211" y="144"/>
                        <a:pt x="211" y="144"/>
                        <a:pt x="211" y="144"/>
                      </a:cubicBezTo>
                      <a:cubicBezTo>
                        <a:pt x="210" y="146"/>
                        <a:pt x="209" y="147"/>
                        <a:pt x="208" y="147"/>
                      </a:cubicBezTo>
                      <a:cubicBezTo>
                        <a:pt x="207" y="147"/>
                        <a:pt x="207" y="147"/>
                        <a:pt x="207" y="147"/>
                      </a:cubicBezTo>
                      <a:cubicBezTo>
                        <a:pt x="206" y="147"/>
                        <a:pt x="204" y="147"/>
                        <a:pt x="204" y="146"/>
                      </a:cubicBezTo>
                      <a:cubicBezTo>
                        <a:pt x="203" y="146"/>
                        <a:pt x="203" y="145"/>
                        <a:pt x="203" y="145"/>
                      </a:cubicBezTo>
                      <a:cubicBezTo>
                        <a:pt x="202" y="144"/>
                        <a:pt x="201" y="142"/>
                        <a:pt x="199" y="141"/>
                      </a:cubicBezTo>
                      <a:cubicBezTo>
                        <a:pt x="198" y="140"/>
                        <a:pt x="196" y="140"/>
                        <a:pt x="195" y="140"/>
                      </a:cubicBezTo>
                      <a:cubicBezTo>
                        <a:pt x="192" y="140"/>
                        <a:pt x="189" y="141"/>
                        <a:pt x="187" y="143"/>
                      </a:cubicBezTo>
                      <a:cubicBezTo>
                        <a:pt x="186" y="143"/>
                        <a:pt x="185" y="144"/>
                        <a:pt x="184" y="144"/>
                      </a:cubicBezTo>
                      <a:cubicBezTo>
                        <a:pt x="183" y="144"/>
                        <a:pt x="182" y="144"/>
                        <a:pt x="182" y="143"/>
                      </a:cubicBezTo>
                      <a:cubicBezTo>
                        <a:pt x="181" y="143"/>
                        <a:pt x="179" y="142"/>
                        <a:pt x="177" y="142"/>
                      </a:cubicBezTo>
                      <a:cubicBezTo>
                        <a:pt x="176" y="142"/>
                        <a:pt x="175" y="142"/>
                        <a:pt x="174" y="143"/>
                      </a:cubicBezTo>
                      <a:cubicBezTo>
                        <a:pt x="172" y="144"/>
                        <a:pt x="171" y="145"/>
                        <a:pt x="170" y="147"/>
                      </a:cubicBezTo>
                      <a:cubicBezTo>
                        <a:pt x="169" y="148"/>
                        <a:pt x="169" y="149"/>
                        <a:pt x="168" y="149"/>
                      </a:cubicBezTo>
                      <a:cubicBezTo>
                        <a:pt x="168" y="149"/>
                        <a:pt x="167" y="149"/>
                        <a:pt x="166" y="149"/>
                      </a:cubicBezTo>
                      <a:cubicBezTo>
                        <a:pt x="165" y="149"/>
                        <a:pt x="165" y="149"/>
                        <a:pt x="165" y="149"/>
                      </a:cubicBezTo>
                      <a:cubicBezTo>
                        <a:pt x="165" y="148"/>
                        <a:pt x="165" y="148"/>
                        <a:pt x="165" y="148"/>
                      </a:cubicBezTo>
                      <a:cubicBezTo>
                        <a:pt x="165" y="146"/>
                        <a:pt x="166" y="141"/>
                        <a:pt x="162" y="139"/>
                      </a:cubicBezTo>
                      <a:cubicBezTo>
                        <a:pt x="162" y="138"/>
                        <a:pt x="161" y="138"/>
                        <a:pt x="160" y="138"/>
                      </a:cubicBezTo>
                      <a:cubicBezTo>
                        <a:pt x="160" y="138"/>
                        <a:pt x="160" y="137"/>
                        <a:pt x="160" y="137"/>
                      </a:cubicBezTo>
                      <a:cubicBezTo>
                        <a:pt x="160" y="136"/>
                        <a:pt x="160" y="134"/>
                        <a:pt x="158" y="133"/>
                      </a:cubicBezTo>
                      <a:cubicBezTo>
                        <a:pt x="157" y="132"/>
                        <a:pt x="156" y="132"/>
                        <a:pt x="155" y="132"/>
                      </a:cubicBezTo>
                      <a:cubicBezTo>
                        <a:pt x="153" y="132"/>
                        <a:pt x="152" y="132"/>
                        <a:pt x="151" y="133"/>
                      </a:cubicBezTo>
                      <a:cubicBezTo>
                        <a:pt x="151" y="133"/>
                        <a:pt x="151" y="133"/>
                        <a:pt x="151" y="133"/>
                      </a:cubicBezTo>
                      <a:cubicBezTo>
                        <a:pt x="151" y="133"/>
                        <a:pt x="150" y="133"/>
                        <a:pt x="150" y="133"/>
                      </a:cubicBezTo>
                      <a:cubicBezTo>
                        <a:pt x="149" y="133"/>
                        <a:pt x="148" y="133"/>
                        <a:pt x="148" y="132"/>
                      </a:cubicBezTo>
                      <a:cubicBezTo>
                        <a:pt x="146" y="132"/>
                        <a:pt x="144" y="132"/>
                        <a:pt x="142" y="132"/>
                      </a:cubicBezTo>
                      <a:cubicBezTo>
                        <a:pt x="141" y="132"/>
                        <a:pt x="140" y="132"/>
                        <a:pt x="139" y="132"/>
                      </a:cubicBezTo>
                      <a:cubicBezTo>
                        <a:pt x="138" y="132"/>
                        <a:pt x="138" y="132"/>
                        <a:pt x="138" y="132"/>
                      </a:cubicBezTo>
                      <a:cubicBezTo>
                        <a:pt x="137" y="132"/>
                        <a:pt x="137" y="131"/>
                        <a:pt x="136" y="131"/>
                      </a:cubicBezTo>
                      <a:cubicBezTo>
                        <a:pt x="134" y="131"/>
                        <a:pt x="134" y="132"/>
                        <a:pt x="133" y="132"/>
                      </a:cubicBezTo>
                      <a:cubicBezTo>
                        <a:pt x="132" y="132"/>
                        <a:pt x="132" y="132"/>
                        <a:pt x="132" y="132"/>
                      </a:cubicBezTo>
                      <a:cubicBezTo>
                        <a:pt x="131" y="132"/>
                        <a:pt x="129" y="131"/>
                        <a:pt x="128" y="129"/>
                      </a:cubicBezTo>
                      <a:cubicBezTo>
                        <a:pt x="126" y="127"/>
                        <a:pt x="124" y="126"/>
                        <a:pt x="121" y="124"/>
                      </a:cubicBezTo>
                      <a:cubicBezTo>
                        <a:pt x="120" y="124"/>
                        <a:pt x="119" y="123"/>
                        <a:pt x="118" y="123"/>
                      </a:cubicBezTo>
                      <a:cubicBezTo>
                        <a:pt x="117" y="123"/>
                        <a:pt x="116" y="123"/>
                        <a:pt x="116" y="122"/>
                      </a:cubicBezTo>
                      <a:cubicBezTo>
                        <a:pt x="115" y="121"/>
                        <a:pt x="114" y="120"/>
                        <a:pt x="112" y="119"/>
                      </a:cubicBezTo>
                      <a:cubicBezTo>
                        <a:pt x="111" y="119"/>
                        <a:pt x="111" y="118"/>
                        <a:pt x="111" y="118"/>
                      </a:cubicBezTo>
                      <a:cubicBezTo>
                        <a:pt x="110" y="118"/>
                        <a:pt x="110" y="118"/>
                        <a:pt x="110" y="118"/>
                      </a:cubicBezTo>
                      <a:cubicBezTo>
                        <a:pt x="111" y="117"/>
                        <a:pt x="111" y="117"/>
                        <a:pt x="111" y="117"/>
                      </a:cubicBezTo>
                      <a:cubicBezTo>
                        <a:pt x="112" y="117"/>
                        <a:pt x="112" y="117"/>
                        <a:pt x="112" y="117"/>
                      </a:cubicBezTo>
                      <a:cubicBezTo>
                        <a:pt x="115" y="115"/>
                        <a:pt x="117" y="109"/>
                        <a:pt x="117" y="107"/>
                      </a:cubicBezTo>
                      <a:cubicBezTo>
                        <a:pt x="117" y="107"/>
                        <a:pt x="118" y="106"/>
                        <a:pt x="118" y="105"/>
                      </a:cubicBez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9" y="105"/>
                        <a:pt x="119" y="104"/>
                        <a:pt x="119" y="102"/>
                      </a:cubicBezTo>
                      <a:cubicBezTo>
                        <a:pt x="120" y="99"/>
                        <a:pt x="118" y="97"/>
                        <a:pt x="116" y="95"/>
                      </a:cubicBezTo>
                      <a:cubicBezTo>
                        <a:pt x="114" y="94"/>
                        <a:pt x="112" y="93"/>
                        <a:pt x="110" y="93"/>
                      </a:cubicBezTo>
                      <a:cubicBezTo>
                        <a:pt x="109" y="93"/>
                        <a:pt x="108" y="93"/>
                        <a:pt x="107" y="94"/>
                      </a:cubicBezTo>
                      <a:cubicBezTo>
                        <a:pt x="107" y="94"/>
                        <a:pt x="106" y="94"/>
                        <a:pt x="105" y="94"/>
                      </a:cubicBezTo>
                      <a:cubicBezTo>
                        <a:pt x="105" y="94"/>
                        <a:pt x="105" y="94"/>
                        <a:pt x="105" y="94"/>
                      </a:cubicBezTo>
                      <a:cubicBezTo>
                        <a:pt x="105" y="94"/>
                        <a:pt x="105" y="94"/>
                        <a:pt x="105" y="94"/>
                      </a:cubicBezTo>
                      <a:cubicBezTo>
                        <a:pt x="104" y="94"/>
                        <a:pt x="104" y="93"/>
                        <a:pt x="104" y="92"/>
                      </a:cubicBezTo>
                      <a:cubicBezTo>
                        <a:pt x="104" y="92"/>
                        <a:pt x="104" y="92"/>
                        <a:pt x="104" y="92"/>
                      </a:cubicBezTo>
                      <a:cubicBezTo>
                        <a:pt x="102" y="89"/>
                        <a:pt x="100" y="88"/>
                        <a:pt x="98" y="88"/>
                      </a:cubicBezTo>
                      <a:cubicBezTo>
                        <a:pt x="98" y="88"/>
                        <a:pt x="97" y="88"/>
                        <a:pt x="97" y="88"/>
                      </a:cubicBezTo>
                      <a:cubicBezTo>
                        <a:pt x="97" y="87"/>
                        <a:pt x="97" y="86"/>
                        <a:pt x="97" y="84"/>
                      </a:cubicBezTo>
                      <a:cubicBezTo>
                        <a:pt x="97" y="82"/>
                        <a:pt x="97" y="79"/>
                        <a:pt x="95" y="76"/>
                      </a:cubicBezTo>
                      <a:cubicBezTo>
                        <a:pt x="91" y="73"/>
                        <a:pt x="87" y="73"/>
                        <a:pt x="84" y="73"/>
                      </a:cubicBezTo>
                      <a:cubicBezTo>
                        <a:pt x="84" y="73"/>
                        <a:pt x="82" y="73"/>
                        <a:pt x="82" y="73"/>
                      </a:cubicBezTo>
                      <a:cubicBezTo>
                        <a:pt x="82" y="71"/>
                        <a:pt x="82" y="71"/>
                        <a:pt x="81" y="70"/>
                      </a:cubicBezTo>
                      <a:cubicBezTo>
                        <a:pt x="80" y="69"/>
                        <a:pt x="78" y="68"/>
                        <a:pt x="75" y="68"/>
                      </a:cubicBezTo>
                      <a:cubicBezTo>
                        <a:pt x="74" y="68"/>
                        <a:pt x="74" y="68"/>
                        <a:pt x="73" y="68"/>
                      </a:cubicBezTo>
                      <a:cubicBezTo>
                        <a:pt x="73" y="67"/>
                        <a:pt x="73" y="66"/>
                        <a:pt x="73" y="65"/>
                      </a:cubicBezTo>
                      <a:cubicBezTo>
                        <a:pt x="74" y="64"/>
                        <a:pt x="73" y="63"/>
                        <a:pt x="73" y="62"/>
                      </a:cubicBezTo>
                      <a:cubicBezTo>
                        <a:pt x="71" y="60"/>
                        <a:pt x="67" y="59"/>
                        <a:pt x="64" y="59"/>
                      </a:cubicBezTo>
                      <a:cubicBezTo>
                        <a:pt x="63" y="59"/>
                        <a:pt x="63" y="59"/>
                        <a:pt x="62" y="60"/>
                      </a:cubicBezTo>
                      <a:cubicBezTo>
                        <a:pt x="62" y="60"/>
                        <a:pt x="62" y="60"/>
                        <a:pt x="62" y="60"/>
                      </a:cubicBezTo>
                      <a:cubicBezTo>
                        <a:pt x="63" y="58"/>
                        <a:pt x="64" y="55"/>
                        <a:pt x="63" y="52"/>
                      </a:cubicBezTo>
                      <a:cubicBezTo>
                        <a:pt x="61" y="48"/>
                        <a:pt x="56" y="46"/>
                        <a:pt x="52" y="45"/>
                      </a:cubicBezTo>
                      <a:cubicBezTo>
                        <a:pt x="51" y="44"/>
                        <a:pt x="51" y="43"/>
                        <a:pt x="51" y="43"/>
                      </a:cubicBezTo>
                      <a:cubicBezTo>
                        <a:pt x="50" y="40"/>
                        <a:pt x="46" y="39"/>
                        <a:pt x="44" y="38"/>
                      </a:cubicBezTo>
                      <a:cubicBezTo>
                        <a:pt x="42" y="38"/>
                        <a:pt x="40" y="37"/>
                        <a:pt x="38" y="36"/>
                      </a:cubicBezTo>
                      <a:cubicBezTo>
                        <a:pt x="35" y="35"/>
                        <a:pt x="31" y="32"/>
                        <a:pt x="28" y="30"/>
                      </a:cubicBezTo>
                      <a:cubicBezTo>
                        <a:pt x="26" y="29"/>
                        <a:pt x="25" y="27"/>
                        <a:pt x="23" y="25"/>
                      </a:cubicBezTo>
                      <a:cubicBezTo>
                        <a:pt x="22" y="25"/>
                        <a:pt x="22" y="24"/>
                        <a:pt x="21" y="23"/>
                      </a:cubicBezTo>
                      <a:cubicBezTo>
                        <a:pt x="20" y="22"/>
                        <a:pt x="19" y="20"/>
                        <a:pt x="18" y="19"/>
                      </a:cubicBezTo>
                      <a:cubicBezTo>
                        <a:pt x="16" y="18"/>
                        <a:pt x="14" y="16"/>
                        <a:pt x="13" y="14"/>
                      </a:cubicBezTo>
                      <a:cubicBezTo>
                        <a:pt x="12" y="13"/>
                        <a:pt x="12" y="12"/>
                        <a:pt x="12" y="12"/>
                      </a:cubicBezTo>
                      <a:cubicBezTo>
                        <a:pt x="11" y="9"/>
                        <a:pt x="9" y="6"/>
                        <a:pt x="6" y="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7"/>
                        <a:pt x="2" y="7"/>
                        <a:pt x="2" y="7"/>
                      </a:cubicBezTo>
                      <a:cubicBezTo>
                        <a:pt x="2" y="8"/>
                        <a:pt x="3" y="11"/>
                        <a:pt x="3" y="11"/>
                      </a:cubicBezTo>
                      <a:cubicBezTo>
                        <a:pt x="3" y="14"/>
                        <a:pt x="4" y="17"/>
                        <a:pt x="5" y="20"/>
                      </a:cubicBezTo>
                      <a:cubicBezTo>
                        <a:pt x="6" y="22"/>
                        <a:pt x="6" y="24"/>
                        <a:pt x="7" y="28"/>
                      </a:cubicBezTo>
                      <a:cubicBezTo>
                        <a:pt x="10" y="27"/>
                        <a:pt x="10" y="27"/>
                        <a:pt x="10" y="27"/>
                      </a:cubicBezTo>
                      <a:cubicBezTo>
                        <a:pt x="7" y="28"/>
                        <a:pt x="7" y="28"/>
                        <a:pt x="7" y="28"/>
                      </a:cubicBezTo>
                      <a:cubicBezTo>
                        <a:pt x="9" y="37"/>
                        <a:pt x="10" y="40"/>
                        <a:pt x="11" y="42"/>
                      </a:cubicBezTo>
                      <a:cubicBezTo>
                        <a:pt x="13" y="43"/>
                        <a:pt x="14" y="43"/>
                        <a:pt x="14" y="43"/>
                      </a:cubicBezTo>
                      <a:cubicBezTo>
                        <a:pt x="15" y="43"/>
                        <a:pt x="15" y="43"/>
                        <a:pt x="16" y="43"/>
                      </a:cubicBezTo>
                      <a:cubicBezTo>
                        <a:pt x="16" y="43"/>
                        <a:pt x="17" y="43"/>
                        <a:pt x="17" y="43"/>
                      </a:cubicBezTo>
                      <a:cubicBezTo>
                        <a:pt x="19" y="43"/>
                        <a:pt x="20" y="43"/>
                        <a:pt x="21" y="45"/>
                      </a:cubicBezTo>
                      <a:cubicBezTo>
                        <a:pt x="22" y="46"/>
                        <a:pt x="22" y="48"/>
                        <a:pt x="21" y="50"/>
                      </a:cubicBezTo>
                      <a:cubicBezTo>
                        <a:pt x="21" y="52"/>
                        <a:pt x="20" y="54"/>
                        <a:pt x="21" y="55"/>
                      </a:cubicBezTo>
                      <a:cubicBezTo>
                        <a:pt x="21" y="57"/>
                        <a:pt x="22" y="60"/>
                        <a:pt x="25" y="60"/>
                      </a:cubicBezTo>
                      <a:cubicBezTo>
                        <a:pt x="26" y="60"/>
                        <a:pt x="28" y="59"/>
                        <a:pt x="29" y="59"/>
                      </a:cubicBezTo>
                      <a:cubicBezTo>
                        <a:pt x="31" y="58"/>
                        <a:pt x="33" y="58"/>
                        <a:pt x="35" y="58"/>
                      </a:cubicBezTo>
                      <a:cubicBezTo>
                        <a:pt x="36" y="58"/>
                        <a:pt x="37" y="58"/>
                        <a:pt x="38" y="58"/>
                      </a:cubicBezTo>
                      <a:cubicBezTo>
                        <a:pt x="45" y="61"/>
                        <a:pt x="45" y="67"/>
                        <a:pt x="44" y="76"/>
                      </a:cubicBezTo>
                      <a:cubicBezTo>
                        <a:pt x="43" y="83"/>
                        <a:pt x="42" y="90"/>
                        <a:pt x="49" y="93"/>
                      </a:cubicBezTo>
                      <a:cubicBezTo>
                        <a:pt x="52" y="95"/>
                        <a:pt x="54" y="95"/>
                        <a:pt x="56" y="96"/>
                      </a:cubicBezTo>
                      <a:cubicBezTo>
                        <a:pt x="61" y="96"/>
                        <a:pt x="63" y="97"/>
                        <a:pt x="65" y="105"/>
                      </a:cubicBezTo>
                      <a:cubicBezTo>
                        <a:pt x="65" y="108"/>
                        <a:pt x="65" y="111"/>
                        <a:pt x="65" y="114"/>
                      </a:cubicBezTo>
                      <a:cubicBezTo>
                        <a:pt x="65" y="118"/>
                        <a:pt x="65" y="122"/>
                        <a:pt x="66" y="127"/>
                      </a:cubicBezTo>
                      <a:cubicBezTo>
                        <a:pt x="67" y="129"/>
                        <a:pt x="67" y="132"/>
                        <a:pt x="67" y="136"/>
                      </a:cubicBezTo>
                      <a:cubicBezTo>
                        <a:pt x="68" y="141"/>
                        <a:pt x="68" y="146"/>
                        <a:pt x="70" y="150"/>
                      </a:cubicBezTo>
                      <a:cubicBezTo>
                        <a:pt x="72" y="154"/>
                        <a:pt x="75" y="154"/>
                        <a:pt x="78" y="154"/>
                      </a:cubicBezTo>
                      <a:cubicBezTo>
                        <a:pt x="79" y="155"/>
                        <a:pt x="81" y="155"/>
                        <a:pt x="83" y="156"/>
                      </a:cubicBezTo>
                      <a:cubicBezTo>
                        <a:pt x="85" y="157"/>
                        <a:pt x="86" y="158"/>
                        <a:pt x="87" y="160"/>
                      </a:cubicBezTo>
                      <a:cubicBezTo>
                        <a:pt x="88" y="161"/>
                        <a:pt x="89" y="162"/>
                        <a:pt x="90" y="163"/>
                      </a:cubicBezTo>
                      <a:cubicBezTo>
                        <a:pt x="92" y="165"/>
                        <a:pt x="94" y="166"/>
                        <a:pt x="96" y="167"/>
                      </a:cubicBezTo>
                      <a:cubicBezTo>
                        <a:pt x="100" y="169"/>
                        <a:pt x="104" y="170"/>
                        <a:pt x="104" y="176"/>
                      </a:cubicBezTo>
                      <a:cubicBezTo>
                        <a:pt x="104" y="178"/>
                        <a:pt x="104" y="179"/>
                        <a:pt x="104" y="181"/>
                      </a:cubicBezTo>
                      <a:cubicBezTo>
                        <a:pt x="103" y="183"/>
                        <a:pt x="103" y="185"/>
                        <a:pt x="104" y="188"/>
                      </a:cubicBezTo>
                      <a:cubicBezTo>
                        <a:pt x="105" y="190"/>
                        <a:pt x="106" y="191"/>
                        <a:pt x="107" y="192"/>
                      </a:cubicBezTo>
                      <a:cubicBezTo>
                        <a:pt x="108" y="194"/>
                        <a:pt x="110" y="196"/>
                        <a:pt x="110" y="199"/>
                      </a:cubicBezTo>
                      <a:cubicBezTo>
                        <a:pt x="110" y="205"/>
                        <a:pt x="106" y="207"/>
                        <a:pt x="98" y="207"/>
                      </a:cubicBezTo>
                      <a:cubicBezTo>
                        <a:pt x="94" y="207"/>
                        <a:pt x="94" y="207"/>
                        <a:pt x="94" y="207"/>
                      </a:cubicBezTo>
                      <a:cubicBezTo>
                        <a:pt x="92" y="207"/>
                        <a:pt x="90" y="207"/>
                        <a:pt x="88" y="208"/>
                      </a:cubicBezTo>
                      <a:cubicBezTo>
                        <a:pt x="85" y="209"/>
                        <a:pt x="82" y="210"/>
                        <a:pt x="78" y="211"/>
                      </a:cubicBezTo>
                      <a:cubicBezTo>
                        <a:pt x="73" y="213"/>
                        <a:pt x="68" y="216"/>
                        <a:pt x="62" y="216"/>
                      </a:cubicBezTo>
                      <a:cubicBezTo>
                        <a:pt x="56" y="216"/>
                        <a:pt x="52" y="214"/>
                        <a:pt x="47" y="211"/>
                      </a:cubicBezTo>
                      <a:cubicBezTo>
                        <a:pt x="46" y="211"/>
                        <a:pt x="44" y="210"/>
                        <a:pt x="43" y="210"/>
                      </a:cubicBezTo>
                      <a:cubicBezTo>
                        <a:pt x="38" y="208"/>
                        <a:pt x="38" y="208"/>
                        <a:pt x="38" y="208"/>
                      </a:cubicBezTo>
                      <a:cubicBezTo>
                        <a:pt x="39" y="213"/>
                        <a:pt x="39" y="213"/>
                        <a:pt x="39" y="213"/>
                      </a:cubicBezTo>
                      <a:cubicBezTo>
                        <a:pt x="39" y="215"/>
                        <a:pt x="40" y="221"/>
                        <a:pt x="39" y="222"/>
                      </a:cubicBezTo>
                      <a:cubicBezTo>
                        <a:pt x="38" y="223"/>
                        <a:pt x="37" y="223"/>
                        <a:pt x="36" y="223"/>
                      </a:cubicBezTo>
                      <a:cubicBezTo>
                        <a:pt x="36" y="223"/>
                        <a:pt x="35" y="223"/>
                        <a:pt x="34" y="223"/>
                      </a:cubicBezTo>
                      <a:cubicBezTo>
                        <a:pt x="31" y="228"/>
                        <a:pt x="31" y="228"/>
                        <a:pt x="31" y="228"/>
                      </a:cubicBezTo>
                      <a:cubicBezTo>
                        <a:pt x="33" y="230"/>
                        <a:pt x="34" y="231"/>
                        <a:pt x="34" y="234"/>
                      </a:cubicBezTo>
                      <a:cubicBezTo>
                        <a:pt x="30" y="235"/>
                        <a:pt x="27" y="237"/>
                        <a:pt x="25" y="240"/>
                      </a:cubicBezTo>
                      <a:cubicBezTo>
                        <a:pt x="24" y="241"/>
                        <a:pt x="24" y="241"/>
                        <a:pt x="24" y="241"/>
                      </a:cubicBezTo>
                      <a:cubicBezTo>
                        <a:pt x="24" y="242"/>
                        <a:pt x="24" y="242"/>
                        <a:pt x="24" y="242"/>
                      </a:cubicBezTo>
                      <a:cubicBezTo>
                        <a:pt x="26" y="255"/>
                        <a:pt x="27" y="258"/>
                        <a:pt x="28" y="259"/>
                      </a:cubicBezTo>
                      <a:cubicBezTo>
                        <a:pt x="29" y="260"/>
                        <a:pt x="31" y="261"/>
                        <a:pt x="32" y="261"/>
                      </a:cubicBezTo>
                      <a:cubicBezTo>
                        <a:pt x="34" y="262"/>
                        <a:pt x="35" y="262"/>
                        <a:pt x="36" y="263"/>
                      </a:cubicBezTo>
                      <a:cubicBezTo>
                        <a:pt x="37" y="265"/>
                        <a:pt x="37" y="266"/>
                        <a:pt x="37" y="268"/>
                      </a:cubicBezTo>
                      <a:cubicBezTo>
                        <a:pt x="37" y="269"/>
                        <a:pt x="38" y="271"/>
                        <a:pt x="38" y="272"/>
                      </a:cubicBezTo>
                      <a:cubicBezTo>
                        <a:pt x="41" y="275"/>
                        <a:pt x="44" y="275"/>
                        <a:pt x="47" y="275"/>
                      </a:cubicBezTo>
                      <a:cubicBezTo>
                        <a:pt x="49" y="275"/>
                        <a:pt x="51" y="276"/>
                        <a:pt x="53" y="277"/>
                      </a:cubicBezTo>
                      <a:cubicBezTo>
                        <a:pt x="57" y="279"/>
                        <a:pt x="58" y="282"/>
                        <a:pt x="58" y="286"/>
                      </a:cubicBezTo>
                      <a:cubicBezTo>
                        <a:pt x="59" y="287"/>
                        <a:pt x="59" y="289"/>
                        <a:pt x="59" y="290"/>
                      </a:cubicBezTo>
                      <a:cubicBezTo>
                        <a:pt x="59" y="290"/>
                        <a:pt x="59" y="290"/>
                        <a:pt x="59" y="290"/>
                      </a:cubicBezTo>
                      <a:cubicBezTo>
                        <a:pt x="61" y="298"/>
                        <a:pt x="63" y="300"/>
                        <a:pt x="64" y="301"/>
                      </a:cubicBezTo>
                      <a:cubicBezTo>
                        <a:pt x="67" y="303"/>
                        <a:pt x="67" y="303"/>
                        <a:pt x="67" y="303"/>
                      </a:cubicBezTo>
                      <a:cubicBezTo>
                        <a:pt x="68" y="299"/>
                        <a:pt x="68" y="299"/>
                        <a:pt x="68" y="299"/>
                      </a:cubicBezTo>
                      <a:cubicBezTo>
                        <a:pt x="69" y="299"/>
                        <a:pt x="69" y="298"/>
                        <a:pt x="69" y="297"/>
                      </a:cubicBezTo>
                      <a:cubicBezTo>
                        <a:pt x="70" y="294"/>
                        <a:pt x="71" y="293"/>
                        <a:pt x="72" y="292"/>
                      </a:cubicBezTo>
                      <a:cubicBezTo>
                        <a:pt x="72" y="292"/>
                        <a:pt x="72" y="292"/>
                        <a:pt x="72" y="292"/>
                      </a:cubicBezTo>
                      <a:cubicBezTo>
                        <a:pt x="74" y="292"/>
                        <a:pt x="75" y="294"/>
                        <a:pt x="76" y="294"/>
                      </a:cubicBezTo>
                      <a:cubicBezTo>
                        <a:pt x="77" y="295"/>
                        <a:pt x="78" y="299"/>
                        <a:pt x="79" y="303"/>
                      </a:cubicBezTo>
                      <a:cubicBezTo>
                        <a:pt x="79" y="306"/>
                        <a:pt x="80" y="309"/>
                        <a:pt x="81" y="310"/>
                      </a:cubicBezTo>
                      <a:cubicBezTo>
                        <a:pt x="81" y="311"/>
                        <a:pt x="81" y="311"/>
                        <a:pt x="81" y="311"/>
                      </a:cubicBezTo>
                      <a:cubicBezTo>
                        <a:pt x="84" y="316"/>
                        <a:pt x="85" y="316"/>
                        <a:pt x="90" y="316"/>
                      </a:cubicBezTo>
                      <a:cubicBezTo>
                        <a:pt x="92" y="316"/>
                        <a:pt x="92" y="316"/>
                        <a:pt x="92" y="316"/>
                      </a:cubicBezTo>
                      <a:cubicBezTo>
                        <a:pt x="93" y="316"/>
                        <a:pt x="94" y="316"/>
                        <a:pt x="95" y="316"/>
                      </a:cubicBezTo>
                      <a:cubicBezTo>
                        <a:pt x="99" y="316"/>
                        <a:pt x="101" y="315"/>
                        <a:pt x="105" y="313"/>
                      </a:cubicBezTo>
                      <a:cubicBezTo>
                        <a:pt x="107" y="312"/>
                        <a:pt x="107" y="312"/>
                        <a:pt x="107" y="312"/>
                      </a:cubicBezTo>
                      <a:cubicBezTo>
                        <a:pt x="109" y="310"/>
                        <a:pt x="111" y="309"/>
                        <a:pt x="113" y="309"/>
                      </a:cubicBezTo>
                      <a:cubicBezTo>
                        <a:pt x="114" y="309"/>
                        <a:pt x="116" y="310"/>
                        <a:pt x="119" y="311"/>
                      </a:cubicBezTo>
                      <a:cubicBezTo>
                        <a:pt x="119" y="312"/>
                        <a:pt x="119" y="312"/>
                        <a:pt x="119" y="312"/>
                      </a:cubicBezTo>
                      <a:cubicBezTo>
                        <a:pt x="124" y="316"/>
                        <a:pt x="128" y="319"/>
                        <a:pt x="130" y="320"/>
                      </a:cubicBezTo>
                      <a:cubicBezTo>
                        <a:pt x="135" y="322"/>
                        <a:pt x="135" y="322"/>
                        <a:pt x="135" y="322"/>
                      </a:cubicBezTo>
                      <a:cubicBezTo>
                        <a:pt x="135" y="315"/>
                        <a:pt x="135" y="315"/>
                        <a:pt x="135" y="315"/>
                      </a:cubicBezTo>
                      <a:cubicBezTo>
                        <a:pt x="136" y="308"/>
                        <a:pt x="136" y="300"/>
                        <a:pt x="134" y="294"/>
                      </a:cubicBezTo>
                      <a:cubicBezTo>
                        <a:pt x="132" y="291"/>
                        <a:pt x="130" y="289"/>
                        <a:pt x="128" y="286"/>
                      </a:cubicBezTo>
                      <a:cubicBezTo>
                        <a:pt x="126" y="283"/>
                        <a:pt x="123" y="280"/>
                        <a:pt x="123" y="275"/>
                      </a:cubicBezTo>
                      <a:cubicBezTo>
                        <a:pt x="123" y="270"/>
                        <a:pt x="125" y="264"/>
                        <a:pt x="129" y="263"/>
                      </a:cubicBezTo>
                      <a:cubicBezTo>
                        <a:pt x="130" y="263"/>
                        <a:pt x="130" y="263"/>
                        <a:pt x="131" y="263"/>
                      </a:cubicBezTo>
                      <a:cubicBezTo>
                        <a:pt x="133" y="263"/>
                        <a:pt x="135" y="264"/>
                        <a:pt x="137" y="267"/>
                      </a:cubicBezTo>
                      <a:cubicBezTo>
                        <a:pt x="140" y="271"/>
                        <a:pt x="139" y="274"/>
                        <a:pt x="139" y="278"/>
                      </a:cubicBezTo>
                      <a:cubicBezTo>
                        <a:pt x="138" y="282"/>
                        <a:pt x="138" y="286"/>
                        <a:pt x="142" y="291"/>
                      </a:cubicBezTo>
                      <a:cubicBezTo>
                        <a:pt x="146" y="295"/>
                        <a:pt x="149" y="297"/>
                        <a:pt x="154" y="297"/>
                      </a:cubicBezTo>
                      <a:cubicBezTo>
                        <a:pt x="156" y="297"/>
                        <a:pt x="158" y="297"/>
                        <a:pt x="161" y="296"/>
                      </a:cubicBezTo>
                      <a:cubicBezTo>
                        <a:pt x="165" y="293"/>
                        <a:pt x="170" y="291"/>
                        <a:pt x="174" y="289"/>
                      </a:cubicBezTo>
                      <a:cubicBezTo>
                        <a:pt x="201" y="275"/>
                        <a:pt x="228" y="262"/>
                        <a:pt x="253" y="249"/>
                      </a:cubicBezTo>
                      <a:cubicBezTo>
                        <a:pt x="266" y="242"/>
                        <a:pt x="279" y="236"/>
                        <a:pt x="292" y="229"/>
                      </a:cubicBezTo>
                      <a:cubicBezTo>
                        <a:pt x="302" y="249"/>
                        <a:pt x="302" y="249"/>
                        <a:pt x="302" y="249"/>
                      </a:cubicBezTo>
                      <a:cubicBezTo>
                        <a:pt x="305" y="246"/>
                        <a:pt x="305" y="246"/>
                        <a:pt x="305" y="246"/>
                      </a:cubicBezTo>
                      <a:cubicBezTo>
                        <a:pt x="307" y="244"/>
                        <a:pt x="309" y="242"/>
                        <a:pt x="310" y="240"/>
                      </a:cubicBezTo>
                      <a:cubicBezTo>
                        <a:pt x="313" y="232"/>
                        <a:pt x="316" y="225"/>
                        <a:pt x="318" y="219"/>
                      </a:cubicBezTo>
                      <a:cubicBezTo>
                        <a:pt x="319" y="215"/>
                        <a:pt x="320" y="211"/>
                        <a:pt x="320" y="207"/>
                      </a:cubicBezTo>
                      <a:close/>
                      <a:moveTo>
                        <a:pt x="201" y="212"/>
                      </a:moveTo>
                      <a:cubicBezTo>
                        <a:pt x="201" y="206"/>
                        <a:pt x="201" y="202"/>
                        <a:pt x="204" y="198"/>
                      </a:cubicBezTo>
                      <a:cubicBezTo>
                        <a:pt x="205" y="197"/>
                        <a:pt x="207" y="196"/>
                        <a:pt x="208" y="195"/>
                      </a:cubicBezTo>
                      <a:cubicBezTo>
                        <a:pt x="208" y="194"/>
                        <a:pt x="209" y="193"/>
                        <a:pt x="210" y="192"/>
                      </a:cubicBezTo>
                      <a:cubicBezTo>
                        <a:pt x="211" y="191"/>
                        <a:pt x="213" y="189"/>
                        <a:pt x="214" y="187"/>
                      </a:cubicBezTo>
                      <a:cubicBezTo>
                        <a:pt x="214" y="188"/>
                        <a:pt x="214" y="188"/>
                        <a:pt x="214" y="189"/>
                      </a:cubicBezTo>
                      <a:cubicBezTo>
                        <a:pt x="214" y="190"/>
                        <a:pt x="214" y="191"/>
                        <a:pt x="214" y="192"/>
                      </a:cubicBezTo>
                      <a:cubicBezTo>
                        <a:pt x="213" y="195"/>
                        <a:pt x="212" y="197"/>
                        <a:pt x="209" y="199"/>
                      </a:cubicBezTo>
                      <a:cubicBezTo>
                        <a:pt x="208" y="200"/>
                        <a:pt x="207" y="200"/>
                        <a:pt x="206" y="202"/>
                      </a:cubicBezTo>
                      <a:cubicBezTo>
                        <a:pt x="203" y="205"/>
                        <a:pt x="203" y="209"/>
                        <a:pt x="202" y="212"/>
                      </a:cubicBezTo>
                      <a:cubicBezTo>
                        <a:pt x="202" y="214"/>
                        <a:pt x="202" y="215"/>
                        <a:pt x="201" y="216"/>
                      </a:cubicBezTo>
                      <a:cubicBezTo>
                        <a:pt x="201" y="216"/>
                        <a:pt x="201" y="215"/>
                        <a:pt x="201" y="214"/>
                      </a:cubicBezTo>
                      <a:cubicBezTo>
                        <a:pt x="201" y="213"/>
                        <a:pt x="201" y="213"/>
                        <a:pt x="201" y="21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0" name="Freeform 31">
                  <a:extLst>
                    <a:ext uri="{FF2B5EF4-FFF2-40B4-BE49-F238E27FC236}">
                      <a16:creationId xmlns:a16="http://schemas.microsoft.com/office/drawing/2014/main" id="{C1DC4C69-999F-BB49-A90C-5264D59657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4619" y="5811885"/>
                  <a:ext cx="55397" cy="59730"/>
                </a:xfrm>
                <a:custGeom>
                  <a:avLst/>
                  <a:gdLst>
                    <a:gd name="T0" fmla="*/ 9 w 10"/>
                    <a:gd name="T1" fmla="*/ 4 h 12"/>
                    <a:gd name="T2" fmla="*/ 7 w 10"/>
                    <a:gd name="T3" fmla="*/ 3 h 12"/>
                    <a:gd name="T4" fmla="*/ 7 w 10"/>
                    <a:gd name="T5" fmla="*/ 0 h 12"/>
                    <a:gd name="T6" fmla="*/ 0 w 10"/>
                    <a:gd name="T7" fmla="*/ 7 h 12"/>
                    <a:gd name="T8" fmla="*/ 1 w 10"/>
                    <a:gd name="T9" fmla="*/ 11 h 12"/>
                    <a:gd name="T10" fmla="*/ 5 w 10"/>
                    <a:gd name="T11" fmla="*/ 12 h 12"/>
                    <a:gd name="T12" fmla="*/ 5 w 10"/>
                    <a:gd name="T13" fmla="*/ 9 h 12"/>
                    <a:gd name="T14" fmla="*/ 5 w 10"/>
                    <a:gd name="T15" fmla="*/ 9 h 12"/>
                    <a:gd name="T16" fmla="*/ 9 w 10"/>
                    <a:gd name="T17" fmla="*/ 4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2">
                      <a:moveTo>
                        <a:pt x="9" y="4"/>
                      </a:moveTo>
                      <a:cubicBezTo>
                        <a:pt x="9" y="3"/>
                        <a:pt x="8" y="3"/>
                        <a:pt x="7" y="3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4" y="0"/>
                        <a:pt x="0" y="4"/>
                        <a:pt x="0" y="7"/>
                      </a:cubicBezTo>
                      <a:cubicBezTo>
                        <a:pt x="0" y="9"/>
                        <a:pt x="0" y="10"/>
                        <a:pt x="1" y="11"/>
                      </a:cubicBezTo>
                      <a:cubicBezTo>
                        <a:pt x="2" y="11"/>
                        <a:pt x="4" y="12"/>
                        <a:pt x="5" y="12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8" y="9"/>
                        <a:pt x="10" y="7"/>
                        <a:pt x="9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1" name="Freeform 32">
                  <a:extLst>
                    <a:ext uri="{FF2B5EF4-FFF2-40B4-BE49-F238E27FC236}">
                      <a16:creationId xmlns:a16="http://schemas.microsoft.com/office/drawing/2014/main" id="{C56F7F8F-C9FF-6F4B-BE5C-272ED5476E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85388" y="7532862"/>
                  <a:ext cx="92329" cy="83996"/>
                </a:xfrm>
                <a:custGeom>
                  <a:avLst/>
                  <a:gdLst>
                    <a:gd name="T0" fmla="*/ 13 w 17"/>
                    <a:gd name="T1" fmla="*/ 0 h 17"/>
                    <a:gd name="T2" fmla="*/ 10 w 17"/>
                    <a:gd name="T3" fmla="*/ 1 h 17"/>
                    <a:gd name="T4" fmla="*/ 2 w 17"/>
                    <a:gd name="T5" fmla="*/ 10 h 17"/>
                    <a:gd name="T6" fmla="*/ 1 w 17"/>
                    <a:gd name="T7" fmla="*/ 16 h 17"/>
                    <a:gd name="T8" fmla="*/ 4 w 17"/>
                    <a:gd name="T9" fmla="*/ 17 h 17"/>
                    <a:gd name="T10" fmla="*/ 8 w 17"/>
                    <a:gd name="T11" fmla="*/ 16 h 17"/>
                    <a:gd name="T12" fmla="*/ 11 w 17"/>
                    <a:gd name="T13" fmla="*/ 11 h 17"/>
                    <a:gd name="T14" fmla="*/ 12 w 17"/>
                    <a:gd name="T15" fmla="*/ 10 h 17"/>
                    <a:gd name="T16" fmla="*/ 12 w 17"/>
                    <a:gd name="T17" fmla="*/ 10 h 17"/>
                    <a:gd name="T18" fmla="*/ 17 w 17"/>
                    <a:gd name="T19" fmla="*/ 4 h 17"/>
                    <a:gd name="T20" fmla="*/ 13 w 17"/>
                    <a:gd name="T21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7" h="17">
                      <a:moveTo>
                        <a:pt x="13" y="0"/>
                      </a:moveTo>
                      <a:cubicBezTo>
                        <a:pt x="12" y="0"/>
                        <a:pt x="11" y="1"/>
                        <a:pt x="10" y="1"/>
                      </a:cubicBezTo>
                      <a:cubicBezTo>
                        <a:pt x="7" y="3"/>
                        <a:pt x="3" y="7"/>
                        <a:pt x="2" y="10"/>
                      </a:cubicBezTo>
                      <a:cubicBezTo>
                        <a:pt x="0" y="12"/>
                        <a:pt x="0" y="14"/>
                        <a:pt x="1" y="16"/>
                      </a:cubicBezTo>
                      <a:cubicBezTo>
                        <a:pt x="2" y="17"/>
                        <a:pt x="3" y="17"/>
                        <a:pt x="4" y="17"/>
                      </a:cubicBezTo>
                      <a:cubicBezTo>
                        <a:pt x="6" y="17"/>
                        <a:pt x="7" y="17"/>
                        <a:pt x="8" y="16"/>
                      </a:cubicBezTo>
                      <a:cubicBezTo>
                        <a:pt x="10" y="15"/>
                        <a:pt x="11" y="13"/>
                        <a:pt x="11" y="11"/>
                      </a:cubicBezTo>
                      <a:cubicBezTo>
                        <a:pt x="12" y="11"/>
                        <a:pt x="12" y="10"/>
                        <a:pt x="12" y="10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6" y="9"/>
                        <a:pt x="17" y="7"/>
                        <a:pt x="17" y="4"/>
                      </a:cubicBezTo>
                      <a:cubicBezTo>
                        <a:pt x="17" y="0"/>
                        <a:pt x="14" y="0"/>
                        <a:pt x="13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2" name="Freeform 33">
                  <a:extLst>
                    <a:ext uri="{FF2B5EF4-FFF2-40B4-BE49-F238E27FC236}">
                      <a16:creationId xmlns:a16="http://schemas.microsoft.com/office/drawing/2014/main" id="{1A27F861-6065-E541-A743-44F5AC6D78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67458" y="7493664"/>
                  <a:ext cx="69759" cy="54131"/>
                </a:xfrm>
                <a:custGeom>
                  <a:avLst/>
                  <a:gdLst>
                    <a:gd name="T0" fmla="*/ 12 w 13"/>
                    <a:gd name="T1" fmla="*/ 2 h 11"/>
                    <a:gd name="T2" fmla="*/ 7 w 13"/>
                    <a:gd name="T3" fmla="*/ 0 h 11"/>
                    <a:gd name="T4" fmla="*/ 0 w 13"/>
                    <a:gd name="T5" fmla="*/ 4 h 11"/>
                    <a:gd name="T6" fmla="*/ 1 w 13"/>
                    <a:gd name="T7" fmla="*/ 9 h 11"/>
                    <a:gd name="T8" fmla="*/ 6 w 13"/>
                    <a:gd name="T9" fmla="*/ 11 h 11"/>
                    <a:gd name="T10" fmla="*/ 6 w 13"/>
                    <a:gd name="T11" fmla="*/ 11 h 11"/>
                    <a:gd name="T12" fmla="*/ 13 w 13"/>
                    <a:gd name="T13" fmla="*/ 5 h 11"/>
                    <a:gd name="T14" fmla="*/ 12 w 13"/>
                    <a:gd name="T15" fmla="*/ 2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1">
                      <a:moveTo>
                        <a:pt x="12" y="2"/>
                      </a:moveTo>
                      <a:cubicBezTo>
                        <a:pt x="11" y="1"/>
                        <a:pt x="10" y="0"/>
                        <a:pt x="7" y="0"/>
                      </a:cubicBezTo>
                      <a:cubicBezTo>
                        <a:pt x="5" y="0"/>
                        <a:pt x="1" y="1"/>
                        <a:pt x="0" y="4"/>
                      </a:cubicBezTo>
                      <a:cubicBezTo>
                        <a:pt x="0" y="5"/>
                        <a:pt x="0" y="7"/>
                        <a:pt x="1" y="9"/>
                      </a:cubicBezTo>
                      <a:cubicBezTo>
                        <a:pt x="2" y="10"/>
                        <a:pt x="4" y="11"/>
                        <a:pt x="6" y="11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9" y="10"/>
                        <a:pt x="12" y="8"/>
                        <a:pt x="13" y="5"/>
                      </a:cubicBezTo>
                      <a:cubicBezTo>
                        <a:pt x="13" y="4"/>
                        <a:pt x="13" y="3"/>
                        <a:pt x="12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3" name="Freeform 34">
                  <a:extLst>
                    <a:ext uri="{FF2B5EF4-FFF2-40B4-BE49-F238E27FC236}">
                      <a16:creationId xmlns:a16="http://schemas.microsoft.com/office/drawing/2014/main" id="{ADCE97C9-C8CF-D64E-837B-71DA4393E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40775" y="5936945"/>
                  <a:ext cx="125157" cy="117594"/>
                </a:xfrm>
                <a:custGeom>
                  <a:avLst/>
                  <a:gdLst>
                    <a:gd name="T0" fmla="*/ 22 w 23"/>
                    <a:gd name="T1" fmla="*/ 15 h 24"/>
                    <a:gd name="T2" fmla="*/ 18 w 23"/>
                    <a:gd name="T3" fmla="*/ 9 h 24"/>
                    <a:gd name="T4" fmla="*/ 14 w 23"/>
                    <a:gd name="T5" fmla="*/ 8 h 24"/>
                    <a:gd name="T6" fmla="*/ 14 w 23"/>
                    <a:gd name="T7" fmla="*/ 8 h 24"/>
                    <a:gd name="T8" fmla="*/ 13 w 23"/>
                    <a:gd name="T9" fmla="*/ 8 h 24"/>
                    <a:gd name="T10" fmla="*/ 13 w 23"/>
                    <a:gd name="T11" fmla="*/ 6 h 24"/>
                    <a:gd name="T12" fmla="*/ 11 w 23"/>
                    <a:gd name="T13" fmla="*/ 3 h 24"/>
                    <a:gd name="T14" fmla="*/ 6 w 23"/>
                    <a:gd name="T15" fmla="*/ 0 h 24"/>
                    <a:gd name="T16" fmla="*/ 2 w 23"/>
                    <a:gd name="T17" fmla="*/ 2 h 24"/>
                    <a:gd name="T18" fmla="*/ 0 w 23"/>
                    <a:gd name="T19" fmla="*/ 6 h 24"/>
                    <a:gd name="T20" fmla="*/ 4 w 23"/>
                    <a:gd name="T21" fmla="*/ 11 h 24"/>
                    <a:gd name="T22" fmla="*/ 4 w 23"/>
                    <a:gd name="T23" fmla="*/ 11 h 24"/>
                    <a:gd name="T24" fmla="*/ 1 w 23"/>
                    <a:gd name="T25" fmla="*/ 17 h 24"/>
                    <a:gd name="T26" fmla="*/ 2 w 23"/>
                    <a:gd name="T27" fmla="*/ 21 h 24"/>
                    <a:gd name="T28" fmla="*/ 7 w 23"/>
                    <a:gd name="T29" fmla="*/ 23 h 24"/>
                    <a:gd name="T30" fmla="*/ 9 w 23"/>
                    <a:gd name="T31" fmla="*/ 23 h 24"/>
                    <a:gd name="T32" fmla="*/ 12 w 23"/>
                    <a:gd name="T33" fmla="*/ 23 h 24"/>
                    <a:gd name="T34" fmla="*/ 15 w 23"/>
                    <a:gd name="T35" fmla="*/ 24 h 24"/>
                    <a:gd name="T36" fmla="*/ 15 w 23"/>
                    <a:gd name="T37" fmla="*/ 24 h 24"/>
                    <a:gd name="T38" fmla="*/ 21 w 23"/>
                    <a:gd name="T39" fmla="*/ 21 h 24"/>
                    <a:gd name="T40" fmla="*/ 22 w 23"/>
                    <a:gd name="T41" fmla="*/ 1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3" h="24">
                      <a:moveTo>
                        <a:pt x="22" y="15"/>
                      </a:moveTo>
                      <a:cubicBezTo>
                        <a:pt x="22" y="12"/>
                        <a:pt x="20" y="10"/>
                        <a:pt x="18" y="9"/>
                      </a:cubicBezTo>
                      <a:cubicBezTo>
                        <a:pt x="17" y="8"/>
                        <a:pt x="15" y="8"/>
                        <a:pt x="14" y="8"/>
                      </a:cubicBezTo>
                      <a:cubicBezTo>
                        <a:pt x="14" y="8"/>
                        <a:pt x="14" y="8"/>
                        <a:pt x="14" y="8"/>
                      </a:cubicBezTo>
                      <a:cubicBezTo>
                        <a:pt x="14" y="8"/>
                        <a:pt x="13" y="8"/>
                        <a:pt x="13" y="8"/>
                      </a:cubicBezTo>
                      <a:cubicBezTo>
                        <a:pt x="13" y="7"/>
                        <a:pt x="13" y="7"/>
                        <a:pt x="13" y="6"/>
                      </a:cubicBezTo>
                      <a:cubicBezTo>
                        <a:pt x="13" y="5"/>
                        <a:pt x="12" y="4"/>
                        <a:pt x="11" y="3"/>
                      </a:cubicBezTo>
                      <a:cubicBezTo>
                        <a:pt x="10" y="1"/>
                        <a:pt x="8" y="0"/>
                        <a:pt x="6" y="0"/>
                      </a:cubicBezTo>
                      <a:cubicBezTo>
                        <a:pt x="5" y="0"/>
                        <a:pt x="3" y="0"/>
                        <a:pt x="2" y="2"/>
                      </a:cubicBezTo>
                      <a:cubicBezTo>
                        <a:pt x="0" y="3"/>
                        <a:pt x="0" y="5"/>
                        <a:pt x="0" y="6"/>
                      </a:cubicBezTo>
                      <a:cubicBezTo>
                        <a:pt x="0" y="8"/>
                        <a:pt x="2" y="10"/>
                        <a:pt x="4" y="11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2" y="12"/>
                        <a:pt x="1" y="14"/>
                        <a:pt x="1" y="17"/>
                      </a:cubicBezTo>
                      <a:cubicBezTo>
                        <a:pt x="1" y="19"/>
                        <a:pt x="1" y="20"/>
                        <a:pt x="2" y="21"/>
                      </a:cubicBezTo>
                      <a:cubicBezTo>
                        <a:pt x="4" y="23"/>
                        <a:pt x="6" y="23"/>
                        <a:pt x="7" y="23"/>
                      </a:cubicBezTo>
                      <a:cubicBezTo>
                        <a:pt x="7" y="23"/>
                        <a:pt x="9" y="23"/>
                        <a:pt x="9" y="23"/>
                      </a:cubicBezTo>
                      <a:cubicBezTo>
                        <a:pt x="10" y="23"/>
                        <a:pt x="11" y="23"/>
                        <a:pt x="12" y="23"/>
                      </a:cubicBezTo>
                      <a:cubicBezTo>
                        <a:pt x="13" y="24"/>
                        <a:pt x="14" y="24"/>
                        <a:pt x="15" y="24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18" y="24"/>
                        <a:pt x="20" y="23"/>
                        <a:pt x="21" y="21"/>
                      </a:cubicBezTo>
                      <a:cubicBezTo>
                        <a:pt x="22" y="19"/>
                        <a:pt x="23" y="17"/>
                        <a:pt x="22" y="1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4" name="Freeform 35">
                  <a:extLst>
                    <a:ext uri="{FF2B5EF4-FFF2-40B4-BE49-F238E27FC236}">
                      <a16:creationId xmlns:a16="http://schemas.microsoft.com/office/drawing/2014/main" id="{507236DA-18FD-5F44-A48E-7BE94CBC46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77090" y="7964040"/>
                  <a:ext cx="86173" cy="89595"/>
                </a:xfrm>
                <a:custGeom>
                  <a:avLst/>
                  <a:gdLst>
                    <a:gd name="T0" fmla="*/ 14 w 16"/>
                    <a:gd name="T1" fmla="*/ 3 h 18"/>
                    <a:gd name="T2" fmla="*/ 10 w 16"/>
                    <a:gd name="T3" fmla="*/ 0 h 18"/>
                    <a:gd name="T4" fmla="*/ 7 w 16"/>
                    <a:gd name="T5" fmla="*/ 1 h 18"/>
                    <a:gd name="T6" fmla="*/ 1 w 16"/>
                    <a:gd name="T7" fmla="*/ 10 h 18"/>
                    <a:gd name="T8" fmla="*/ 2 w 16"/>
                    <a:gd name="T9" fmla="*/ 16 h 18"/>
                    <a:gd name="T10" fmla="*/ 6 w 16"/>
                    <a:gd name="T11" fmla="*/ 18 h 18"/>
                    <a:gd name="T12" fmla="*/ 9 w 16"/>
                    <a:gd name="T13" fmla="*/ 16 h 18"/>
                    <a:gd name="T14" fmla="*/ 15 w 16"/>
                    <a:gd name="T15" fmla="*/ 9 h 18"/>
                    <a:gd name="T16" fmla="*/ 14 w 16"/>
                    <a:gd name="T17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" h="18">
                      <a:moveTo>
                        <a:pt x="14" y="3"/>
                      </a:moveTo>
                      <a:cubicBezTo>
                        <a:pt x="13" y="1"/>
                        <a:pt x="11" y="0"/>
                        <a:pt x="10" y="0"/>
                      </a:cubicBezTo>
                      <a:cubicBezTo>
                        <a:pt x="9" y="0"/>
                        <a:pt x="8" y="1"/>
                        <a:pt x="7" y="1"/>
                      </a:cubicBezTo>
                      <a:cubicBezTo>
                        <a:pt x="4" y="2"/>
                        <a:pt x="1" y="8"/>
                        <a:pt x="1" y="10"/>
                      </a:cubicBezTo>
                      <a:cubicBezTo>
                        <a:pt x="0" y="12"/>
                        <a:pt x="1" y="15"/>
                        <a:pt x="2" y="16"/>
                      </a:cubicBezTo>
                      <a:cubicBezTo>
                        <a:pt x="3" y="17"/>
                        <a:pt x="4" y="18"/>
                        <a:pt x="6" y="18"/>
                      </a:cubicBezTo>
                      <a:cubicBezTo>
                        <a:pt x="7" y="18"/>
                        <a:pt x="8" y="17"/>
                        <a:pt x="9" y="16"/>
                      </a:cubicBezTo>
                      <a:cubicBezTo>
                        <a:pt x="12" y="15"/>
                        <a:pt x="14" y="12"/>
                        <a:pt x="15" y="9"/>
                      </a:cubicBezTo>
                      <a:cubicBezTo>
                        <a:pt x="16" y="7"/>
                        <a:pt x="16" y="5"/>
                        <a:pt x="14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5" name="Freeform 36">
                  <a:extLst>
                    <a:ext uri="{FF2B5EF4-FFF2-40B4-BE49-F238E27FC236}">
                      <a16:creationId xmlns:a16="http://schemas.microsoft.com/office/drawing/2014/main" id="{400E820D-9E61-8A48-B38E-544E16382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19539" y="6039607"/>
                  <a:ext cx="92329" cy="50397"/>
                </a:xfrm>
                <a:custGeom>
                  <a:avLst/>
                  <a:gdLst>
                    <a:gd name="T0" fmla="*/ 16 w 17"/>
                    <a:gd name="T1" fmla="*/ 2 h 10"/>
                    <a:gd name="T2" fmla="*/ 13 w 17"/>
                    <a:gd name="T3" fmla="*/ 1 h 10"/>
                    <a:gd name="T4" fmla="*/ 10 w 17"/>
                    <a:gd name="T5" fmla="*/ 1 h 10"/>
                    <a:gd name="T6" fmla="*/ 10 w 17"/>
                    <a:gd name="T7" fmla="*/ 2 h 10"/>
                    <a:gd name="T8" fmla="*/ 9 w 17"/>
                    <a:gd name="T9" fmla="*/ 1 h 10"/>
                    <a:gd name="T10" fmla="*/ 5 w 17"/>
                    <a:gd name="T11" fmla="*/ 0 h 10"/>
                    <a:gd name="T12" fmla="*/ 4 w 17"/>
                    <a:gd name="T13" fmla="*/ 0 h 10"/>
                    <a:gd name="T14" fmla="*/ 0 w 17"/>
                    <a:gd name="T15" fmla="*/ 3 h 10"/>
                    <a:gd name="T16" fmla="*/ 1 w 17"/>
                    <a:gd name="T17" fmla="*/ 8 h 10"/>
                    <a:gd name="T18" fmla="*/ 6 w 17"/>
                    <a:gd name="T19" fmla="*/ 10 h 10"/>
                    <a:gd name="T20" fmla="*/ 6 w 17"/>
                    <a:gd name="T21" fmla="*/ 10 h 10"/>
                    <a:gd name="T22" fmla="*/ 7 w 17"/>
                    <a:gd name="T23" fmla="*/ 10 h 10"/>
                    <a:gd name="T24" fmla="*/ 10 w 17"/>
                    <a:gd name="T25" fmla="*/ 10 h 10"/>
                    <a:gd name="T26" fmla="*/ 17 w 17"/>
                    <a:gd name="T27" fmla="*/ 6 h 10"/>
                    <a:gd name="T28" fmla="*/ 16 w 17"/>
                    <a:gd name="T29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0">
                      <a:moveTo>
                        <a:pt x="16" y="2"/>
                      </a:moveTo>
                      <a:cubicBezTo>
                        <a:pt x="16" y="2"/>
                        <a:pt x="15" y="1"/>
                        <a:pt x="13" y="1"/>
                      </a:cubicBezTo>
                      <a:cubicBezTo>
                        <a:pt x="12" y="1"/>
                        <a:pt x="11" y="1"/>
                        <a:pt x="10" y="1"/>
                      </a:cubicBezTo>
                      <a:cubicBezTo>
                        <a:pt x="10" y="2"/>
                        <a:pt x="10" y="2"/>
                        <a:pt x="10" y="2"/>
                      </a:cubicBezTo>
                      <a:cubicBezTo>
                        <a:pt x="9" y="2"/>
                        <a:pt x="9" y="1"/>
                        <a:pt x="9" y="1"/>
                      </a:cubicBezTo>
                      <a:cubicBezTo>
                        <a:pt x="8" y="1"/>
                        <a:pt x="7" y="0"/>
                        <a:pt x="5" y="0"/>
                      </a:cubicBezTo>
                      <a:cubicBezTo>
                        <a:pt x="5" y="0"/>
                        <a:pt x="4" y="0"/>
                        <a:pt x="4" y="0"/>
                      </a:cubicBezTo>
                      <a:cubicBezTo>
                        <a:pt x="2" y="1"/>
                        <a:pt x="1" y="2"/>
                        <a:pt x="0" y="3"/>
                      </a:cubicBezTo>
                      <a:cubicBezTo>
                        <a:pt x="0" y="5"/>
                        <a:pt x="0" y="7"/>
                        <a:pt x="1" y="8"/>
                      </a:cubicBezTo>
                      <a:cubicBezTo>
                        <a:pt x="2" y="10"/>
                        <a:pt x="5" y="10"/>
                        <a:pt x="6" y="10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7" y="10"/>
                        <a:pt x="7" y="10"/>
                        <a:pt x="7" y="10"/>
                      </a:cubicBezTo>
                      <a:cubicBezTo>
                        <a:pt x="8" y="10"/>
                        <a:pt x="9" y="10"/>
                        <a:pt x="10" y="10"/>
                      </a:cubicBezTo>
                      <a:cubicBezTo>
                        <a:pt x="15" y="10"/>
                        <a:pt x="17" y="8"/>
                        <a:pt x="17" y="6"/>
                      </a:cubicBezTo>
                      <a:cubicBezTo>
                        <a:pt x="17" y="4"/>
                        <a:pt x="17" y="3"/>
                        <a:pt x="16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6" name="Freeform 37">
                  <a:extLst>
                    <a:ext uri="{FF2B5EF4-FFF2-40B4-BE49-F238E27FC236}">
                      <a16:creationId xmlns:a16="http://schemas.microsoft.com/office/drawing/2014/main" id="{9DD4CD02-9FBC-194F-AE31-CAEB647712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31759" y="5964944"/>
                  <a:ext cx="131312" cy="100795"/>
                </a:xfrm>
                <a:custGeom>
                  <a:avLst/>
                  <a:gdLst>
                    <a:gd name="T0" fmla="*/ 23 w 24"/>
                    <a:gd name="T1" fmla="*/ 8 h 20"/>
                    <a:gd name="T2" fmla="*/ 12 w 24"/>
                    <a:gd name="T3" fmla="*/ 0 h 20"/>
                    <a:gd name="T4" fmla="*/ 11 w 24"/>
                    <a:gd name="T5" fmla="*/ 0 h 20"/>
                    <a:gd name="T6" fmla="*/ 3 w 24"/>
                    <a:gd name="T7" fmla="*/ 3 h 20"/>
                    <a:gd name="T8" fmla="*/ 0 w 24"/>
                    <a:gd name="T9" fmla="*/ 8 h 20"/>
                    <a:gd name="T10" fmla="*/ 2 w 24"/>
                    <a:gd name="T11" fmla="*/ 12 h 20"/>
                    <a:gd name="T12" fmla="*/ 4 w 24"/>
                    <a:gd name="T13" fmla="*/ 13 h 20"/>
                    <a:gd name="T14" fmla="*/ 5 w 24"/>
                    <a:gd name="T15" fmla="*/ 14 h 20"/>
                    <a:gd name="T16" fmla="*/ 7 w 24"/>
                    <a:gd name="T17" fmla="*/ 16 h 20"/>
                    <a:gd name="T18" fmla="*/ 8 w 24"/>
                    <a:gd name="T19" fmla="*/ 17 h 20"/>
                    <a:gd name="T20" fmla="*/ 15 w 24"/>
                    <a:gd name="T21" fmla="*/ 20 h 20"/>
                    <a:gd name="T22" fmla="*/ 15 w 24"/>
                    <a:gd name="T23" fmla="*/ 20 h 20"/>
                    <a:gd name="T24" fmla="*/ 20 w 24"/>
                    <a:gd name="T25" fmla="*/ 18 h 20"/>
                    <a:gd name="T26" fmla="*/ 23 w 24"/>
                    <a:gd name="T27" fmla="*/ 8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20">
                      <a:moveTo>
                        <a:pt x="23" y="8"/>
                      </a:moveTo>
                      <a:cubicBezTo>
                        <a:pt x="22" y="4"/>
                        <a:pt x="17" y="0"/>
                        <a:pt x="12" y="0"/>
                      </a:cubicBezTo>
                      <a:cubicBezTo>
                        <a:pt x="12" y="0"/>
                        <a:pt x="11" y="0"/>
                        <a:pt x="11" y="0"/>
                      </a:cubicBezTo>
                      <a:cubicBezTo>
                        <a:pt x="8" y="0"/>
                        <a:pt x="6" y="1"/>
                        <a:pt x="3" y="3"/>
                      </a:cubicBezTo>
                      <a:cubicBezTo>
                        <a:pt x="2" y="4"/>
                        <a:pt x="0" y="6"/>
                        <a:pt x="0" y="8"/>
                      </a:cubicBezTo>
                      <a:cubicBezTo>
                        <a:pt x="0" y="9"/>
                        <a:pt x="0" y="11"/>
                        <a:pt x="2" y="12"/>
                      </a:cubicBezTo>
                      <a:cubicBezTo>
                        <a:pt x="2" y="12"/>
                        <a:pt x="3" y="13"/>
                        <a:pt x="4" y="13"/>
                      </a:cubicBezTo>
                      <a:cubicBezTo>
                        <a:pt x="4" y="13"/>
                        <a:pt x="5" y="14"/>
                        <a:pt x="5" y="14"/>
                      </a:cubicBezTo>
                      <a:cubicBezTo>
                        <a:pt x="5" y="14"/>
                        <a:pt x="6" y="15"/>
                        <a:pt x="7" y="16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0" y="18"/>
                        <a:pt x="12" y="20"/>
                        <a:pt x="15" y="20"/>
                      </a:cubicBezTo>
                      <a:cubicBezTo>
                        <a:pt x="15" y="20"/>
                        <a:pt x="15" y="20"/>
                        <a:pt x="15" y="20"/>
                      </a:cubicBezTo>
                      <a:cubicBezTo>
                        <a:pt x="17" y="20"/>
                        <a:pt x="19" y="19"/>
                        <a:pt x="20" y="18"/>
                      </a:cubicBezTo>
                      <a:cubicBezTo>
                        <a:pt x="23" y="15"/>
                        <a:pt x="24" y="11"/>
                        <a:pt x="23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7" name="Freeform 38">
                  <a:extLst>
                    <a:ext uri="{FF2B5EF4-FFF2-40B4-BE49-F238E27FC236}">
                      <a16:creationId xmlns:a16="http://schemas.microsoft.com/office/drawing/2014/main" id="{E293C19E-E2D1-F141-B483-2CF762C316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64587" y="5862282"/>
                  <a:ext cx="59501" cy="54131"/>
                </a:xfrm>
                <a:custGeom>
                  <a:avLst/>
                  <a:gdLst>
                    <a:gd name="T0" fmla="*/ 10 w 11"/>
                    <a:gd name="T1" fmla="*/ 3 h 11"/>
                    <a:gd name="T2" fmla="*/ 7 w 11"/>
                    <a:gd name="T3" fmla="*/ 0 h 11"/>
                    <a:gd name="T4" fmla="*/ 3 w 11"/>
                    <a:gd name="T5" fmla="*/ 2 h 11"/>
                    <a:gd name="T6" fmla="*/ 1 w 11"/>
                    <a:gd name="T7" fmla="*/ 9 h 11"/>
                    <a:gd name="T8" fmla="*/ 4 w 11"/>
                    <a:gd name="T9" fmla="*/ 11 h 11"/>
                    <a:gd name="T10" fmla="*/ 8 w 11"/>
                    <a:gd name="T11" fmla="*/ 9 h 11"/>
                    <a:gd name="T12" fmla="*/ 8 w 11"/>
                    <a:gd name="T13" fmla="*/ 9 h 11"/>
                    <a:gd name="T14" fmla="*/ 10 w 11"/>
                    <a:gd name="T15" fmla="*/ 7 h 11"/>
                    <a:gd name="T16" fmla="*/ 10 w 11"/>
                    <a:gd name="T17" fmla="*/ 3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11">
                      <a:moveTo>
                        <a:pt x="10" y="3"/>
                      </a:moveTo>
                      <a:cubicBezTo>
                        <a:pt x="10" y="1"/>
                        <a:pt x="8" y="0"/>
                        <a:pt x="7" y="0"/>
                      </a:cubicBezTo>
                      <a:cubicBezTo>
                        <a:pt x="5" y="0"/>
                        <a:pt x="3" y="1"/>
                        <a:pt x="3" y="2"/>
                      </a:cubicBezTo>
                      <a:cubicBezTo>
                        <a:pt x="1" y="4"/>
                        <a:pt x="0" y="6"/>
                        <a:pt x="1" y="9"/>
                      </a:cubicBezTo>
                      <a:cubicBezTo>
                        <a:pt x="1" y="10"/>
                        <a:pt x="3" y="11"/>
                        <a:pt x="4" y="11"/>
                      </a:cubicBezTo>
                      <a:cubicBezTo>
                        <a:pt x="5" y="11"/>
                        <a:pt x="7" y="10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9" y="9"/>
                        <a:pt x="10" y="8"/>
                        <a:pt x="10" y="7"/>
                      </a:cubicBezTo>
                      <a:cubicBezTo>
                        <a:pt x="11" y="6"/>
                        <a:pt x="11" y="4"/>
                        <a:pt x="10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8" name="Freeform 39">
                  <a:extLst>
                    <a:ext uri="{FF2B5EF4-FFF2-40B4-BE49-F238E27FC236}">
                      <a16:creationId xmlns:a16="http://schemas.microsoft.com/office/drawing/2014/main" id="{26D294FC-B5F0-8249-83D0-66BDF1C753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24087" y="5916413"/>
                  <a:ext cx="114898" cy="78396"/>
                </a:xfrm>
                <a:custGeom>
                  <a:avLst/>
                  <a:gdLst>
                    <a:gd name="T0" fmla="*/ 18 w 21"/>
                    <a:gd name="T1" fmla="*/ 3 h 16"/>
                    <a:gd name="T2" fmla="*/ 9 w 21"/>
                    <a:gd name="T3" fmla="*/ 0 h 16"/>
                    <a:gd name="T4" fmla="*/ 1 w 21"/>
                    <a:gd name="T5" fmla="*/ 5 h 16"/>
                    <a:gd name="T6" fmla="*/ 3 w 21"/>
                    <a:gd name="T7" fmla="*/ 10 h 16"/>
                    <a:gd name="T8" fmla="*/ 7 w 21"/>
                    <a:gd name="T9" fmla="*/ 11 h 16"/>
                    <a:gd name="T10" fmla="*/ 9 w 21"/>
                    <a:gd name="T11" fmla="*/ 12 h 16"/>
                    <a:gd name="T12" fmla="*/ 10 w 21"/>
                    <a:gd name="T13" fmla="*/ 13 h 16"/>
                    <a:gd name="T14" fmla="*/ 15 w 21"/>
                    <a:gd name="T15" fmla="*/ 16 h 16"/>
                    <a:gd name="T16" fmla="*/ 18 w 21"/>
                    <a:gd name="T17" fmla="*/ 15 h 16"/>
                    <a:gd name="T18" fmla="*/ 21 w 21"/>
                    <a:gd name="T19" fmla="*/ 10 h 16"/>
                    <a:gd name="T20" fmla="*/ 18 w 21"/>
                    <a:gd name="T21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" h="16">
                      <a:moveTo>
                        <a:pt x="18" y="3"/>
                      </a:moveTo>
                      <a:cubicBezTo>
                        <a:pt x="15" y="0"/>
                        <a:pt x="10" y="0"/>
                        <a:pt x="9" y="0"/>
                      </a:cubicBezTo>
                      <a:cubicBezTo>
                        <a:pt x="7" y="0"/>
                        <a:pt x="2" y="1"/>
                        <a:pt x="1" y="5"/>
                      </a:cubicBezTo>
                      <a:cubicBezTo>
                        <a:pt x="1" y="5"/>
                        <a:pt x="0" y="8"/>
                        <a:pt x="3" y="10"/>
                      </a:cubicBezTo>
                      <a:cubicBezTo>
                        <a:pt x="4" y="10"/>
                        <a:pt x="5" y="11"/>
                        <a:pt x="7" y="11"/>
                      </a:cubicBezTo>
                      <a:cubicBezTo>
                        <a:pt x="7" y="11"/>
                        <a:pt x="8" y="12"/>
                        <a:pt x="9" y="12"/>
                      </a:cubicBezTo>
                      <a:cubicBezTo>
                        <a:pt x="9" y="12"/>
                        <a:pt x="9" y="13"/>
                        <a:pt x="10" y="13"/>
                      </a:cubicBezTo>
                      <a:cubicBezTo>
                        <a:pt x="11" y="14"/>
                        <a:pt x="13" y="16"/>
                        <a:pt x="15" y="16"/>
                      </a:cubicBezTo>
                      <a:cubicBezTo>
                        <a:pt x="16" y="16"/>
                        <a:pt x="17" y="16"/>
                        <a:pt x="18" y="15"/>
                      </a:cubicBezTo>
                      <a:cubicBezTo>
                        <a:pt x="20" y="14"/>
                        <a:pt x="21" y="12"/>
                        <a:pt x="21" y="10"/>
                      </a:cubicBezTo>
                      <a:cubicBezTo>
                        <a:pt x="21" y="7"/>
                        <a:pt x="20" y="4"/>
                        <a:pt x="18" y="3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9" name="Freeform 40">
                  <a:extLst>
                    <a:ext uri="{FF2B5EF4-FFF2-40B4-BE49-F238E27FC236}">
                      <a16:creationId xmlns:a16="http://schemas.microsoft.com/office/drawing/2014/main" id="{41602B37-5060-A44F-B1C2-41B85BD365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61999" y="5027926"/>
                  <a:ext cx="342642" cy="248254"/>
                </a:xfrm>
                <a:custGeom>
                  <a:avLst/>
                  <a:gdLst>
                    <a:gd name="T0" fmla="*/ 59 w 63"/>
                    <a:gd name="T1" fmla="*/ 7 h 50"/>
                    <a:gd name="T2" fmla="*/ 50 w 63"/>
                    <a:gd name="T3" fmla="*/ 4 h 50"/>
                    <a:gd name="T4" fmla="*/ 47 w 63"/>
                    <a:gd name="T5" fmla="*/ 4 h 50"/>
                    <a:gd name="T6" fmla="*/ 44 w 63"/>
                    <a:gd name="T7" fmla="*/ 4 h 50"/>
                    <a:gd name="T8" fmla="*/ 36 w 63"/>
                    <a:gd name="T9" fmla="*/ 7 h 50"/>
                    <a:gd name="T10" fmla="*/ 35 w 63"/>
                    <a:gd name="T11" fmla="*/ 9 h 50"/>
                    <a:gd name="T12" fmla="*/ 25 w 63"/>
                    <a:gd name="T13" fmla="*/ 1 h 50"/>
                    <a:gd name="T14" fmla="*/ 21 w 63"/>
                    <a:gd name="T15" fmla="*/ 0 h 50"/>
                    <a:gd name="T16" fmla="*/ 10 w 63"/>
                    <a:gd name="T17" fmla="*/ 6 h 50"/>
                    <a:gd name="T18" fmla="*/ 10 w 63"/>
                    <a:gd name="T19" fmla="*/ 6 h 50"/>
                    <a:gd name="T20" fmla="*/ 2 w 63"/>
                    <a:gd name="T21" fmla="*/ 19 h 50"/>
                    <a:gd name="T22" fmla="*/ 8 w 63"/>
                    <a:gd name="T23" fmla="*/ 47 h 50"/>
                    <a:gd name="T24" fmla="*/ 18 w 63"/>
                    <a:gd name="T25" fmla="*/ 50 h 50"/>
                    <a:gd name="T26" fmla="*/ 35 w 63"/>
                    <a:gd name="T27" fmla="*/ 42 h 50"/>
                    <a:gd name="T28" fmla="*/ 38 w 63"/>
                    <a:gd name="T29" fmla="*/ 17 h 50"/>
                    <a:gd name="T30" fmla="*/ 43 w 63"/>
                    <a:gd name="T31" fmla="*/ 21 h 50"/>
                    <a:gd name="T32" fmla="*/ 45 w 63"/>
                    <a:gd name="T33" fmla="*/ 21 h 50"/>
                    <a:gd name="T34" fmla="*/ 48 w 63"/>
                    <a:gd name="T35" fmla="*/ 21 h 50"/>
                    <a:gd name="T36" fmla="*/ 49 w 63"/>
                    <a:gd name="T37" fmla="*/ 21 h 50"/>
                    <a:gd name="T38" fmla="*/ 51 w 63"/>
                    <a:gd name="T39" fmla="*/ 21 h 50"/>
                    <a:gd name="T40" fmla="*/ 54 w 63"/>
                    <a:gd name="T41" fmla="*/ 21 h 50"/>
                    <a:gd name="T42" fmla="*/ 55 w 63"/>
                    <a:gd name="T43" fmla="*/ 21 h 50"/>
                    <a:gd name="T44" fmla="*/ 62 w 63"/>
                    <a:gd name="T45" fmla="*/ 16 h 50"/>
                    <a:gd name="T46" fmla="*/ 59 w 63"/>
                    <a:gd name="T47" fmla="*/ 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3" h="50">
                      <a:moveTo>
                        <a:pt x="59" y="7"/>
                      </a:moveTo>
                      <a:cubicBezTo>
                        <a:pt x="57" y="4"/>
                        <a:pt x="53" y="4"/>
                        <a:pt x="50" y="4"/>
                      </a:cubicBezTo>
                      <a:cubicBezTo>
                        <a:pt x="49" y="4"/>
                        <a:pt x="48" y="4"/>
                        <a:pt x="47" y="4"/>
                      </a:cubicBezTo>
                      <a:cubicBezTo>
                        <a:pt x="46" y="4"/>
                        <a:pt x="45" y="4"/>
                        <a:pt x="44" y="4"/>
                      </a:cubicBezTo>
                      <a:cubicBezTo>
                        <a:pt x="42" y="4"/>
                        <a:pt x="38" y="4"/>
                        <a:pt x="36" y="7"/>
                      </a:cubicBezTo>
                      <a:cubicBezTo>
                        <a:pt x="35" y="7"/>
                        <a:pt x="35" y="8"/>
                        <a:pt x="35" y="9"/>
                      </a:cubicBezTo>
                      <a:cubicBezTo>
                        <a:pt x="33" y="6"/>
                        <a:pt x="30" y="3"/>
                        <a:pt x="25" y="1"/>
                      </a:cubicBezTo>
                      <a:cubicBezTo>
                        <a:pt x="24" y="0"/>
                        <a:pt x="23" y="0"/>
                        <a:pt x="21" y="0"/>
                      </a:cubicBezTo>
                      <a:cubicBezTo>
                        <a:pt x="17" y="0"/>
                        <a:pt x="13" y="3"/>
                        <a:pt x="10" y="6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6" y="10"/>
                        <a:pt x="3" y="14"/>
                        <a:pt x="2" y="19"/>
                      </a:cubicBezTo>
                      <a:cubicBezTo>
                        <a:pt x="0" y="28"/>
                        <a:pt x="1" y="40"/>
                        <a:pt x="8" y="47"/>
                      </a:cubicBezTo>
                      <a:cubicBezTo>
                        <a:pt x="10" y="49"/>
                        <a:pt x="14" y="50"/>
                        <a:pt x="18" y="50"/>
                      </a:cubicBezTo>
                      <a:cubicBezTo>
                        <a:pt x="25" y="50"/>
                        <a:pt x="31" y="46"/>
                        <a:pt x="35" y="42"/>
                      </a:cubicBezTo>
                      <a:cubicBezTo>
                        <a:pt x="42" y="35"/>
                        <a:pt x="40" y="24"/>
                        <a:pt x="38" y="17"/>
                      </a:cubicBezTo>
                      <a:cubicBezTo>
                        <a:pt x="39" y="19"/>
                        <a:pt x="40" y="20"/>
                        <a:pt x="43" y="21"/>
                      </a:cubicBezTo>
                      <a:cubicBezTo>
                        <a:pt x="43" y="21"/>
                        <a:pt x="44" y="21"/>
                        <a:pt x="45" y="21"/>
                      </a:cubicBezTo>
                      <a:cubicBezTo>
                        <a:pt x="46" y="21"/>
                        <a:pt x="47" y="21"/>
                        <a:pt x="48" y="21"/>
                      </a:cubicBezTo>
                      <a:cubicBezTo>
                        <a:pt x="48" y="21"/>
                        <a:pt x="49" y="21"/>
                        <a:pt x="49" y="21"/>
                      </a:cubicBezTo>
                      <a:cubicBezTo>
                        <a:pt x="50" y="21"/>
                        <a:pt x="50" y="21"/>
                        <a:pt x="51" y="21"/>
                      </a:cubicBezTo>
                      <a:cubicBezTo>
                        <a:pt x="51" y="21"/>
                        <a:pt x="53" y="21"/>
                        <a:pt x="54" y="21"/>
                      </a:cubicBezTo>
                      <a:cubicBezTo>
                        <a:pt x="54" y="21"/>
                        <a:pt x="55" y="21"/>
                        <a:pt x="55" y="21"/>
                      </a:cubicBezTo>
                      <a:cubicBezTo>
                        <a:pt x="58" y="20"/>
                        <a:pt x="61" y="19"/>
                        <a:pt x="62" y="16"/>
                      </a:cubicBezTo>
                      <a:cubicBezTo>
                        <a:pt x="63" y="13"/>
                        <a:pt x="62" y="10"/>
                        <a:pt x="59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0" name="Freeform 41">
                  <a:extLst>
                    <a:ext uri="{FF2B5EF4-FFF2-40B4-BE49-F238E27FC236}">
                      <a16:creationId xmlns:a16="http://schemas.microsoft.com/office/drawing/2014/main" id="{C2551090-CBE1-034D-9903-5C2C160A2A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70742" y="4953263"/>
                  <a:ext cx="86173" cy="85862"/>
                </a:xfrm>
                <a:custGeom>
                  <a:avLst/>
                  <a:gdLst>
                    <a:gd name="T0" fmla="*/ 7 w 16"/>
                    <a:gd name="T1" fmla="*/ 16 h 17"/>
                    <a:gd name="T2" fmla="*/ 10 w 16"/>
                    <a:gd name="T3" fmla="*/ 17 h 17"/>
                    <a:gd name="T4" fmla="*/ 14 w 16"/>
                    <a:gd name="T5" fmla="*/ 15 h 17"/>
                    <a:gd name="T6" fmla="*/ 15 w 16"/>
                    <a:gd name="T7" fmla="*/ 10 h 17"/>
                    <a:gd name="T8" fmla="*/ 13 w 16"/>
                    <a:gd name="T9" fmla="*/ 5 h 17"/>
                    <a:gd name="T10" fmla="*/ 11 w 16"/>
                    <a:gd name="T11" fmla="*/ 4 h 17"/>
                    <a:gd name="T12" fmla="*/ 6 w 16"/>
                    <a:gd name="T13" fmla="*/ 0 h 17"/>
                    <a:gd name="T14" fmla="*/ 1 w 16"/>
                    <a:gd name="T15" fmla="*/ 6 h 17"/>
                    <a:gd name="T16" fmla="*/ 7 w 16"/>
                    <a:gd name="T17" fmla="*/ 1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" h="17">
                      <a:moveTo>
                        <a:pt x="7" y="16"/>
                      </a:moveTo>
                      <a:cubicBezTo>
                        <a:pt x="8" y="17"/>
                        <a:pt x="9" y="17"/>
                        <a:pt x="10" y="17"/>
                      </a:cubicBezTo>
                      <a:cubicBezTo>
                        <a:pt x="12" y="17"/>
                        <a:pt x="13" y="16"/>
                        <a:pt x="14" y="15"/>
                      </a:cubicBezTo>
                      <a:cubicBezTo>
                        <a:pt x="15" y="14"/>
                        <a:pt x="16" y="12"/>
                        <a:pt x="15" y="10"/>
                      </a:cubicBezTo>
                      <a:cubicBezTo>
                        <a:pt x="15" y="8"/>
                        <a:pt x="14" y="6"/>
                        <a:pt x="13" y="5"/>
                      </a:cubicBezTo>
                      <a:cubicBezTo>
                        <a:pt x="12" y="5"/>
                        <a:pt x="11" y="4"/>
                        <a:pt x="11" y="4"/>
                      </a:cubicBezTo>
                      <a:cubicBezTo>
                        <a:pt x="10" y="1"/>
                        <a:pt x="8" y="0"/>
                        <a:pt x="6" y="0"/>
                      </a:cubicBezTo>
                      <a:cubicBezTo>
                        <a:pt x="3" y="0"/>
                        <a:pt x="1" y="2"/>
                        <a:pt x="1" y="6"/>
                      </a:cubicBezTo>
                      <a:cubicBezTo>
                        <a:pt x="0" y="10"/>
                        <a:pt x="4" y="14"/>
                        <a:pt x="7" y="1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1" name="Freeform 42">
                  <a:extLst>
                    <a:ext uri="{FF2B5EF4-FFF2-40B4-BE49-F238E27FC236}">
                      <a16:creationId xmlns:a16="http://schemas.microsoft.com/office/drawing/2014/main" id="{78F47B6A-9CDE-334C-8678-AC77E8F4E2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49689" y="6760102"/>
                  <a:ext cx="55397" cy="57864"/>
                </a:xfrm>
                <a:custGeom>
                  <a:avLst/>
                  <a:gdLst>
                    <a:gd name="T0" fmla="*/ 6 w 10"/>
                    <a:gd name="T1" fmla="*/ 0 h 12"/>
                    <a:gd name="T2" fmla="*/ 5 w 10"/>
                    <a:gd name="T3" fmla="*/ 0 h 12"/>
                    <a:gd name="T4" fmla="*/ 2 w 10"/>
                    <a:gd name="T5" fmla="*/ 2 h 12"/>
                    <a:gd name="T6" fmla="*/ 1 w 10"/>
                    <a:gd name="T7" fmla="*/ 9 h 12"/>
                    <a:gd name="T8" fmla="*/ 1 w 10"/>
                    <a:gd name="T9" fmla="*/ 11 h 12"/>
                    <a:gd name="T10" fmla="*/ 3 w 10"/>
                    <a:gd name="T11" fmla="*/ 11 h 12"/>
                    <a:gd name="T12" fmla="*/ 5 w 10"/>
                    <a:gd name="T13" fmla="*/ 12 h 12"/>
                    <a:gd name="T14" fmla="*/ 10 w 10"/>
                    <a:gd name="T15" fmla="*/ 6 h 12"/>
                    <a:gd name="T16" fmla="*/ 6 w 10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2">
                      <a:moveTo>
                        <a:pt x="6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3" y="1"/>
                        <a:pt x="2" y="2"/>
                      </a:cubicBezTo>
                      <a:cubicBezTo>
                        <a:pt x="0" y="4"/>
                        <a:pt x="1" y="8"/>
                        <a:pt x="1" y="9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4" y="12"/>
                        <a:pt x="4" y="12"/>
                        <a:pt x="5" y="12"/>
                      </a:cubicBezTo>
                      <a:cubicBezTo>
                        <a:pt x="8" y="12"/>
                        <a:pt x="10" y="9"/>
                        <a:pt x="10" y="6"/>
                      </a:cubicBezTo>
                      <a:cubicBezTo>
                        <a:pt x="10" y="3"/>
                        <a:pt x="9" y="1"/>
                        <a:pt x="6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2" name="Freeform 43">
                  <a:extLst>
                    <a:ext uri="{FF2B5EF4-FFF2-40B4-BE49-F238E27FC236}">
                      <a16:creationId xmlns:a16="http://schemas.microsoft.com/office/drawing/2014/main" id="{F6318350-E9E2-064E-BE24-1C4BF2299F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3570" y="7295808"/>
                  <a:ext cx="207227" cy="182924"/>
                </a:xfrm>
                <a:custGeom>
                  <a:avLst/>
                  <a:gdLst>
                    <a:gd name="T0" fmla="*/ 37 w 38"/>
                    <a:gd name="T1" fmla="*/ 11 h 37"/>
                    <a:gd name="T2" fmla="*/ 37 w 38"/>
                    <a:gd name="T3" fmla="*/ 10 h 37"/>
                    <a:gd name="T4" fmla="*/ 37 w 38"/>
                    <a:gd name="T5" fmla="*/ 9 h 37"/>
                    <a:gd name="T6" fmla="*/ 36 w 38"/>
                    <a:gd name="T7" fmla="*/ 5 h 37"/>
                    <a:gd name="T8" fmla="*/ 33 w 38"/>
                    <a:gd name="T9" fmla="*/ 3 h 37"/>
                    <a:gd name="T10" fmla="*/ 30 w 38"/>
                    <a:gd name="T11" fmla="*/ 5 h 37"/>
                    <a:gd name="T12" fmla="*/ 29 w 38"/>
                    <a:gd name="T13" fmla="*/ 5 h 37"/>
                    <a:gd name="T14" fmla="*/ 28 w 38"/>
                    <a:gd name="T15" fmla="*/ 5 h 37"/>
                    <a:gd name="T16" fmla="*/ 26 w 38"/>
                    <a:gd name="T17" fmla="*/ 2 h 37"/>
                    <a:gd name="T18" fmla="*/ 23 w 38"/>
                    <a:gd name="T19" fmla="*/ 0 h 37"/>
                    <a:gd name="T20" fmla="*/ 18 w 38"/>
                    <a:gd name="T21" fmla="*/ 6 h 37"/>
                    <a:gd name="T22" fmla="*/ 17 w 38"/>
                    <a:gd name="T23" fmla="*/ 7 h 37"/>
                    <a:gd name="T24" fmla="*/ 16 w 38"/>
                    <a:gd name="T25" fmla="*/ 9 h 37"/>
                    <a:gd name="T26" fmla="*/ 15 w 38"/>
                    <a:gd name="T27" fmla="*/ 8 h 37"/>
                    <a:gd name="T28" fmla="*/ 11 w 38"/>
                    <a:gd name="T29" fmla="*/ 7 h 37"/>
                    <a:gd name="T30" fmla="*/ 9 w 38"/>
                    <a:gd name="T31" fmla="*/ 7 h 37"/>
                    <a:gd name="T32" fmla="*/ 6 w 38"/>
                    <a:gd name="T33" fmla="*/ 11 h 37"/>
                    <a:gd name="T34" fmla="*/ 6 w 38"/>
                    <a:gd name="T35" fmla="*/ 11 h 37"/>
                    <a:gd name="T36" fmla="*/ 1 w 38"/>
                    <a:gd name="T37" fmla="*/ 16 h 37"/>
                    <a:gd name="T38" fmla="*/ 1 w 38"/>
                    <a:gd name="T39" fmla="*/ 21 h 37"/>
                    <a:gd name="T40" fmla="*/ 5 w 38"/>
                    <a:gd name="T41" fmla="*/ 24 h 37"/>
                    <a:gd name="T42" fmla="*/ 6 w 38"/>
                    <a:gd name="T43" fmla="*/ 23 h 37"/>
                    <a:gd name="T44" fmla="*/ 5 w 38"/>
                    <a:gd name="T45" fmla="*/ 25 h 37"/>
                    <a:gd name="T46" fmla="*/ 4 w 38"/>
                    <a:gd name="T47" fmla="*/ 26 h 37"/>
                    <a:gd name="T48" fmla="*/ 3 w 38"/>
                    <a:gd name="T49" fmla="*/ 29 h 37"/>
                    <a:gd name="T50" fmla="*/ 4 w 38"/>
                    <a:gd name="T51" fmla="*/ 32 h 37"/>
                    <a:gd name="T52" fmla="*/ 4 w 38"/>
                    <a:gd name="T53" fmla="*/ 36 h 37"/>
                    <a:gd name="T54" fmla="*/ 8 w 38"/>
                    <a:gd name="T55" fmla="*/ 35 h 37"/>
                    <a:gd name="T56" fmla="*/ 8 w 38"/>
                    <a:gd name="T57" fmla="*/ 35 h 37"/>
                    <a:gd name="T58" fmla="*/ 10 w 38"/>
                    <a:gd name="T59" fmla="*/ 36 h 37"/>
                    <a:gd name="T60" fmla="*/ 12 w 38"/>
                    <a:gd name="T61" fmla="*/ 36 h 37"/>
                    <a:gd name="T62" fmla="*/ 16 w 38"/>
                    <a:gd name="T63" fmla="*/ 35 h 37"/>
                    <a:gd name="T64" fmla="*/ 17 w 38"/>
                    <a:gd name="T65" fmla="*/ 37 h 37"/>
                    <a:gd name="T66" fmla="*/ 20 w 38"/>
                    <a:gd name="T67" fmla="*/ 33 h 37"/>
                    <a:gd name="T68" fmla="*/ 21 w 38"/>
                    <a:gd name="T69" fmla="*/ 32 h 37"/>
                    <a:gd name="T70" fmla="*/ 22 w 38"/>
                    <a:gd name="T71" fmla="*/ 32 h 37"/>
                    <a:gd name="T72" fmla="*/ 24 w 38"/>
                    <a:gd name="T73" fmla="*/ 32 h 37"/>
                    <a:gd name="T74" fmla="*/ 24 w 38"/>
                    <a:gd name="T75" fmla="*/ 31 h 37"/>
                    <a:gd name="T76" fmla="*/ 25 w 38"/>
                    <a:gd name="T77" fmla="*/ 30 h 37"/>
                    <a:gd name="T78" fmla="*/ 27 w 38"/>
                    <a:gd name="T79" fmla="*/ 30 h 37"/>
                    <a:gd name="T80" fmla="*/ 30 w 38"/>
                    <a:gd name="T81" fmla="*/ 28 h 37"/>
                    <a:gd name="T82" fmla="*/ 30 w 38"/>
                    <a:gd name="T83" fmla="*/ 24 h 37"/>
                    <a:gd name="T84" fmla="*/ 30 w 38"/>
                    <a:gd name="T85" fmla="*/ 23 h 37"/>
                    <a:gd name="T86" fmla="*/ 30 w 38"/>
                    <a:gd name="T87" fmla="*/ 22 h 37"/>
                    <a:gd name="T88" fmla="*/ 30 w 38"/>
                    <a:gd name="T89" fmla="*/ 20 h 37"/>
                    <a:gd name="T90" fmla="*/ 32 w 38"/>
                    <a:gd name="T91" fmla="*/ 21 h 37"/>
                    <a:gd name="T92" fmla="*/ 33 w 38"/>
                    <a:gd name="T93" fmla="*/ 21 h 37"/>
                    <a:gd name="T94" fmla="*/ 33 w 38"/>
                    <a:gd name="T95" fmla="*/ 21 h 37"/>
                    <a:gd name="T96" fmla="*/ 36 w 38"/>
                    <a:gd name="T97" fmla="*/ 17 h 37"/>
                    <a:gd name="T98" fmla="*/ 36 w 38"/>
                    <a:gd name="T99" fmla="*/ 17 h 37"/>
                    <a:gd name="T100" fmla="*/ 38 w 38"/>
                    <a:gd name="T101" fmla="*/ 14 h 37"/>
                    <a:gd name="T102" fmla="*/ 37 w 38"/>
                    <a:gd name="T103" fmla="*/ 11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8" h="37">
                      <a:moveTo>
                        <a:pt x="37" y="11"/>
                      </a:move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9"/>
                        <a:pt x="37" y="9"/>
                        <a:pt x="37" y="9"/>
                      </a:cubicBezTo>
                      <a:cubicBezTo>
                        <a:pt x="37" y="8"/>
                        <a:pt x="37" y="7"/>
                        <a:pt x="36" y="5"/>
                      </a:cubicBezTo>
                      <a:cubicBezTo>
                        <a:pt x="35" y="3"/>
                        <a:pt x="34" y="3"/>
                        <a:pt x="33" y="3"/>
                      </a:cubicBezTo>
                      <a:cubicBezTo>
                        <a:pt x="32" y="3"/>
                        <a:pt x="31" y="3"/>
                        <a:pt x="30" y="5"/>
                      </a:cubicBezTo>
                      <a:cubicBezTo>
                        <a:pt x="29" y="5"/>
                        <a:pt x="29" y="5"/>
                        <a:pt x="29" y="5"/>
                      </a:cubicBezTo>
                      <a:cubicBezTo>
                        <a:pt x="28" y="5"/>
                        <a:pt x="28" y="5"/>
                        <a:pt x="28" y="5"/>
                      </a:cubicBezTo>
                      <a:cubicBezTo>
                        <a:pt x="28" y="4"/>
                        <a:pt x="27" y="3"/>
                        <a:pt x="26" y="2"/>
                      </a:cubicBezTo>
                      <a:cubicBezTo>
                        <a:pt x="25" y="1"/>
                        <a:pt x="24" y="0"/>
                        <a:pt x="23" y="0"/>
                      </a:cubicBezTo>
                      <a:cubicBezTo>
                        <a:pt x="20" y="0"/>
                        <a:pt x="19" y="4"/>
                        <a:pt x="18" y="6"/>
                      </a:cubicBezTo>
                      <a:cubicBezTo>
                        <a:pt x="18" y="6"/>
                        <a:pt x="18" y="6"/>
                        <a:pt x="17" y="7"/>
                      </a:cubicBezTo>
                      <a:cubicBezTo>
                        <a:pt x="17" y="7"/>
                        <a:pt x="16" y="8"/>
                        <a:pt x="16" y="9"/>
                      </a:cubicBezTo>
                      <a:cubicBezTo>
                        <a:pt x="16" y="9"/>
                        <a:pt x="16" y="9"/>
                        <a:pt x="15" y="8"/>
                      </a:cubicBezTo>
                      <a:cubicBezTo>
                        <a:pt x="14" y="7"/>
                        <a:pt x="13" y="7"/>
                        <a:pt x="11" y="7"/>
                      </a:cubicBezTo>
                      <a:cubicBezTo>
                        <a:pt x="11" y="7"/>
                        <a:pt x="10" y="7"/>
                        <a:pt x="9" y="7"/>
                      </a:cubicBezTo>
                      <a:cubicBezTo>
                        <a:pt x="7" y="8"/>
                        <a:pt x="6" y="10"/>
                        <a:pt x="6" y="11"/>
                      </a:cubicBezTo>
                      <a:cubicBezTo>
                        <a:pt x="6" y="11"/>
                        <a:pt x="6" y="11"/>
                        <a:pt x="6" y="11"/>
                      </a:cubicBezTo>
                      <a:cubicBezTo>
                        <a:pt x="4" y="12"/>
                        <a:pt x="1" y="13"/>
                        <a:pt x="1" y="16"/>
                      </a:cubicBezTo>
                      <a:cubicBezTo>
                        <a:pt x="0" y="18"/>
                        <a:pt x="0" y="20"/>
                        <a:pt x="1" y="21"/>
                      </a:cubicBezTo>
                      <a:cubicBezTo>
                        <a:pt x="2" y="23"/>
                        <a:pt x="3" y="24"/>
                        <a:pt x="5" y="24"/>
                      </a:cubicBezTo>
                      <a:cubicBezTo>
                        <a:pt x="5" y="24"/>
                        <a:pt x="5" y="23"/>
                        <a:pt x="6" y="23"/>
                      </a:cubicBezTo>
                      <a:cubicBezTo>
                        <a:pt x="5" y="24"/>
                        <a:pt x="5" y="25"/>
                        <a:pt x="5" y="25"/>
                      </a:cubicBezTo>
                      <a:cubicBezTo>
                        <a:pt x="5" y="25"/>
                        <a:pt x="5" y="25"/>
                        <a:pt x="4" y="26"/>
                      </a:cubicBezTo>
                      <a:cubicBezTo>
                        <a:pt x="4" y="27"/>
                        <a:pt x="3" y="28"/>
                        <a:pt x="3" y="29"/>
                      </a:cubicBezTo>
                      <a:cubicBezTo>
                        <a:pt x="3" y="31"/>
                        <a:pt x="4" y="31"/>
                        <a:pt x="4" y="32"/>
                      </a:cubicBezTo>
                      <a:cubicBezTo>
                        <a:pt x="4" y="36"/>
                        <a:pt x="4" y="36"/>
                        <a:pt x="4" y="36"/>
                      </a:cubicBezTo>
                      <a:cubicBezTo>
                        <a:pt x="4" y="36"/>
                        <a:pt x="8" y="35"/>
                        <a:pt x="8" y="35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6"/>
                        <a:pt x="10" y="36"/>
                        <a:pt x="10" y="36"/>
                      </a:cubicBezTo>
                      <a:cubicBezTo>
                        <a:pt x="11" y="36"/>
                        <a:pt x="12" y="36"/>
                        <a:pt x="12" y="36"/>
                      </a:cubicBezTo>
                      <a:cubicBezTo>
                        <a:pt x="14" y="36"/>
                        <a:pt x="15" y="36"/>
                        <a:pt x="16" y="35"/>
                      </a:cubicBezTo>
                      <a:cubicBezTo>
                        <a:pt x="17" y="37"/>
                        <a:pt x="17" y="37"/>
                        <a:pt x="17" y="37"/>
                      </a:cubicBezTo>
                      <a:cubicBezTo>
                        <a:pt x="20" y="33"/>
                        <a:pt x="20" y="33"/>
                        <a:pt x="20" y="33"/>
                      </a:cubicBezTo>
                      <a:cubicBezTo>
                        <a:pt x="20" y="33"/>
                        <a:pt x="21" y="33"/>
                        <a:pt x="21" y="32"/>
                      </a:cubicBezTo>
                      <a:cubicBezTo>
                        <a:pt x="21" y="32"/>
                        <a:pt x="22" y="32"/>
                        <a:pt x="22" y="32"/>
                      </a:cubicBezTo>
                      <a:cubicBezTo>
                        <a:pt x="24" y="32"/>
                        <a:pt x="24" y="32"/>
                        <a:pt x="24" y="32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5" y="31"/>
                        <a:pt x="25" y="30"/>
                        <a:pt x="25" y="30"/>
                      </a:cubicBezTo>
                      <a:cubicBezTo>
                        <a:pt x="26" y="30"/>
                        <a:pt x="26" y="30"/>
                        <a:pt x="27" y="30"/>
                      </a:cubicBezTo>
                      <a:cubicBezTo>
                        <a:pt x="28" y="30"/>
                        <a:pt x="29" y="29"/>
                        <a:pt x="30" y="28"/>
                      </a:cubicBezTo>
                      <a:cubicBezTo>
                        <a:pt x="31" y="26"/>
                        <a:pt x="30" y="25"/>
                        <a:pt x="30" y="24"/>
                      </a:cubicBezTo>
                      <a:cubicBezTo>
                        <a:pt x="30" y="24"/>
                        <a:pt x="30" y="23"/>
                        <a:pt x="30" y="23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30" y="21"/>
                        <a:pt x="30" y="21"/>
                        <a:pt x="30" y="20"/>
                      </a:cubicBezTo>
                      <a:cubicBezTo>
                        <a:pt x="30" y="21"/>
                        <a:pt x="31" y="21"/>
                        <a:pt x="32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4" y="21"/>
                        <a:pt x="36" y="20"/>
                        <a:pt x="36" y="17"/>
                      </a:cubicBezTo>
                      <a:cubicBezTo>
                        <a:pt x="36" y="17"/>
                        <a:pt x="36" y="17"/>
                        <a:pt x="36" y="17"/>
                      </a:cubicBezTo>
                      <a:cubicBezTo>
                        <a:pt x="37" y="16"/>
                        <a:pt x="37" y="15"/>
                        <a:pt x="38" y="14"/>
                      </a:cubicBezTo>
                      <a:cubicBezTo>
                        <a:pt x="38" y="13"/>
                        <a:pt x="38" y="12"/>
                        <a:pt x="37" y="1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3" name="Freeform 44">
                  <a:extLst>
                    <a:ext uri="{FF2B5EF4-FFF2-40B4-BE49-F238E27FC236}">
                      <a16:creationId xmlns:a16="http://schemas.microsoft.com/office/drawing/2014/main" id="{1115408F-B43F-9148-8E05-C509A286E7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97415" y="7116617"/>
                  <a:ext cx="49242" cy="44798"/>
                </a:xfrm>
                <a:custGeom>
                  <a:avLst/>
                  <a:gdLst>
                    <a:gd name="T0" fmla="*/ 5 w 9"/>
                    <a:gd name="T1" fmla="*/ 9 h 9"/>
                    <a:gd name="T2" fmla="*/ 7 w 9"/>
                    <a:gd name="T3" fmla="*/ 8 h 9"/>
                    <a:gd name="T4" fmla="*/ 9 w 9"/>
                    <a:gd name="T5" fmla="*/ 3 h 9"/>
                    <a:gd name="T6" fmla="*/ 5 w 9"/>
                    <a:gd name="T7" fmla="*/ 0 h 9"/>
                    <a:gd name="T8" fmla="*/ 5 w 9"/>
                    <a:gd name="T9" fmla="*/ 0 h 9"/>
                    <a:gd name="T10" fmla="*/ 2 w 9"/>
                    <a:gd name="T11" fmla="*/ 1 h 9"/>
                    <a:gd name="T12" fmla="*/ 1 w 9"/>
                    <a:gd name="T13" fmla="*/ 6 h 9"/>
                    <a:gd name="T14" fmla="*/ 5 w 9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9">
                      <a:moveTo>
                        <a:pt x="5" y="9"/>
                      </a:moveTo>
                      <a:cubicBezTo>
                        <a:pt x="5" y="9"/>
                        <a:pt x="6" y="9"/>
                        <a:pt x="7" y="8"/>
                      </a:cubicBezTo>
                      <a:cubicBezTo>
                        <a:pt x="9" y="7"/>
                        <a:pt x="9" y="4"/>
                        <a:pt x="9" y="3"/>
                      </a:cubicBezTo>
                      <a:cubicBezTo>
                        <a:pt x="8" y="1"/>
                        <a:pt x="7" y="0"/>
                        <a:pt x="5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4" y="0"/>
                        <a:pt x="2" y="0"/>
                        <a:pt x="2" y="1"/>
                      </a:cubicBezTo>
                      <a:cubicBezTo>
                        <a:pt x="1" y="3"/>
                        <a:pt x="0" y="4"/>
                        <a:pt x="1" y="6"/>
                      </a:cubicBezTo>
                      <a:cubicBezTo>
                        <a:pt x="1" y="8"/>
                        <a:pt x="3" y="9"/>
                        <a:pt x="5" y="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4" name="Freeform 45">
                  <a:extLst>
                    <a:ext uri="{FF2B5EF4-FFF2-40B4-BE49-F238E27FC236}">
                      <a16:creationId xmlns:a16="http://schemas.microsoft.com/office/drawing/2014/main" id="{C87F892D-DAD2-BD41-BDF3-7F29FA718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2812" y="7260343"/>
                  <a:ext cx="47190" cy="50397"/>
                </a:xfrm>
                <a:custGeom>
                  <a:avLst/>
                  <a:gdLst>
                    <a:gd name="T0" fmla="*/ 2 w 9"/>
                    <a:gd name="T1" fmla="*/ 10 h 10"/>
                    <a:gd name="T2" fmla="*/ 3 w 9"/>
                    <a:gd name="T3" fmla="*/ 10 h 10"/>
                    <a:gd name="T4" fmla="*/ 4 w 9"/>
                    <a:gd name="T5" fmla="*/ 10 h 10"/>
                    <a:gd name="T6" fmla="*/ 8 w 9"/>
                    <a:gd name="T7" fmla="*/ 8 h 10"/>
                    <a:gd name="T8" fmla="*/ 9 w 9"/>
                    <a:gd name="T9" fmla="*/ 4 h 10"/>
                    <a:gd name="T10" fmla="*/ 5 w 9"/>
                    <a:gd name="T11" fmla="*/ 0 h 10"/>
                    <a:gd name="T12" fmla="*/ 0 w 9"/>
                    <a:gd name="T13" fmla="*/ 3 h 10"/>
                    <a:gd name="T14" fmla="*/ 1 w 9"/>
                    <a:gd name="T15" fmla="*/ 8 h 10"/>
                    <a:gd name="T16" fmla="*/ 2 w 9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10">
                      <a:moveTo>
                        <a:pt x="2" y="10"/>
                      </a:moveTo>
                      <a:cubicBezTo>
                        <a:pt x="3" y="10"/>
                        <a:pt x="3" y="10"/>
                        <a:pt x="3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5" y="10"/>
                        <a:pt x="7" y="9"/>
                        <a:pt x="8" y="8"/>
                      </a:cubicBezTo>
                      <a:cubicBezTo>
                        <a:pt x="9" y="7"/>
                        <a:pt x="9" y="6"/>
                        <a:pt x="9" y="4"/>
                      </a:cubicBezTo>
                      <a:cubicBezTo>
                        <a:pt x="9" y="2"/>
                        <a:pt x="7" y="0"/>
                        <a:pt x="5" y="0"/>
                      </a:cubicBezTo>
                      <a:cubicBezTo>
                        <a:pt x="3" y="0"/>
                        <a:pt x="1" y="2"/>
                        <a:pt x="0" y="3"/>
                      </a:cubicBezTo>
                      <a:cubicBezTo>
                        <a:pt x="0" y="5"/>
                        <a:pt x="0" y="7"/>
                        <a:pt x="1" y="8"/>
                      </a:cubicBezTo>
                      <a:lnTo>
                        <a:pt x="2" y="10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5" name="Freeform 46">
                  <a:extLst>
                    <a:ext uri="{FF2B5EF4-FFF2-40B4-BE49-F238E27FC236}">
                      <a16:creationId xmlns:a16="http://schemas.microsoft.com/office/drawing/2014/main" id="{3AAB292E-5830-9641-A2BF-4BC9B8F512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2258" y="7964040"/>
                  <a:ext cx="207227" cy="113861"/>
                </a:xfrm>
                <a:custGeom>
                  <a:avLst/>
                  <a:gdLst>
                    <a:gd name="T0" fmla="*/ 18 w 38"/>
                    <a:gd name="T1" fmla="*/ 1 h 23"/>
                    <a:gd name="T2" fmla="*/ 17 w 38"/>
                    <a:gd name="T3" fmla="*/ 0 h 23"/>
                    <a:gd name="T4" fmla="*/ 1 w 38"/>
                    <a:gd name="T5" fmla="*/ 9 h 23"/>
                    <a:gd name="T6" fmla="*/ 2 w 38"/>
                    <a:gd name="T7" fmla="*/ 16 h 23"/>
                    <a:gd name="T8" fmla="*/ 13 w 38"/>
                    <a:gd name="T9" fmla="*/ 19 h 23"/>
                    <a:gd name="T10" fmla="*/ 17 w 38"/>
                    <a:gd name="T11" fmla="*/ 20 h 23"/>
                    <a:gd name="T12" fmla="*/ 18 w 38"/>
                    <a:gd name="T13" fmla="*/ 21 h 23"/>
                    <a:gd name="T14" fmla="*/ 31 w 38"/>
                    <a:gd name="T15" fmla="*/ 23 h 23"/>
                    <a:gd name="T16" fmla="*/ 36 w 38"/>
                    <a:gd name="T17" fmla="*/ 22 h 23"/>
                    <a:gd name="T18" fmla="*/ 38 w 38"/>
                    <a:gd name="T19" fmla="*/ 22 h 23"/>
                    <a:gd name="T20" fmla="*/ 38 w 38"/>
                    <a:gd name="T21" fmla="*/ 19 h 23"/>
                    <a:gd name="T22" fmla="*/ 18 w 38"/>
                    <a:gd name="T23" fmla="*/ 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8" h="23">
                      <a:moveTo>
                        <a:pt x="18" y="1"/>
                      </a:moveTo>
                      <a:cubicBezTo>
                        <a:pt x="18" y="1"/>
                        <a:pt x="18" y="0"/>
                        <a:pt x="17" y="0"/>
                      </a:cubicBezTo>
                      <a:cubicBezTo>
                        <a:pt x="13" y="0"/>
                        <a:pt x="3" y="4"/>
                        <a:pt x="1" y="9"/>
                      </a:cubicBezTo>
                      <a:cubicBezTo>
                        <a:pt x="0" y="11"/>
                        <a:pt x="0" y="14"/>
                        <a:pt x="2" y="16"/>
                      </a:cubicBezTo>
                      <a:cubicBezTo>
                        <a:pt x="4" y="18"/>
                        <a:pt x="8" y="18"/>
                        <a:pt x="13" y="19"/>
                      </a:cubicBezTo>
                      <a:cubicBezTo>
                        <a:pt x="15" y="20"/>
                        <a:pt x="16" y="20"/>
                        <a:pt x="17" y="20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2" y="22"/>
                        <a:pt x="26" y="23"/>
                        <a:pt x="31" y="23"/>
                      </a:cubicBezTo>
                      <a:cubicBezTo>
                        <a:pt x="33" y="23"/>
                        <a:pt x="34" y="23"/>
                        <a:pt x="36" y="22"/>
                      </a:cubicBezTo>
                      <a:cubicBezTo>
                        <a:pt x="38" y="22"/>
                        <a:pt x="38" y="22"/>
                        <a:pt x="38" y="22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7" y="10"/>
                        <a:pt x="26" y="2"/>
                        <a:pt x="18" y="1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6" name="Freeform 47">
                  <a:extLst>
                    <a:ext uri="{FF2B5EF4-FFF2-40B4-BE49-F238E27FC236}">
                      <a16:creationId xmlns:a16="http://schemas.microsoft.com/office/drawing/2014/main" id="{8A392494-6841-7042-BA5F-5EBC7B35FC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41391" y="6125469"/>
                  <a:ext cx="223641" cy="197856"/>
                </a:xfrm>
                <a:custGeom>
                  <a:avLst/>
                  <a:gdLst>
                    <a:gd name="T0" fmla="*/ 33 w 41"/>
                    <a:gd name="T1" fmla="*/ 0 h 40"/>
                    <a:gd name="T2" fmla="*/ 24 w 41"/>
                    <a:gd name="T3" fmla="*/ 3 h 40"/>
                    <a:gd name="T4" fmla="*/ 19 w 41"/>
                    <a:gd name="T5" fmla="*/ 5 h 40"/>
                    <a:gd name="T6" fmla="*/ 18 w 41"/>
                    <a:gd name="T7" fmla="*/ 5 h 40"/>
                    <a:gd name="T8" fmla="*/ 17 w 41"/>
                    <a:gd name="T9" fmla="*/ 5 h 40"/>
                    <a:gd name="T10" fmla="*/ 15 w 41"/>
                    <a:gd name="T11" fmla="*/ 5 h 40"/>
                    <a:gd name="T12" fmla="*/ 10 w 41"/>
                    <a:gd name="T13" fmla="*/ 7 h 40"/>
                    <a:gd name="T14" fmla="*/ 4 w 41"/>
                    <a:gd name="T15" fmla="*/ 15 h 40"/>
                    <a:gd name="T16" fmla="*/ 4 w 41"/>
                    <a:gd name="T17" fmla="*/ 17 h 40"/>
                    <a:gd name="T18" fmla="*/ 2 w 41"/>
                    <a:gd name="T19" fmla="*/ 29 h 40"/>
                    <a:gd name="T20" fmla="*/ 3 w 41"/>
                    <a:gd name="T21" fmla="*/ 31 h 40"/>
                    <a:gd name="T22" fmla="*/ 10 w 41"/>
                    <a:gd name="T23" fmla="*/ 40 h 40"/>
                    <a:gd name="T24" fmla="*/ 10 w 41"/>
                    <a:gd name="T25" fmla="*/ 40 h 40"/>
                    <a:gd name="T26" fmla="*/ 14 w 41"/>
                    <a:gd name="T27" fmla="*/ 37 h 40"/>
                    <a:gd name="T28" fmla="*/ 15 w 41"/>
                    <a:gd name="T29" fmla="*/ 37 h 40"/>
                    <a:gd name="T30" fmla="*/ 19 w 41"/>
                    <a:gd name="T31" fmla="*/ 35 h 40"/>
                    <a:gd name="T32" fmla="*/ 29 w 41"/>
                    <a:gd name="T33" fmla="*/ 28 h 40"/>
                    <a:gd name="T34" fmla="*/ 31 w 41"/>
                    <a:gd name="T35" fmla="*/ 25 h 40"/>
                    <a:gd name="T36" fmla="*/ 35 w 41"/>
                    <a:gd name="T37" fmla="*/ 19 h 40"/>
                    <a:gd name="T38" fmla="*/ 40 w 41"/>
                    <a:gd name="T39" fmla="*/ 6 h 40"/>
                    <a:gd name="T40" fmla="*/ 33 w 41"/>
                    <a:gd name="T41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1" h="40">
                      <a:moveTo>
                        <a:pt x="33" y="0"/>
                      </a:moveTo>
                      <a:cubicBezTo>
                        <a:pt x="30" y="0"/>
                        <a:pt x="27" y="1"/>
                        <a:pt x="24" y="3"/>
                      </a:cubicBezTo>
                      <a:cubicBezTo>
                        <a:pt x="22" y="4"/>
                        <a:pt x="20" y="5"/>
                        <a:pt x="19" y="5"/>
                      </a:cubicBezTo>
                      <a:cubicBezTo>
                        <a:pt x="19" y="5"/>
                        <a:pt x="19" y="5"/>
                        <a:pt x="18" y="5"/>
                      </a:cubicBezTo>
                      <a:cubicBezTo>
                        <a:pt x="18" y="5"/>
                        <a:pt x="17" y="5"/>
                        <a:pt x="17" y="5"/>
                      </a:cubicBezTo>
                      <a:cubicBezTo>
                        <a:pt x="16" y="5"/>
                        <a:pt x="15" y="5"/>
                        <a:pt x="15" y="5"/>
                      </a:cubicBezTo>
                      <a:cubicBezTo>
                        <a:pt x="13" y="5"/>
                        <a:pt x="11" y="5"/>
                        <a:pt x="10" y="7"/>
                      </a:cubicBezTo>
                      <a:cubicBezTo>
                        <a:pt x="7" y="9"/>
                        <a:pt x="5" y="12"/>
                        <a:pt x="4" y="15"/>
                      </a:cubicBezTo>
                      <a:cubicBezTo>
                        <a:pt x="4" y="16"/>
                        <a:pt x="4" y="17"/>
                        <a:pt x="4" y="17"/>
                      </a:cubicBezTo>
                      <a:cubicBezTo>
                        <a:pt x="2" y="21"/>
                        <a:pt x="0" y="25"/>
                        <a:pt x="2" y="29"/>
                      </a:cubicBezTo>
                      <a:cubicBezTo>
                        <a:pt x="2" y="30"/>
                        <a:pt x="2" y="30"/>
                        <a:pt x="3" y="31"/>
                      </a:cubicBezTo>
                      <a:cubicBezTo>
                        <a:pt x="3" y="34"/>
                        <a:pt x="5" y="40"/>
                        <a:pt x="10" y="40"/>
                      </a:cubicBezTo>
                      <a:cubicBezTo>
                        <a:pt x="10" y="40"/>
                        <a:pt x="10" y="40"/>
                        <a:pt x="10" y="40"/>
                      </a:cubicBezTo>
                      <a:cubicBezTo>
                        <a:pt x="12" y="39"/>
                        <a:pt x="14" y="38"/>
                        <a:pt x="14" y="37"/>
                      </a:cubicBezTo>
                      <a:cubicBezTo>
                        <a:pt x="14" y="37"/>
                        <a:pt x="14" y="37"/>
                        <a:pt x="15" y="37"/>
                      </a:cubicBezTo>
                      <a:cubicBezTo>
                        <a:pt x="16" y="36"/>
                        <a:pt x="17" y="36"/>
                        <a:pt x="19" y="35"/>
                      </a:cubicBezTo>
                      <a:cubicBezTo>
                        <a:pt x="23" y="34"/>
                        <a:pt x="26" y="32"/>
                        <a:pt x="29" y="28"/>
                      </a:cubicBezTo>
                      <a:cubicBezTo>
                        <a:pt x="29" y="27"/>
                        <a:pt x="30" y="26"/>
                        <a:pt x="31" y="25"/>
                      </a:cubicBezTo>
                      <a:cubicBezTo>
                        <a:pt x="32" y="23"/>
                        <a:pt x="34" y="21"/>
                        <a:pt x="35" y="19"/>
                      </a:cubicBezTo>
                      <a:cubicBezTo>
                        <a:pt x="37" y="16"/>
                        <a:pt x="41" y="12"/>
                        <a:pt x="40" y="6"/>
                      </a:cubicBezTo>
                      <a:cubicBezTo>
                        <a:pt x="39" y="0"/>
                        <a:pt x="35" y="0"/>
                        <a:pt x="33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7" name="Freeform 48">
                  <a:extLst>
                    <a:ext uri="{FF2B5EF4-FFF2-40B4-BE49-F238E27FC236}">
                      <a16:creationId xmlns:a16="http://schemas.microsoft.com/office/drawing/2014/main" id="{87178D40-33BD-7047-A28D-295682B0F0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00447" y="6194532"/>
                  <a:ext cx="141571" cy="182924"/>
                </a:xfrm>
                <a:custGeom>
                  <a:avLst/>
                  <a:gdLst>
                    <a:gd name="T0" fmla="*/ 15 w 26"/>
                    <a:gd name="T1" fmla="*/ 37 h 37"/>
                    <a:gd name="T2" fmla="*/ 18 w 26"/>
                    <a:gd name="T3" fmla="*/ 36 h 37"/>
                    <a:gd name="T4" fmla="*/ 21 w 26"/>
                    <a:gd name="T5" fmla="*/ 29 h 37"/>
                    <a:gd name="T6" fmla="*/ 21 w 26"/>
                    <a:gd name="T7" fmla="*/ 28 h 37"/>
                    <a:gd name="T8" fmla="*/ 24 w 26"/>
                    <a:gd name="T9" fmla="*/ 20 h 37"/>
                    <a:gd name="T10" fmla="*/ 19 w 26"/>
                    <a:gd name="T11" fmla="*/ 2 h 37"/>
                    <a:gd name="T12" fmla="*/ 14 w 26"/>
                    <a:gd name="T13" fmla="*/ 0 h 37"/>
                    <a:gd name="T14" fmla="*/ 3 w 26"/>
                    <a:gd name="T15" fmla="*/ 9 h 37"/>
                    <a:gd name="T16" fmla="*/ 2 w 26"/>
                    <a:gd name="T17" fmla="*/ 27 h 37"/>
                    <a:gd name="T18" fmla="*/ 15 w 26"/>
                    <a:gd name="T19" fmla="*/ 37 h 37"/>
                    <a:gd name="T20" fmla="*/ 15 w 26"/>
                    <a:gd name="T21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" h="37">
                      <a:moveTo>
                        <a:pt x="15" y="37"/>
                      </a:moveTo>
                      <a:cubicBezTo>
                        <a:pt x="16" y="37"/>
                        <a:pt x="17" y="36"/>
                        <a:pt x="18" y="36"/>
                      </a:cubicBezTo>
                      <a:cubicBezTo>
                        <a:pt x="21" y="35"/>
                        <a:pt x="21" y="31"/>
                        <a:pt x="21" y="29"/>
                      </a:cubicBezTo>
                      <a:cubicBezTo>
                        <a:pt x="21" y="29"/>
                        <a:pt x="21" y="28"/>
                        <a:pt x="21" y="28"/>
                      </a:cubicBezTo>
                      <a:cubicBezTo>
                        <a:pt x="22" y="25"/>
                        <a:pt x="23" y="23"/>
                        <a:pt x="24" y="20"/>
                      </a:cubicBezTo>
                      <a:cubicBezTo>
                        <a:pt x="26" y="14"/>
                        <a:pt x="25" y="6"/>
                        <a:pt x="19" y="2"/>
                      </a:cubicBezTo>
                      <a:cubicBezTo>
                        <a:pt x="17" y="1"/>
                        <a:pt x="16" y="0"/>
                        <a:pt x="14" y="0"/>
                      </a:cubicBezTo>
                      <a:cubicBezTo>
                        <a:pt x="10" y="0"/>
                        <a:pt x="6" y="4"/>
                        <a:pt x="3" y="9"/>
                      </a:cubicBezTo>
                      <a:cubicBezTo>
                        <a:pt x="0" y="15"/>
                        <a:pt x="0" y="21"/>
                        <a:pt x="2" y="27"/>
                      </a:cubicBezTo>
                      <a:cubicBezTo>
                        <a:pt x="4" y="30"/>
                        <a:pt x="9" y="37"/>
                        <a:pt x="15" y="37"/>
                      </a:cubicBezTo>
                      <a:cubicBezTo>
                        <a:pt x="15" y="37"/>
                        <a:pt x="15" y="37"/>
                        <a:pt x="15" y="3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8" name="Freeform 49">
                  <a:extLst>
                    <a:ext uri="{FF2B5EF4-FFF2-40B4-BE49-F238E27FC236}">
                      <a16:creationId xmlns:a16="http://schemas.microsoft.com/office/drawing/2014/main" id="{576A2C03-C5BF-E041-A047-38A3CB32AC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66103" y="6685440"/>
                  <a:ext cx="75915" cy="89595"/>
                </a:xfrm>
                <a:custGeom>
                  <a:avLst/>
                  <a:gdLst>
                    <a:gd name="T0" fmla="*/ 13 w 14"/>
                    <a:gd name="T1" fmla="*/ 2 h 18"/>
                    <a:gd name="T2" fmla="*/ 9 w 14"/>
                    <a:gd name="T3" fmla="*/ 0 h 18"/>
                    <a:gd name="T4" fmla="*/ 7 w 14"/>
                    <a:gd name="T5" fmla="*/ 1 h 18"/>
                    <a:gd name="T6" fmla="*/ 3 w 14"/>
                    <a:gd name="T7" fmla="*/ 8 h 18"/>
                    <a:gd name="T8" fmla="*/ 3 w 14"/>
                    <a:gd name="T9" fmla="*/ 8 h 18"/>
                    <a:gd name="T10" fmla="*/ 3 w 14"/>
                    <a:gd name="T11" fmla="*/ 9 h 18"/>
                    <a:gd name="T12" fmla="*/ 0 w 14"/>
                    <a:gd name="T13" fmla="*/ 13 h 18"/>
                    <a:gd name="T14" fmla="*/ 1 w 14"/>
                    <a:gd name="T15" fmla="*/ 16 h 18"/>
                    <a:gd name="T16" fmla="*/ 4 w 14"/>
                    <a:gd name="T17" fmla="*/ 18 h 18"/>
                    <a:gd name="T18" fmla="*/ 5 w 14"/>
                    <a:gd name="T19" fmla="*/ 18 h 18"/>
                    <a:gd name="T20" fmla="*/ 9 w 14"/>
                    <a:gd name="T21" fmla="*/ 14 h 18"/>
                    <a:gd name="T22" fmla="*/ 10 w 14"/>
                    <a:gd name="T23" fmla="*/ 13 h 18"/>
                    <a:gd name="T24" fmla="*/ 12 w 14"/>
                    <a:gd name="T25" fmla="*/ 10 h 18"/>
                    <a:gd name="T26" fmla="*/ 13 w 14"/>
                    <a:gd name="T27" fmla="*/ 2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" h="18">
                      <a:moveTo>
                        <a:pt x="13" y="2"/>
                      </a:moveTo>
                      <a:cubicBezTo>
                        <a:pt x="12" y="1"/>
                        <a:pt x="11" y="0"/>
                        <a:pt x="9" y="0"/>
                      </a:cubicBezTo>
                      <a:cubicBezTo>
                        <a:pt x="8" y="0"/>
                        <a:pt x="8" y="0"/>
                        <a:pt x="7" y="1"/>
                      </a:cubicBezTo>
                      <a:cubicBezTo>
                        <a:pt x="4" y="2"/>
                        <a:pt x="4" y="5"/>
                        <a:pt x="3" y="8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8"/>
                        <a:pt x="3" y="9"/>
                        <a:pt x="3" y="9"/>
                      </a:cubicBezTo>
                      <a:cubicBezTo>
                        <a:pt x="2" y="9"/>
                        <a:pt x="0" y="11"/>
                        <a:pt x="0" y="13"/>
                      </a:cubicBezTo>
                      <a:cubicBezTo>
                        <a:pt x="0" y="14"/>
                        <a:pt x="0" y="15"/>
                        <a:pt x="1" y="16"/>
                      </a:cubicBezTo>
                      <a:cubicBezTo>
                        <a:pt x="2" y="17"/>
                        <a:pt x="3" y="18"/>
                        <a:pt x="4" y="18"/>
                      </a:cubicBezTo>
                      <a:cubicBezTo>
                        <a:pt x="5" y="18"/>
                        <a:pt x="5" y="18"/>
                        <a:pt x="5" y="18"/>
                      </a:cubicBezTo>
                      <a:cubicBezTo>
                        <a:pt x="8" y="17"/>
                        <a:pt x="8" y="15"/>
                        <a:pt x="9" y="14"/>
                      </a:cubicBezTo>
                      <a:cubicBezTo>
                        <a:pt x="9" y="13"/>
                        <a:pt x="9" y="13"/>
                        <a:pt x="10" y="13"/>
                      </a:cubicBezTo>
                      <a:cubicBezTo>
                        <a:pt x="11" y="12"/>
                        <a:pt x="12" y="11"/>
                        <a:pt x="12" y="10"/>
                      </a:cubicBezTo>
                      <a:cubicBezTo>
                        <a:pt x="13" y="8"/>
                        <a:pt x="14" y="5"/>
                        <a:pt x="13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9" name="Freeform 50">
                  <a:extLst>
                    <a:ext uri="{FF2B5EF4-FFF2-40B4-BE49-F238E27FC236}">
                      <a16:creationId xmlns:a16="http://schemas.microsoft.com/office/drawing/2014/main" id="{250DCE97-9D49-984D-A960-F2ADC67C6D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97655" y="7577660"/>
                  <a:ext cx="32828" cy="59730"/>
                </a:xfrm>
                <a:custGeom>
                  <a:avLst/>
                  <a:gdLst>
                    <a:gd name="T0" fmla="*/ 4 w 6"/>
                    <a:gd name="T1" fmla="*/ 5 h 12"/>
                    <a:gd name="T2" fmla="*/ 3 w 6"/>
                    <a:gd name="T3" fmla="*/ 2 h 12"/>
                    <a:gd name="T4" fmla="*/ 1 w 6"/>
                    <a:gd name="T5" fmla="*/ 5 h 12"/>
                    <a:gd name="T6" fmla="*/ 2 w 6"/>
                    <a:gd name="T7" fmla="*/ 7 h 12"/>
                    <a:gd name="T8" fmla="*/ 5 w 6"/>
                    <a:gd name="T9" fmla="*/ 11 h 12"/>
                    <a:gd name="T10" fmla="*/ 5 w 6"/>
                    <a:gd name="T11" fmla="*/ 6 h 12"/>
                    <a:gd name="T12" fmla="*/ 4 w 6"/>
                    <a:gd name="T13" fmla="*/ 5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2">
                      <a:moveTo>
                        <a:pt x="4" y="5"/>
                      </a:moveTo>
                      <a:cubicBezTo>
                        <a:pt x="4" y="4"/>
                        <a:pt x="4" y="2"/>
                        <a:pt x="3" y="2"/>
                      </a:cubicBezTo>
                      <a:cubicBezTo>
                        <a:pt x="0" y="0"/>
                        <a:pt x="0" y="3"/>
                        <a:pt x="1" y="5"/>
                      </a:cubicBezTo>
                      <a:cubicBezTo>
                        <a:pt x="1" y="6"/>
                        <a:pt x="2" y="6"/>
                        <a:pt x="2" y="7"/>
                      </a:cubicBezTo>
                      <a:cubicBezTo>
                        <a:pt x="3" y="8"/>
                        <a:pt x="3" y="12"/>
                        <a:pt x="5" y="11"/>
                      </a:cubicBezTo>
                      <a:cubicBezTo>
                        <a:pt x="6" y="10"/>
                        <a:pt x="5" y="8"/>
                        <a:pt x="5" y="6"/>
                      </a:cubicBezTo>
                      <a:cubicBezTo>
                        <a:pt x="4" y="6"/>
                        <a:pt x="4" y="5"/>
                        <a:pt x="4" y="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0" name="Freeform 51">
                  <a:extLst>
                    <a:ext uri="{FF2B5EF4-FFF2-40B4-BE49-F238E27FC236}">
                      <a16:creationId xmlns:a16="http://schemas.microsoft.com/office/drawing/2014/main" id="{C0E4A341-F7A6-2840-9C8E-45232C7470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06580" y="6069472"/>
                  <a:ext cx="1614727" cy="2385476"/>
                </a:xfrm>
                <a:custGeom>
                  <a:avLst/>
                  <a:gdLst>
                    <a:gd name="T0" fmla="*/ 267 w 296"/>
                    <a:gd name="T1" fmla="*/ 110 h 481"/>
                    <a:gd name="T2" fmla="*/ 272 w 296"/>
                    <a:gd name="T3" fmla="*/ 108 h 481"/>
                    <a:gd name="T4" fmla="*/ 278 w 296"/>
                    <a:gd name="T5" fmla="*/ 106 h 481"/>
                    <a:gd name="T6" fmla="*/ 285 w 296"/>
                    <a:gd name="T7" fmla="*/ 104 h 481"/>
                    <a:gd name="T8" fmla="*/ 287 w 296"/>
                    <a:gd name="T9" fmla="*/ 103 h 481"/>
                    <a:gd name="T10" fmla="*/ 296 w 296"/>
                    <a:gd name="T11" fmla="*/ 76 h 481"/>
                    <a:gd name="T12" fmla="*/ 293 w 296"/>
                    <a:gd name="T13" fmla="*/ 75 h 481"/>
                    <a:gd name="T14" fmla="*/ 120 w 296"/>
                    <a:gd name="T15" fmla="*/ 1 h 481"/>
                    <a:gd name="T16" fmla="*/ 117 w 296"/>
                    <a:gd name="T17" fmla="*/ 0 h 481"/>
                    <a:gd name="T18" fmla="*/ 116 w 296"/>
                    <a:gd name="T19" fmla="*/ 3 h 481"/>
                    <a:gd name="T20" fmla="*/ 99 w 296"/>
                    <a:gd name="T21" fmla="*/ 37 h 481"/>
                    <a:gd name="T22" fmla="*/ 97 w 296"/>
                    <a:gd name="T23" fmla="*/ 40 h 481"/>
                    <a:gd name="T24" fmla="*/ 83 w 296"/>
                    <a:gd name="T25" fmla="*/ 69 h 481"/>
                    <a:gd name="T26" fmla="*/ 62 w 296"/>
                    <a:gd name="T27" fmla="*/ 110 h 481"/>
                    <a:gd name="T28" fmla="*/ 24 w 296"/>
                    <a:gd name="T29" fmla="*/ 184 h 481"/>
                    <a:gd name="T30" fmla="*/ 20 w 296"/>
                    <a:gd name="T31" fmla="*/ 191 h 481"/>
                    <a:gd name="T32" fmla="*/ 5 w 296"/>
                    <a:gd name="T33" fmla="*/ 235 h 481"/>
                    <a:gd name="T34" fmla="*/ 10 w 296"/>
                    <a:gd name="T35" fmla="*/ 239 h 481"/>
                    <a:gd name="T36" fmla="*/ 14 w 296"/>
                    <a:gd name="T37" fmla="*/ 241 h 481"/>
                    <a:gd name="T38" fmla="*/ 22 w 296"/>
                    <a:gd name="T39" fmla="*/ 263 h 481"/>
                    <a:gd name="T40" fmla="*/ 23 w 296"/>
                    <a:gd name="T41" fmla="*/ 266 h 481"/>
                    <a:gd name="T42" fmla="*/ 23 w 296"/>
                    <a:gd name="T43" fmla="*/ 272 h 481"/>
                    <a:gd name="T44" fmla="*/ 23 w 296"/>
                    <a:gd name="T45" fmla="*/ 280 h 481"/>
                    <a:gd name="T46" fmla="*/ 25 w 296"/>
                    <a:gd name="T47" fmla="*/ 284 h 481"/>
                    <a:gd name="T48" fmla="*/ 29 w 296"/>
                    <a:gd name="T49" fmla="*/ 287 h 481"/>
                    <a:gd name="T50" fmla="*/ 29 w 296"/>
                    <a:gd name="T51" fmla="*/ 285 h 481"/>
                    <a:gd name="T52" fmla="*/ 33 w 296"/>
                    <a:gd name="T53" fmla="*/ 287 h 481"/>
                    <a:gd name="T54" fmla="*/ 38 w 296"/>
                    <a:gd name="T55" fmla="*/ 310 h 481"/>
                    <a:gd name="T56" fmla="*/ 38 w 296"/>
                    <a:gd name="T57" fmla="*/ 312 h 481"/>
                    <a:gd name="T58" fmla="*/ 42 w 296"/>
                    <a:gd name="T59" fmla="*/ 325 h 481"/>
                    <a:gd name="T60" fmla="*/ 47 w 296"/>
                    <a:gd name="T61" fmla="*/ 333 h 481"/>
                    <a:gd name="T62" fmla="*/ 53 w 296"/>
                    <a:gd name="T63" fmla="*/ 353 h 481"/>
                    <a:gd name="T64" fmla="*/ 54 w 296"/>
                    <a:gd name="T65" fmla="*/ 358 h 481"/>
                    <a:gd name="T66" fmla="*/ 60 w 296"/>
                    <a:gd name="T67" fmla="*/ 372 h 481"/>
                    <a:gd name="T68" fmla="*/ 65 w 296"/>
                    <a:gd name="T69" fmla="*/ 380 h 481"/>
                    <a:gd name="T70" fmla="*/ 62 w 296"/>
                    <a:gd name="T71" fmla="*/ 405 h 481"/>
                    <a:gd name="T72" fmla="*/ 61 w 296"/>
                    <a:gd name="T73" fmla="*/ 411 h 481"/>
                    <a:gd name="T74" fmla="*/ 57 w 296"/>
                    <a:gd name="T75" fmla="*/ 437 h 481"/>
                    <a:gd name="T76" fmla="*/ 60 w 296"/>
                    <a:gd name="T77" fmla="*/ 444 h 481"/>
                    <a:gd name="T78" fmla="*/ 60 w 296"/>
                    <a:gd name="T79" fmla="*/ 445 h 481"/>
                    <a:gd name="T80" fmla="*/ 61 w 296"/>
                    <a:gd name="T81" fmla="*/ 446 h 481"/>
                    <a:gd name="T82" fmla="*/ 62 w 296"/>
                    <a:gd name="T83" fmla="*/ 447 h 481"/>
                    <a:gd name="T84" fmla="*/ 156 w 296"/>
                    <a:gd name="T85" fmla="*/ 480 h 481"/>
                    <a:gd name="T86" fmla="*/ 159 w 296"/>
                    <a:gd name="T87" fmla="*/ 481 h 481"/>
                    <a:gd name="T88" fmla="*/ 286 w 296"/>
                    <a:gd name="T89" fmla="*/ 106 h 481"/>
                    <a:gd name="T90" fmla="*/ 280 w 296"/>
                    <a:gd name="T91" fmla="*/ 109 h 481"/>
                    <a:gd name="T92" fmla="*/ 276 w 296"/>
                    <a:gd name="T93" fmla="*/ 110 h 481"/>
                    <a:gd name="T94" fmla="*/ 272 w 296"/>
                    <a:gd name="T95" fmla="*/ 113 h 481"/>
                    <a:gd name="T96" fmla="*/ 263 w 296"/>
                    <a:gd name="T97" fmla="*/ 119 h 481"/>
                    <a:gd name="T98" fmla="*/ 261 w 296"/>
                    <a:gd name="T99" fmla="*/ 116 h 481"/>
                    <a:gd name="T100" fmla="*/ 267 w 296"/>
                    <a:gd name="T101" fmla="*/ 110 h 4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96" h="481">
                      <a:moveTo>
                        <a:pt x="267" y="110"/>
                      </a:moveTo>
                      <a:cubicBezTo>
                        <a:pt x="269" y="109"/>
                        <a:pt x="270" y="109"/>
                        <a:pt x="272" y="108"/>
                      </a:cubicBezTo>
                      <a:cubicBezTo>
                        <a:pt x="274" y="107"/>
                        <a:pt x="276" y="106"/>
                        <a:pt x="278" y="106"/>
                      </a:cubicBezTo>
                      <a:cubicBezTo>
                        <a:pt x="281" y="105"/>
                        <a:pt x="283" y="105"/>
                        <a:pt x="285" y="104"/>
                      </a:cubicBezTo>
                      <a:cubicBezTo>
                        <a:pt x="287" y="103"/>
                        <a:pt x="287" y="103"/>
                        <a:pt x="287" y="103"/>
                      </a:cubicBezTo>
                      <a:cubicBezTo>
                        <a:pt x="296" y="76"/>
                        <a:pt x="296" y="76"/>
                        <a:pt x="296" y="76"/>
                      </a:cubicBezTo>
                      <a:cubicBezTo>
                        <a:pt x="293" y="75"/>
                        <a:pt x="293" y="75"/>
                        <a:pt x="293" y="75"/>
                      </a:cubicBezTo>
                      <a:cubicBezTo>
                        <a:pt x="234" y="55"/>
                        <a:pt x="176" y="31"/>
                        <a:pt x="120" y="1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116" y="3"/>
                        <a:pt x="116" y="3"/>
                        <a:pt x="116" y="3"/>
                      </a:cubicBezTo>
                      <a:cubicBezTo>
                        <a:pt x="110" y="14"/>
                        <a:pt x="104" y="26"/>
                        <a:pt x="99" y="37"/>
                      </a:cubicBezTo>
                      <a:cubicBezTo>
                        <a:pt x="97" y="40"/>
                        <a:pt x="97" y="40"/>
                        <a:pt x="97" y="40"/>
                      </a:cubicBezTo>
                      <a:cubicBezTo>
                        <a:pt x="92" y="50"/>
                        <a:pt x="88" y="59"/>
                        <a:pt x="83" y="69"/>
                      </a:cubicBezTo>
                      <a:cubicBezTo>
                        <a:pt x="76" y="83"/>
                        <a:pt x="69" y="97"/>
                        <a:pt x="62" y="110"/>
                      </a:cubicBezTo>
                      <a:cubicBezTo>
                        <a:pt x="50" y="135"/>
                        <a:pt x="38" y="160"/>
                        <a:pt x="24" y="184"/>
                      </a:cubicBezTo>
                      <a:cubicBezTo>
                        <a:pt x="23" y="186"/>
                        <a:pt x="22" y="188"/>
                        <a:pt x="20" y="191"/>
                      </a:cubicBezTo>
                      <a:cubicBezTo>
                        <a:pt x="10" y="207"/>
                        <a:pt x="0" y="226"/>
                        <a:pt x="5" y="235"/>
                      </a:cubicBezTo>
                      <a:cubicBezTo>
                        <a:pt x="6" y="238"/>
                        <a:pt x="8" y="238"/>
                        <a:pt x="10" y="239"/>
                      </a:cubicBezTo>
                      <a:cubicBezTo>
                        <a:pt x="11" y="240"/>
                        <a:pt x="12" y="240"/>
                        <a:pt x="14" y="241"/>
                      </a:cubicBezTo>
                      <a:cubicBezTo>
                        <a:pt x="20" y="246"/>
                        <a:pt x="21" y="255"/>
                        <a:pt x="22" y="263"/>
                      </a:cubicBezTo>
                      <a:cubicBezTo>
                        <a:pt x="23" y="266"/>
                        <a:pt x="23" y="266"/>
                        <a:pt x="23" y="266"/>
                      </a:cubicBezTo>
                      <a:cubicBezTo>
                        <a:pt x="23" y="268"/>
                        <a:pt x="23" y="270"/>
                        <a:pt x="23" y="272"/>
                      </a:cubicBezTo>
                      <a:cubicBezTo>
                        <a:pt x="23" y="275"/>
                        <a:pt x="23" y="277"/>
                        <a:pt x="23" y="280"/>
                      </a:cubicBezTo>
                      <a:cubicBezTo>
                        <a:pt x="24" y="283"/>
                        <a:pt x="25" y="284"/>
                        <a:pt x="25" y="284"/>
                      </a:cubicBezTo>
                      <a:cubicBezTo>
                        <a:pt x="29" y="287"/>
                        <a:pt x="29" y="287"/>
                        <a:pt x="29" y="287"/>
                      </a:cubicBezTo>
                      <a:cubicBezTo>
                        <a:pt x="29" y="285"/>
                        <a:pt x="29" y="285"/>
                        <a:pt x="29" y="285"/>
                      </a:cubicBezTo>
                      <a:cubicBezTo>
                        <a:pt x="30" y="286"/>
                        <a:pt x="31" y="286"/>
                        <a:pt x="33" y="287"/>
                      </a:cubicBezTo>
                      <a:cubicBezTo>
                        <a:pt x="39" y="291"/>
                        <a:pt x="38" y="302"/>
                        <a:pt x="38" y="310"/>
                      </a:cubicBezTo>
                      <a:cubicBezTo>
                        <a:pt x="38" y="312"/>
                        <a:pt x="38" y="312"/>
                        <a:pt x="38" y="312"/>
                      </a:cubicBezTo>
                      <a:cubicBezTo>
                        <a:pt x="37" y="320"/>
                        <a:pt x="39" y="322"/>
                        <a:pt x="42" y="325"/>
                      </a:cubicBezTo>
                      <a:cubicBezTo>
                        <a:pt x="44" y="327"/>
                        <a:pt x="45" y="329"/>
                        <a:pt x="47" y="333"/>
                      </a:cubicBezTo>
                      <a:cubicBezTo>
                        <a:pt x="50" y="338"/>
                        <a:pt x="52" y="346"/>
                        <a:pt x="53" y="353"/>
                      </a:cubicBezTo>
                      <a:cubicBezTo>
                        <a:pt x="53" y="355"/>
                        <a:pt x="54" y="356"/>
                        <a:pt x="54" y="358"/>
                      </a:cubicBezTo>
                      <a:cubicBezTo>
                        <a:pt x="55" y="364"/>
                        <a:pt x="58" y="368"/>
                        <a:pt x="60" y="372"/>
                      </a:cubicBezTo>
                      <a:cubicBezTo>
                        <a:pt x="62" y="374"/>
                        <a:pt x="64" y="377"/>
                        <a:pt x="65" y="380"/>
                      </a:cubicBezTo>
                      <a:cubicBezTo>
                        <a:pt x="68" y="388"/>
                        <a:pt x="65" y="398"/>
                        <a:pt x="62" y="405"/>
                      </a:cubicBezTo>
                      <a:cubicBezTo>
                        <a:pt x="62" y="407"/>
                        <a:pt x="61" y="411"/>
                        <a:pt x="61" y="411"/>
                      </a:cubicBezTo>
                      <a:cubicBezTo>
                        <a:pt x="58" y="419"/>
                        <a:pt x="55" y="427"/>
                        <a:pt x="57" y="437"/>
                      </a:cubicBezTo>
                      <a:cubicBezTo>
                        <a:pt x="58" y="439"/>
                        <a:pt x="59" y="441"/>
                        <a:pt x="60" y="444"/>
                      </a:cubicBezTo>
                      <a:cubicBezTo>
                        <a:pt x="60" y="445"/>
                        <a:pt x="60" y="445"/>
                        <a:pt x="60" y="445"/>
                      </a:cubicBezTo>
                      <a:cubicBezTo>
                        <a:pt x="61" y="446"/>
                        <a:pt x="61" y="446"/>
                        <a:pt x="61" y="446"/>
                      </a:cubicBezTo>
                      <a:cubicBezTo>
                        <a:pt x="62" y="447"/>
                        <a:pt x="62" y="447"/>
                        <a:pt x="62" y="447"/>
                      </a:cubicBezTo>
                      <a:cubicBezTo>
                        <a:pt x="91" y="458"/>
                        <a:pt x="123" y="469"/>
                        <a:pt x="156" y="480"/>
                      </a:cubicBezTo>
                      <a:cubicBezTo>
                        <a:pt x="159" y="481"/>
                        <a:pt x="159" y="481"/>
                        <a:pt x="159" y="481"/>
                      </a:cubicBezTo>
                      <a:cubicBezTo>
                        <a:pt x="286" y="106"/>
                        <a:pt x="286" y="106"/>
                        <a:pt x="286" y="106"/>
                      </a:cubicBezTo>
                      <a:cubicBezTo>
                        <a:pt x="280" y="109"/>
                        <a:pt x="280" y="109"/>
                        <a:pt x="280" y="109"/>
                      </a:cubicBezTo>
                      <a:cubicBezTo>
                        <a:pt x="278" y="109"/>
                        <a:pt x="277" y="110"/>
                        <a:pt x="276" y="110"/>
                      </a:cubicBezTo>
                      <a:cubicBezTo>
                        <a:pt x="275" y="111"/>
                        <a:pt x="273" y="112"/>
                        <a:pt x="272" y="113"/>
                      </a:cubicBezTo>
                      <a:cubicBezTo>
                        <a:pt x="269" y="116"/>
                        <a:pt x="265" y="119"/>
                        <a:pt x="263" y="119"/>
                      </a:cubicBezTo>
                      <a:cubicBezTo>
                        <a:pt x="262" y="119"/>
                        <a:pt x="261" y="117"/>
                        <a:pt x="261" y="116"/>
                      </a:cubicBezTo>
                      <a:cubicBezTo>
                        <a:pt x="260" y="113"/>
                        <a:pt x="261" y="112"/>
                        <a:pt x="267" y="11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1" name="Freeform 52">
                  <a:extLst>
                    <a:ext uri="{FF2B5EF4-FFF2-40B4-BE49-F238E27FC236}">
                      <a16:creationId xmlns:a16="http://schemas.microsoft.com/office/drawing/2014/main" id="{C3381D20-638B-8342-8162-9C32807D7E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3257" y="3594400"/>
                  <a:ext cx="1557278" cy="2286548"/>
                </a:xfrm>
                <a:custGeom>
                  <a:avLst/>
                  <a:gdLst>
                    <a:gd name="T0" fmla="*/ 280 w 286"/>
                    <a:gd name="T1" fmla="*/ 55 h 461"/>
                    <a:gd name="T2" fmla="*/ 278 w 286"/>
                    <a:gd name="T3" fmla="*/ 44 h 461"/>
                    <a:gd name="T4" fmla="*/ 276 w 286"/>
                    <a:gd name="T5" fmla="*/ 28 h 461"/>
                    <a:gd name="T6" fmla="*/ 264 w 286"/>
                    <a:gd name="T7" fmla="*/ 3 h 461"/>
                    <a:gd name="T8" fmla="*/ 261 w 286"/>
                    <a:gd name="T9" fmla="*/ 0 h 461"/>
                    <a:gd name="T10" fmla="*/ 2 w 286"/>
                    <a:gd name="T11" fmla="*/ 252 h 461"/>
                    <a:gd name="T12" fmla="*/ 8 w 286"/>
                    <a:gd name="T13" fmla="*/ 264 h 461"/>
                    <a:gd name="T14" fmla="*/ 18 w 286"/>
                    <a:gd name="T15" fmla="*/ 272 h 461"/>
                    <a:gd name="T16" fmla="*/ 23 w 286"/>
                    <a:gd name="T17" fmla="*/ 276 h 461"/>
                    <a:gd name="T18" fmla="*/ 19 w 286"/>
                    <a:gd name="T19" fmla="*/ 279 h 461"/>
                    <a:gd name="T20" fmla="*/ 19 w 286"/>
                    <a:gd name="T21" fmla="*/ 283 h 461"/>
                    <a:gd name="T22" fmla="*/ 250 w 286"/>
                    <a:gd name="T23" fmla="*/ 461 h 461"/>
                    <a:gd name="T24" fmla="*/ 253 w 286"/>
                    <a:gd name="T25" fmla="*/ 454 h 461"/>
                    <a:gd name="T26" fmla="*/ 253 w 286"/>
                    <a:gd name="T27" fmla="*/ 437 h 461"/>
                    <a:gd name="T28" fmla="*/ 258 w 286"/>
                    <a:gd name="T29" fmla="*/ 425 h 461"/>
                    <a:gd name="T30" fmla="*/ 250 w 286"/>
                    <a:gd name="T31" fmla="*/ 423 h 461"/>
                    <a:gd name="T32" fmla="*/ 243 w 286"/>
                    <a:gd name="T33" fmla="*/ 422 h 461"/>
                    <a:gd name="T34" fmla="*/ 239 w 286"/>
                    <a:gd name="T35" fmla="*/ 417 h 461"/>
                    <a:gd name="T36" fmla="*/ 227 w 286"/>
                    <a:gd name="T37" fmla="*/ 413 h 461"/>
                    <a:gd name="T38" fmla="*/ 226 w 286"/>
                    <a:gd name="T39" fmla="*/ 395 h 461"/>
                    <a:gd name="T40" fmla="*/ 225 w 286"/>
                    <a:gd name="T41" fmla="*/ 379 h 461"/>
                    <a:gd name="T42" fmla="*/ 221 w 286"/>
                    <a:gd name="T43" fmla="*/ 362 h 461"/>
                    <a:gd name="T44" fmla="*/ 216 w 286"/>
                    <a:gd name="T45" fmla="*/ 343 h 461"/>
                    <a:gd name="T46" fmla="*/ 218 w 286"/>
                    <a:gd name="T47" fmla="*/ 331 h 461"/>
                    <a:gd name="T48" fmla="*/ 221 w 286"/>
                    <a:gd name="T49" fmla="*/ 315 h 461"/>
                    <a:gd name="T50" fmla="*/ 227 w 286"/>
                    <a:gd name="T51" fmla="*/ 298 h 461"/>
                    <a:gd name="T52" fmla="*/ 235 w 286"/>
                    <a:gd name="T53" fmla="*/ 279 h 461"/>
                    <a:gd name="T54" fmla="*/ 234 w 286"/>
                    <a:gd name="T55" fmla="*/ 263 h 461"/>
                    <a:gd name="T56" fmla="*/ 235 w 286"/>
                    <a:gd name="T57" fmla="*/ 258 h 461"/>
                    <a:gd name="T58" fmla="*/ 233 w 286"/>
                    <a:gd name="T59" fmla="*/ 244 h 461"/>
                    <a:gd name="T60" fmla="*/ 229 w 286"/>
                    <a:gd name="T61" fmla="*/ 233 h 461"/>
                    <a:gd name="T62" fmla="*/ 238 w 286"/>
                    <a:gd name="T63" fmla="*/ 210 h 461"/>
                    <a:gd name="T64" fmla="*/ 249 w 286"/>
                    <a:gd name="T65" fmla="*/ 184 h 461"/>
                    <a:gd name="T66" fmla="*/ 254 w 286"/>
                    <a:gd name="T67" fmla="*/ 160 h 461"/>
                    <a:gd name="T68" fmla="*/ 264 w 286"/>
                    <a:gd name="T69" fmla="*/ 141 h 461"/>
                    <a:gd name="T70" fmla="*/ 244 w 286"/>
                    <a:gd name="T71" fmla="*/ 130 h 461"/>
                    <a:gd name="T72" fmla="*/ 243 w 286"/>
                    <a:gd name="T73" fmla="*/ 117 h 461"/>
                    <a:gd name="T74" fmla="*/ 255 w 286"/>
                    <a:gd name="T75" fmla="*/ 104 h 461"/>
                    <a:gd name="T76" fmla="*/ 259 w 286"/>
                    <a:gd name="T77" fmla="*/ 91 h 461"/>
                    <a:gd name="T78" fmla="*/ 272 w 286"/>
                    <a:gd name="T79" fmla="*/ 82 h 461"/>
                    <a:gd name="T80" fmla="*/ 282 w 286"/>
                    <a:gd name="T81" fmla="*/ 68 h 461"/>
                    <a:gd name="T82" fmla="*/ 286 w 286"/>
                    <a:gd name="T83" fmla="*/ 62 h 4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86" h="461">
                      <a:moveTo>
                        <a:pt x="283" y="59"/>
                      </a:moveTo>
                      <a:cubicBezTo>
                        <a:pt x="282" y="58"/>
                        <a:pt x="281" y="57"/>
                        <a:pt x="280" y="55"/>
                      </a:cubicBezTo>
                      <a:cubicBezTo>
                        <a:pt x="279" y="54"/>
                        <a:pt x="279" y="52"/>
                        <a:pt x="279" y="50"/>
                      </a:cubicBezTo>
                      <a:cubicBezTo>
                        <a:pt x="279" y="48"/>
                        <a:pt x="279" y="46"/>
                        <a:pt x="278" y="44"/>
                      </a:cubicBezTo>
                      <a:cubicBezTo>
                        <a:pt x="276" y="40"/>
                        <a:pt x="276" y="36"/>
                        <a:pt x="276" y="32"/>
                      </a:cubicBezTo>
                      <a:cubicBezTo>
                        <a:pt x="276" y="31"/>
                        <a:pt x="276" y="29"/>
                        <a:pt x="276" y="28"/>
                      </a:cubicBezTo>
                      <a:cubicBezTo>
                        <a:pt x="277" y="24"/>
                        <a:pt x="277" y="20"/>
                        <a:pt x="274" y="15"/>
                      </a:cubicBezTo>
                      <a:cubicBezTo>
                        <a:pt x="272" y="11"/>
                        <a:pt x="267" y="7"/>
                        <a:pt x="264" y="3"/>
                      </a:cubicBezTo>
                      <a:cubicBezTo>
                        <a:pt x="263" y="3"/>
                        <a:pt x="263" y="3"/>
                        <a:pt x="263" y="3"/>
                      </a:cubicBezTo>
                      <a:cubicBezTo>
                        <a:pt x="261" y="0"/>
                        <a:pt x="261" y="0"/>
                        <a:pt x="261" y="0"/>
                      </a:cubicBezTo>
                      <a:cubicBezTo>
                        <a:pt x="0" y="250"/>
                        <a:pt x="0" y="250"/>
                        <a:pt x="0" y="250"/>
                      </a:cubicBezTo>
                      <a:cubicBezTo>
                        <a:pt x="2" y="252"/>
                        <a:pt x="2" y="252"/>
                        <a:pt x="2" y="252"/>
                      </a:cubicBezTo>
                      <a:cubicBezTo>
                        <a:pt x="2" y="253"/>
                        <a:pt x="3" y="255"/>
                        <a:pt x="4" y="257"/>
                      </a:cubicBezTo>
                      <a:cubicBezTo>
                        <a:pt x="5" y="259"/>
                        <a:pt x="7" y="262"/>
                        <a:pt x="8" y="264"/>
                      </a:cubicBezTo>
                      <a:cubicBezTo>
                        <a:pt x="11" y="268"/>
                        <a:pt x="12" y="269"/>
                        <a:pt x="18" y="271"/>
                      </a:cubicBezTo>
                      <a:cubicBezTo>
                        <a:pt x="18" y="272"/>
                        <a:pt x="18" y="272"/>
                        <a:pt x="18" y="272"/>
                      </a:cubicBezTo>
                      <a:cubicBezTo>
                        <a:pt x="24" y="274"/>
                        <a:pt x="25" y="275"/>
                        <a:pt x="25" y="275"/>
                      </a:cubicBezTo>
                      <a:cubicBezTo>
                        <a:pt x="25" y="275"/>
                        <a:pt x="24" y="275"/>
                        <a:pt x="23" y="276"/>
                      </a:cubicBezTo>
                      <a:cubicBezTo>
                        <a:pt x="22" y="276"/>
                        <a:pt x="21" y="277"/>
                        <a:pt x="20" y="278"/>
                      </a:cubicBezTo>
                      <a:cubicBezTo>
                        <a:pt x="20" y="278"/>
                        <a:pt x="19" y="279"/>
                        <a:pt x="19" y="279"/>
                      </a:cubicBezTo>
                      <a:cubicBezTo>
                        <a:pt x="17" y="281"/>
                        <a:pt x="17" y="281"/>
                        <a:pt x="17" y="281"/>
                      </a:cubicBezTo>
                      <a:cubicBezTo>
                        <a:pt x="19" y="283"/>
                        <a:pt x="19" y="283"/>
                        <a:pt x="19" y="283"/>
                      </a:cubicBezTo>
                      <a:cubicBezTo>
                        <a:pt x="42" y="306"/>
                        <a:pt x="125" y="385"/>
                        <a:pt x="247" y="459"/>
                      </a:cubicBezTo>
                      <a:cubicBezTo>
                        <a:pt x="250" y="461"/>
                        <a:pt x="250" y="461"/>
                        <a:pt x="250" y="461"/>
                      </a:cubicBezTo>
                      <a:cubicBezTo>
                        <a:pt x="251" y="457"/>
                        <a:pt x="251" y="457"/>
                        <a:pt x="251" y="457"/>
                      </a:cubicBezTo>
                      <a:cubicBezTo>
                        <a:pt x="252" y="456"/>
                        <a:pt x="252" y="456"/>
                        <a:pt x="253" y="454"/>
                      </a:cubicBezTo>
                      <a:cubicBezTo>
                        <a:pt x="253" y="451"/>
                        <a:pt x="253" y="449"/>
                        <a:pt x="252" y="447"/>
                      </a:cubicBezTo>
                      <a:cubicBezTo>
                        <a:pt x="252" y="443"/>
                        <a:pt x="251" y="440"/>
                        <a:pt x="253" y="437"/>
                      </a:cubicBezTo>
                      <a:cubicBezTo>
                        <a:pt x="253" y="436"/>
                        <a:pt x="254" y="435"/>
                        <a:pt x="255" y="434"/>
                      </a:cubicBezTo>
                      <a:cubicBezTo>
                        <a:pt x="258" y="431"/>
                        <a:pt x="260" y="428"/>
                        <a:pt x="258" y="425"/>
                      </a:cubicBezTo>
                      <a:cubicBezTo>
                        <a:pt x="256" y="423"/>
                        <a:pt x="253" y="423"/>
                        <a:pt x="252" y="423"/>
                      </a:cubicBezTo>
                      <a:cubicBezTo>
                        <a:pt x="251" y="423"/>
                        <a:pt x="251" y="423"/>
                        <a:pt x="250" y="423"/>
                      </a:cubicBezTo>
                      <a:cubicBezTo>
                        <a:pt x="249" y="423"/>
                        <a:pt x="249" y="423"/>
                        <a:pt x="248" y="423"/>
                      </a:cubicBezTo>
                      <a:cubicBezTo>
                        <a:pt x="246" y="423"/>
                        <a:pt x="244" y="422"/>
                        <a:pt x="243" y="422"/>
                      </a:cubicBezTo>
                      <a:cubicBezTo>
                        <a:pt x="242" y="421"/>
                        <a:pt x="241" y="420"/>
                        <a:pt x="241" y="419"/>
                      </a:cubicBezTo>
                      <a:cubicBezTo>
                        <a:pt x="240" y="419"/>
                        <a:pt x="240" y="418"/>
                        <a:pt x="239" y="417"/>
                      </a:cubicBezTo>
                      <a:cubicBezTo>
                        <a:pt x="237" y="416"/>
                        <a:pt x="235" y="416"/>
                        <a:pt x="233" y="415"/>
                      </a:cubicBezTo>
                      <a:cubicBezTo>
                        <a:pt x="231" y="415"/>
                        <a:pt x="229" y="415"/>
                        <a:pt x="227" y="413"/>
                      </a:cubicBezTo>
                      <a:cubicBezTo>
                        <a:pt x="224" y="411"/>
                        <a:pt x="222" y="408"/>
                        <a:pt x="223" y="403"/>
                      </a:cubicBezTo>
                      <a:cubicBezTo>
                        <a:pt x="223" y="400"/>
                        <a:pt x="224" y="398"/>
                        <a:pt x="226" y="395"/>
                      </a:cubicBezTo>
                      <a:cubicBezTo>
                        <a:pt x="227" y="393"/>
                        <a:pt x="229" y="390"/>
                        <a:pt x="228" y="385"/>
                      </a:cubicBezTo>
                      <a:cubicBezTo>
                        <a:pt x="228" y="383"/>
                        <a:pt x="227" y="381"/>
                        <a:pt x="225" y="379"/>
                      </a:cubicBezTo>
                      <a:cubicBezTo>
                        <a:pt x="224" y="377"/>
                        <a:pt x="223" y="376"/>
                        <a:pt x="222" y="374"/>
                      </a:cubicBezTo>
                      <a:cubicBezTo>
                        <a:pt x="221" y="370"/>
                        <a:pt x="221" y="366"/>
                        <a:pt x="221" y="362"/>
                      </a:cubicBezTo>
                      <a:cubicBezTo>
                        <a:pt x="221" y="357"/>
                        <a:pt x="221" y="351"/>
                        <a:pt x="219" y="346"/>
                      </a:cubicBezTo>
                      <a:cubicBezTo>
                        <a:pt x="218" y="345"/>
                        <a:pt x="217" y="344"/>
                        <a:pt x="216" y="343"/>
                      </a:cubicBezTo>
                      <a:cubicBezTo>
                        <a:pt x="214" y="341"/>
                        <a:pt x="213" y="339"/>
                        <a:pt x="215" y="335"/>
                      </a:cubicBezTo>
                      <a:cubicBezTo>
                        <a:pt x="216" y="333"/>
                        <a:pt x="217" y="332"/>
                        <a:pt x="218" y="331"/>
                      </a:cubicBezTo>
                      <a:cubicBezTo>
                        <a:pt x="220" y="328"/>
                        <a:pt x="222" y="325"/>
                        <a:pt x="221" y="320"/>
                      </a:cubicBezTo>
                      <a:cubicBezTo>
                        <a:pt x="221" y="318"/>
                        <a:pt x="221" y="317"/>
                        <a:pt x="221" y="315"/>
                      </a:cubicBezTo>
                      <a:cubicBezTo>
                        <a:pt x="220" y="311"/>
                        <a:pt x="220" y="307"/>
                        <a:pt x="222" y="304"/>
                      </a:cubicBezTo>
                      <a:cubicBezTo>
                        <a:pt x="223" y="301"/>
                        <a:pt x="225" y="299"/>
                        <a:pt x="227" y="298"/>
                      </a:cubicBezTo>
                      <a:cubicBezTo>
                        <a:pt x="230" y="295"/>
                        <a:pt x="233" y="293"/>
                        <a:pt x="234" y="289"/>
                      </a:cubicBezTo>
                      <a:cubicBezTo>
                        <a:pt x="236" y="285"/>
                        <a:pt x="235" y="282"/>
                        <a:pt x="235" y="279"/>
                      </a:cubicBezTo>
                      <a:cubicBezTo>
                        <a:pt x="235" y="279"/>
                        <a:pt x="234" y="277"/>
                        <a:pt x="234" y="277"/>
                      </a:cubicBezTo>
                      <a:cubicBezTo>
                        <a:pt x="234" y="272"/>
                        <a:pt x="234" y="267"/>
                        <a:pt x="234" y="263"/>
                      </a:cubicBezTo>
                      <a:cubicBezTo>
                        <a:pt x="235" y="261"/>
                        <a:pt x="235" y="261"/>
                        <a:pt x="235" y="261"/>
                      </a:cubicBezTo>
                      <a:cubicBezTo>
                        <a:pt x="235" y="260"/>
                        <a:pt x="235" y="259"/>
                        <a:pt x="235" y="258"/>
                      </a:cubicBezTo>
                      <a:cubicBezTo>
                        <a:pt x="236" y="253"/>
                        <a:pt x="236" y="250"/>
                        <a:pt x="235" y="247"/>
                      </a:cubicBezTo>
                      <a:cubicBezTo>
                        <a:pt x="234" y="246"/>
                        <a:pt x="233" y="245"/>
                        <a:pt x="233" y="244"/>
                      </a:cubicBezTo>
                      <a:cubicBezTo>
                        <a:pt x="231" y="241"/>
                        <a:pt x="230" y="239"/>
                        <a:pt x="229" y="235"/>
                      </a:cubicBezTo>
                      <a:cubicBezTo>
                        <a:pt x="229" y="233"/>
                        <a:pt x="229" y="233"/>
                        <a:pt x="229" y="233"/>
                      </a:cubicBezTo>
                      <a:cubicBezTo>
                        <a:pt x="229" y="225"/>
                        <a:pt x="228" y="217"/>
                        <a:pt x="236" y="212"/>
                      </a:cubicBezTo>
                      <a:cubicBezTo>
                        <a:pt x="238" y="210"/>
                        <a:pt x="238" y="210"/>
                        <a:pt x="238" y="210"/>
                      </a:cubicBezTo>
                      <a:cubicBezTo>
                        <a:pt x="244" y="206"/>
                        <a:pt x="251" y="201"/>
                        <a:pt x="254" y="195"/>
                      </a:cubicBezTo>
                      <a:cubicBezTo>
                        <a:pt x="257" y="189"/>
                        <a:pt x="253" y="187"/>
                        <a:pt x="249" y="184"/>
                      </a:cubicBezTo>
                      <a:cubicBezTo>
                        <a:pt x="247" y="182"/>
                        <a:pt x="245" y="180"/>
                        <a:pt x="243" y="178"/>
                      </a:cubicBezTo>
                      <a:cubicBezTo>
                        <a:pt x="241" y="173"/>
                        <a:pt x="246" y="167"/>
                        <a:pt x="254" y="160"/>
                      </a:cubicBezTo>
                      <a:cubicBezTo>
                        <a:pt x="258" y="157"/>
                        <a:pt x="262" y="154"/>
                        <a:pt x="263" y="151"/>
                      </a:cubicBezTo>
                      <a:cubicBezTo>
                        <a:pt x="265" y="147"/>
                        <a:pt x="265" y="144"/>
                        <a:pt x="264" y="141"/>
                      </a:cubicBezTo>
                      <a:cubicBezTo>
                        <a:pt x="263" y="138"/>
                        <a:pt x="258" y="136"/>
                        <a:pt x="254" y="135"/>
                      </a:cubicBezTo>
                      <a:cubicBezTo>
                        <a:pt x="250" y="134"/>
                        <a:pt x="246" y="132"/>
                        <a:pt x="244" y="130"/>
                      </a:cubicBezTo>
                      <a:cubicBezTo>
                        <a:pt x="241" y="128"/>
                        <a:pt x="240" y="125"/>
                        <a:pt x="240" y="123"/>
                      </a:cubicBezTo>
                      <a:cubicBezTo>
                        <a:pt x="240" y="121"/>
                        <a:pt x="241" y="118"/>
                        <a:pt x="243" y="117"/>
                      </a:cubicBezTo>
                      <a:cubicBezTo>
                        <a:pt x="244" y="116"/>
                        <a:pt x="244" y="116"/>
                        <a:pt x="244" y="116"/>
                      </a:cubicBezTo>
                      <a:cubicBezTo>
                        <a:pt x="248" y="112"/>
                        <a:pt x="252" y="109"/>
                        <a:pt x="255" y="104"/>
                      </a:cubicBezTo>
                      <a:cubicBezTo>
                        <a:pt x="256" y="102"/>
                        <a:pt x="257" y="100"/>
                        <a:pt x="257" y="98"/>
                      </a:cubicBezTo>
                      <a:cubicBezTo>
                        <a:pt x="258" y="95"/>
                        <a:pt x="258" y="93"/>
                        <a:pt x="259" y="91"/>
                      </a:cubicBezTo>
                      <a:cubicBezTo>
                        <a:pt x="261" y="88"/>
                        <a:pt x="264" y="87"/>
                        <a:pt x="267" y="85"/>
                      </a:cubicBezTo>
                      <a:cubicBezTo>
                        <a:pt x="269" y="84"/>
                        <a:pt x="271" y="83"/>
                        <a:pt x="272" y="82"/>
                      </a:cubicBezTo>
                      <a:cubicBezTo>
                        <a:pt x="275" y="80"/>
                        <a:pt x="276" y="77"/>
                        <a:pt x="278" y="73"/>
                      </a:cubicBezTo>
                      <a:cubicBezTo>
                        <a:pt x="280" y="72"/>
                        <a:pt x="281" y="70"/>
                        <a:pt x="282" y="68"/>
                      </a:cubicBezTo>
                      <a:cubicBezTo>
                        <a:pt x="283" y="67"/>
                        <a:pt x="284" y="65"/>
                        <a:pt x="285" y="64"/>
                      </a:cubicBezTo>
                      <a:cubicBezTo>
                        <a:pt x="286" y="62"/>
                        <a:pt x="286" y="62"/>
                        <a:pt x="286" y="62"/>
                      </a:cubicBezTo>
                      <a:lnTo>
                        <a:pt x="283" y="59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2" name="Freeform 53">
                  <a:extLst>
                    <a:ext uri="{FF2B5EF4-FFF2-40B4-BE49-F238E27FC236}">
                      <a16:creationId xmlns:a16="http://schemas.microsoft.com/office/drawing/2014/main" id="{2B56BA21-4293-EE4F-9AB1-905FAF34BA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274470" y="6446519"/>
                  <a:ext cx="1547019" cy="2292148"/>
                </a:xfrm>
                <a:custGeom>
                  <a:avLst/>
                  <a:gdLst>
                    <a:gd name="T0" fmla="*/ 281 w 284"/>
                    <a:gd name="T1" fmla="*/ 36 h 462"/>
                    <a:gd name="T2" fmla="*/ 140 w 284"/>
                    <a:gd name="T3" fmla="*/ 1 h 462"/>
                    <a:gd name="T4" fmla="*/ 137 w 284"/>
                    <a:gd name="T5" fmla="*/ 0 h 462"/>
                    <a:gd name="T6" fmla="*/ 128 w 284"/>
                    <a:gd name="T7" fmla="*/ 27 h 462"/>
                    <a:gd name="T8" fmla="*/ 136 w 284"/>
                    <a:gd name="T9" fmla="*/ 21 h 462"/>
                    <a:gd name="T10" fmla="*/ 140 w 284"/>
                    <a:gd name="T11" fmla="*/ 19 h 462"/>
                    <a:gd name="T12" fmla="*/ 141 w 284"/>
                    <a:gd name="T13" fmla="*/ 19 h 462"/>
                    <a:gd name="T14" fmla="*/ 145 w 284"/>
                    <a:gd name="T15" fmla="*/ 24 h 462"/>
                    <a:gd name="T16" fmla="*/ 152 w 284"/>
                    <a:gd name="T17" fmla="*/ 31 h 462"/>
                    <a:gd name="T18" fmla="*/ 158 w 284"/>
                    <a:gd name="T19" fmla="*/ 32 h 462"/>
                    <a:gd name="T20" fmla="*/ 166 w 284"/>
                    <a:gd name="T21" fmla="*/ 34 h 462"/>
                    <a:gd name="T22" fmla="*/ 165 w 284"/>
                    <a:gd name="T23" fmla="*/ 34 h 462"/>
                    <a:gd name="T24" fmla="*/ 158 w 284"/>
                    <a:gd name="T25" fmla="*/ 36 h 462"/>
                    <a:gd name="T26" fmla="*/ 155 w 284"/>
                    <a:gd name="T27" fmla="*/ 36 h 462"/>
                    <a:gd name="T28" fmla="*/ 145 w 284"/>
                    <a:gd name="T29" fmla="*/ 34 h 462"/>
                    <a:gd name="T30" fmla="*/ 130 w 284"/>
                    <a:gd name="T31" fmla="*/ 31 h 462"/>
                    <a:gd name="T32" fmla="*/ 129 w 284"/>
                    <a:gd name="T33" fmla="*/ 31 h 462"/>
                    <a:gd name="T34" fmla="*/ 127 w 284"/>
                    <a:gd name="T35" fmla="*/ 31 h 462"/>
                    <a:gd name="T36" fmla="*/ 0 w 284"/>
                    <a:gd name="T37" fmla="*/ 405 h 462"/>
                    <a:gd name="T38" fmla="*/ 3 w 284"/>
                    <a:gd name="T39" fmla="*/ 406 h 462"/>
                    <a:gd name="T40" fmla="*/ 127 w 284"/>
                    <a:gd name="T41" fmla="*/ 442 h 462"/>
                    <a:gd name="T42" fmla="*/ 177 w 284"/>
                    <a:gd name="T43" fmla="*/ 454 h 462"/>
                    <a:gd name="T44" fmla="*/ 184 w 284"/>
                    <a:gd name="T45" fmla="*/ 455 h 462"/>
                    <a:gd name="T46" fmla="*/ 217 w 284"/>
                    <a:gd name="T47" fmla="*/ 461 h 462"/>
                    <a:gd name="T48" fmla="*/ 220 w 284"/>
                    <a:gd name="T49" fmla="*/ 462 h 462"/>
                    <a:gd name="T50" fmla="*/ 221 w 284"/>
                    <a:gd name="T51" fmla="*/ 459 h 462"/>
                    <a:gd name="T52" fmla="*/ 267 w 284"/>
                    <a:gd name="T53" fmla="*/ 144 h 462"/>
                    <a:gd name="T54" fmla="*/ 261 w 284"/>
                    <a:gd name="T55" fmla="*/ 143 h 462"/>
                    <a:gd name="T56" fmla="*/ 261 w 284"/>
                    <a:gd name="T57" fmla="*/ 145 h 462"/>
                    <a:gd name="T58" fmla="*/ 257 w 284"/>
                    <a:gd name="T59" fmla="*/ 150 h 462"/>
                    <a:gd name="T60" fmla="*/ 255 w 284"/>
                    <a:gd name="T61" fmla="*/ 151 h 462"/>
                    <a:gd name="T62" fmla="*/ 253 w 284"/>
                    <a:gd name="T63" fmla="*/ 154 h 462"/>
                    <a:gd name="T64" fmla="*/ 253 w 284"/>
                    <a:gd name="T65" fmla="*/ 148 h 462"/>
                    <a:gd name="T66" fmla="*/ 252 w 284"/>
                    <a:gd name="T67" fmla="*/ 145 h 462"/>
                    <a:gd name="T68" fmla="*/ 252 w 284"/>
                    <a:gd name="T69" fmla="*/ 144 h 462"/>
                    <a:gd name="T70" fmla="*/ 251 w 284"/>
                    <a:gd name="T71" fmla="*/ 143 h 462"/>
                    <a:gd name="T72" fmla="*/ 251 w 284"/>
                    <a:gd name="T73" fmla="*/ 142 h 462"/>
                    <a:gd name="T74" fmla="*/ 251 w 284"/>
                    <a:gd name="T75" fmla="*/ 140 h 462"/>
                    <a:gd name="T76" fmla="*/ 250 w 284"/>
                    <a:gd name="T77" fmla="*/ 136 h 462"/>
                    <a:gd name="T78" fmla="*/ 249 w 284"/>
                    <a:gd name="T79" fmla="*/ 135 h 462"/>
                    <a:gd name="T80" fmla="*/ 257 w 284"/>
                    <a:gd name="T81" fmla="*/ 125 h 462"/>
                    <a:gd name="T82" fmla="*/ 258 w 284"/>
                    <a:gd name="T83" fmla="*/ 123 h 462"/>
                    <a:gd name="T84" fmla="*/ 260 w 284"/>
                    <a:gd name="T85" fmla="*/ 121 h 462"/>
                    <a:gd name="T86" fmla="*/ 269 w 284"/>
                    <a:gd name="T87" fmla="*/ 114 h 462"/>
                    <a:gd name="T88" fmla="*/ 272 w 284"/>
                    <a:gd name="T89" fmla="*/ 113 h 462"/>
                    <a:gd name="T90" fmla="*/ 272 w 284"/>
                    <a:gd name="T91" fmla="*/ 111 h 462"/>
                    <a:gd name="T92" fmla="*/ 284 w 284"/>
                    <a:gd name="T93" fmla="*/ 39 h 462"/>
                    <a:gd name="T94" fmla="*/ 284 w 284"/>
                    <a:gd name="T95" fmla="*/ 36 h 462"/>
                    <a:gd name="T96" fmla="*/ 281 w 284"/>
                    <a:gd name="T97" fmla="*/ 36 h 462"/>
                    <a:gd name="T98" fmla="*/ 233 w 284"/>
                    <a:gd name="T99" fmla="*/ 166 h 462"/>
                    <a:gd name="T100" fmla="*/ 237 w 284"/>
                    <a:gd name="T101" fmla="*/ 160 h 462"/>
                    <a:gd name="T102" fmla="*/ 239 w 284"/>
                    <a:gd name="T103" fmla="*/ 164 h 462"/>
                    <a:gd name="T104" fmla="*/ 238 w 284"/>
                    <a:gd name="T105" fmla="*/ 165 h 462"/>
                    <a:gd name="T106" fmla="*/ 233 w 284"/>
                    <a:gd name="T107" fmla="*/ 167 h 462"/>
                    <a:gd name="T108" fmla="*/ 233 w 284"/>
                    <a:gd name="T109" fmla="*/ 167 h 462"/>
                    <a:gd name="T110" fmla="*/ 233 w 284"/>
                    <a:gd name="T111" fmla="*/ 166 h 4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84" h="462">
                      <a:moveTo>
                        <a:pt x="281" y="36"/>
                      </a:moveTo>
                      <a:cubicBezTo>
                        <a:pt x="267" y="34"/>
                        <a:pt x="214" y="25"/>
                        <a:pt x="140" y="1"/>
                      </a:cubicBezTo>
                      <a:cubicBezTo>
                        <a:pt x="137" y="0"/>
                        <a:pt x="137" y="0"/>
                        <a:pt x="137" y="0"/>
                      </a:cubicBezTo>
                      <a:cubicBezTo>
                        <a:pt x="128" y="27"/>
                        <a:pt x="128" y="27"/>
                        <a:pt x="128" y="27"/>
                      </a:cubicBezTo>
                      <a:cubicBezTo>
                        <a:pt x="136" y="21"/>
                        <a:pt x="136" y="21"/>
                        <a:pt x="136" y="21"/>
                      </a:cubicBezTo>
                      <a:cubicBezTo>
                        <a:pt x="137" y="20"/>
                        <a:pt x="139" y="19"/>
                        <a:pt x="140" y="19"/>
                      </a:cubicBezTo>
                      <a:cubicBezTo>
                        <a:pt x="140" y="19"/>
                        <a:pt x="141" y="19"/>
                        <a:pt x="141" y="19"/>
                      </a:cubicBezTo>
                      <a:cubicBezTo>
                        <a:pt x="143" y="20"/>
                        <a:pt x="144" y="22"/>
                        <a:pt x="145" y="24"/>
                      </a:cubicBezTo>
                      <a:cubicBezTo>
                        <a:pt x="147" y="26"/>
                        <a:pt x="149" y="29"/>
                        <a:pt x="152" y="31"/>
                      </a:cubicBezTo>
                      <a:cubicBezTo>
                        <a:pt x="154" y="32"/>
                        <a:pt x="156" y="32"/>
                        <a:pt x="158" y="32"/>
                      </a:cubicBezTo>
                      <a:cubicBezTo>
                        <a:pt x="163" y="32"/>
                        <a:pt x="165" y="33"/>
                        <a:pt x="166" y="34"/>
                      </a:cubicBezTo>
                      <a:cubicBezTo>
                        <a:pt x="166" y="34"/>
                        <a:pt x="166" y="34"/>
                        <a:pt x="165" y="34"/>
                      </a:cubicBezTo>
                      <a:cubicBezTo>
                        <a:pt x="165" y="35"/>
                        <a:pt x="162" y="36"/>
                        <a:pt x="158" y="36"/>
                      </a:cubicBezTo>
                      <a:cubicBezTo>
                        <a:pt x="156" y="36"/>
                        <a:pt x="155" y="36"/>
                        <a:pt x="155" y="36"/>
                      </a:cubicBezTo>
                      <a:cubicBezTo>
                        <a:pt x="152" y="36"/>
                        <a:pt x="148" y="35"/>
                        <a:pt x="145" y="34"/>
                      </a:cubicBezTo>
                      <a:cubicBezTo>
                        <a:pt x="140" y="32"/>
                        <a:pt x="135" y="31"/>
                        <a:pt x="130" y="31"/>
                      </a:cubicBezTo>
                      <a:cubicBezTo>
                        <a:pt x="129" y="31"/>
                        <a:pt x="129" y="31"/>
                        <a:pt x="129" y="31"/>
                      </a:cubicBezTo>
                      <a:cubicBezTo>
                        <a:pt x="127" y="31"/>
                        <a:pt x="127" y="31"/>
                        <a:pt x="127" y="31"/>
                      </a:cubicBezTo>
                      <a:cubicBezTo>
                        <a:pt x="0" y="405"/>
                        <a:pt x="0" y="405"/>
                        <a:pt x="0" y="405"/>
                      </a:cubicBezTo>
                      <a:cubicBezTo>
                        <a:pt x="3" y="406"/>
                        <a:pt x="3" y="406"/>
                        <a:pt x="3" y="406"/>
                      </a:cubicBezTo>
                      <a:cubicBezTo>
                        <a:pt x="42" y="418"/>
                        <a:pt x="83" y="430"/>
                        <a:pt x="127" y="442"/>
                      </a:cubicBezTo>
                      <a:cubicBezTo>
                        <a:pt x="143" y="447"/>
                        <a:pt x="160" y="450"/>
                        <a:pt x="177" y="454"/>
                      </a:cubicBezTo>
                      <a:cubicBezTo>
                        <a:pt x="184" y="455"/>
                        <a:pt x="184" y="455"/>
                        <a:pt x="184" y="455"/>
                      </a:cubicBezTo>
                      <a:cubicBezTo>
                        <a:pt x="194" y="457"/>
                        <a:pt x="205" y="459"/>
                        <a:pt x="217" y="461"/>
                      </a:cubicBezTo>
                      <a:cubicBezTo>
                        <a:pt x="220" y="462"/>
                        <a:pt x="220" y="462"/>
                        <a:pt x="220" y="462"/>
                      </a:cubicBezTo>
                      <a:cubicBezTo>
                        <a:pt x="221" y="459"/>
                        <a:pt x="221" y="459"/>
                        <a:pt x="221" y="459"/>
                      </a:cubicBezTo>
                      <a:cubicBezTo>
                        <a:pt x="226" y="419"/>
                        <a:pt x="247" y="277"/>
                        <a:pt x="267" y="144"/>
                      </a:cubicBezTo>
                      <a:cubicBezTo>
                        <a:pt x="261" y="143"/>
                        <a:pt x="261" y="143"/>
                        <a:pt x="261" y="143"/>
                      </a:cubicBezTo>
                      <a:cubicBezTo>
                        <a:pt x="261" y="143"/>
                        <a:pt x="261" y="144"/>
                        <a:pt x="261" y="145"/>
                      </a:cubicBezTo>
                      <a:cubicBezTo>
                        <a:pt x="260" y="147"/>
                        <a:pt x="258" y="148"/>
                        <a:pt x="257" y="150"/>
                      </a:cubicBezTo>
                      <a:cubicBezTo>
                        <a:pt x="256" y="150"/>
                        <a:pt x="256" y="151"/>
                        <a:pt x="255" y="151"/>
                      </a:cubicBezTo>
                      <a:cubicBezTo>
                        <a:pt x="254" y="152"/>
                        <a:pt x="253" y="153"/>
                        <a:pt x="253" y="154"/>
                      </a:cubicBezTo>
                      <a:cubicBezTo>
                        <a:pt x="253" y="152"/>
                        <a:pt x="253" y="150"/>
                        <a:pt x="253" y="148"/>
                      </a:cubicBezTo>
                      <a:cubicBezTo>
                        <a:pt x="253" y="147"/>
                        <a:pt x="252" y="146"/>
                        <a:pt x="252" y="145"/>
                      </a:cubicBezTo>
                      <a:cubicBezTo>
                        <a:pt x="252" y="144"/>
                        <a:pt x="252" y="144"/>
                        <a:pt x="252" y="144"/>
                      </a:cubicBezTo>
                      <a:cubicBezTo>
                        <a:pt x="251" y="143"/>
                        <a:pt x="251" y="143"/>
                        <a:pt x="251" y="143"/>
                      </a:cubicBezTo>
                      <a:cubicBezTo>
                        <a:pt x="251" y="142"/>
                        <a:pt x="251" y="142"/>
                        <a:pt x="251" y="142"/>
                      </a:cubicBezTo>
                      <a:cubicBezTo>
                        <a:pt x="251" y="141"/>
                        <a:pt x="251" y="141"/>
                        <a:pt x="251" y="140"/>
                      </a:cubicBezTo>
                      <a:cubicBezTo>
                        <a:pt x="251" y="138"/>
                        <a:pt x="250" y="137"/>
                        <a:pt x="250" y="136"/>
                      </a:cubicBezTo>
                      <a:cubicBezTo>
                        <a:pt x="250" y="136"/>
                        <a:pt x="250" y="135"/>
                        <a:pt x="249" y="135"/>
                      </a:cubicBezTo>
                      <a:cubicBezTo>
                        <a:pt x="248" y="132"/>
                        <a:pt x="254" y="127"/>
                        <a:pt x="257" y="125"/>
                      </a:cubicBezTo>
                      <a:cubicBezTo>
                        <a:pt x="258" y="123"/>
                        <a:pt x="258" y="123"/>
                        <a:pt x="258" y="123"/>
                      </a:cubicBezTo>
                      <a:cubicBezTo>
                        <a:pt x="258" y="123"/>
                        <a:pt x="259" y="122"/>
                        <a:pt x="260" y="121"/>
                      </a:cubicBezTo>
                      <a:cubicBezTo>
                        <a:pt x="262" y="119"/>
                        <a:pt x="267" y="114"/>
                        <a:pt x="269" y="114"/>
                      </a:cubicBezTo>
                      <a:cubicBezTo>
                        <a:pt x="272" y="113"/>
                        <a:pt x="272" y="113"/>
                        <a:pt x="272" y="113"/>
                      </a:cubicBezTo>
                      <a:cubicBezTo>
                        <a:pt x="272" y="111"/>
                        <a:pt x="272" y="111"/>
                        <a:pt x="272" y="111"/>
                      </a:cubicBezTo>
                      <a:cubicBezTo>
                        <a:pt x="276" y="86"/>
                        <a:pt x="280" y="62"/>
                        <a:pt x="284" y="39"/>
                      </a:cubicBezTo>
                      <a:cubicBezTo>
                        <a:pt x="284" y="36"/>
                        <a:pt x="284" y="36"/>
                        <a:pt x="284" y="36"/>
                      </a:cubicBezTo>
                      <a:lnTo>
                        <a:pt x="281" y="36"/>
                      </a:lnTo>
                      <a:close/>
                      <a:moveTo>
                        <a:pt x="233" y="166"/>
                      </a:moveTo>
                      <a:cubicBezTo>
                        <a:pt x="233" y="164"/>
                        <a:pt x="235" y="161"/>
                        <a:pt x="237" y="160"/>
                      </a:cubicBezTo>
                      <a:cubicBezTo>
                        <a:pt x="237" y="161"/>
                        <a:pt x="237" y="163"/>
                        <a:pt x="239" y="164"/>
                      </a:cubicBezTo>
                      <a:cubicBezTo>
                        <a:pt x="238" y="164"/>
                        <a:pt x="238" y="165"/>
                        <a:pt x="238" y="165"/>
                      </a:cubicBezTo>
                      <a:cubicBezTo>
                        <a:pt x="236" y="166"/>
                        <a:pt x="235" y="167"/>
                        <a:pt x="233" y="167"/>
                      </a:cubicBezTo>
                      <a:cubicBezTo>
                        <a:pt x="233" y="167"/>
                        <a:pt x="233" y="167"/>
                        <a:pt x="233" y="167"/>
                      </a:cubicBezTo>
                      <a:cubicBezTo>
                        <a:pt x="233" y="167"/>
                        <a:pt x="233" y="167"/>
                        <a:pt x="233" y="16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3" name="Freeform 54">
                  <a:extLst>
                    <a:ext uri="{FF2B5EF4-FFF2-40B4-BE49-F238E27FC236}">
                      <a16:creationId xmlns:a16="http://schemas.microsoft.com/office/drawing/2014/main" id="{26C7961D-C11A-9240-849C-9620DF445B0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152961" y="4988728"/>
                  <a:ext cx="1891713" cy="3292629"/>
                </a:xfrm>
                <a:custGeom>
                  <a:avLst/>
                  <a:gdLst>
                    <a:gd name="T0" fmla="*/ 281 w 347"/>
                    <a:gd name="T1" fmla="*/ 180 h 664"/>
                    <a:gd name="T2" fmla="*/ 48 w 347"/>
                    <a:gd name="T3" fmla="*/ 37 h 664"/>
                    <a:gd name="T4" fmla="*/ 56 w 347"/>
                    <a:gd name="T5" fmla="*/ 60 h 664"/>
                    <a:gd name="T6" fmla="*/ 94 w 347"/>
                    <a:gd name="T7" fmla="*/ 61 h 664"/>
                    <a:gd name="T8" fmla="*/ 90 w 347"/>
                    <a:gd name="T9" fmla="*/ 86 h 664"/>
                    <a:gd name="T10" fmla="*/ 83 w 347"/>
                    <a:gd name="T11" fmla="*/ 161 h 664"/>
                    <a:gd name="T12" fmla="*/ 76 w 347"/>
                    <a:gd name="T13" fmla="*/ 193 h 664"/>
                    <a:gd name="T14" fmla="*/ 79 w 347"/>
                    <a:gd name="T15" fmla="*/ 207 h 664"/>
                    <a:gd name="T16" fmla="*/ 91 w 347"/>
                    <a:gd name="T17" fmla="*/ 235 h 664"/>
                    <a:gd name="T18" fmla="*/ 77 w 347"/>
                    <a:gd name="T19" fmla="*/ 268 h 664"/>
                    <a:gd name="T20" fmla="*/ 63 w 347"/>
                    <a:gd name="T21" fmla="*/ 276 h 664"/>
                    <a:gd name="T22" fmla="*/ 56 w 347"/>
                    <a:gd name="T23" fmla="*/ 282 h 664"/>
                    <a:gd name="T24" fmla="*/ 40 w 347"/>
                    <a:gd name="T25" fmla="*/ 293 h 664"/>
                    <a:gd name="T26" fmla="*/ 31 w 347"/>
                    <a:gd name="T27" fmla="*/ 295 h 664"/>
                    <a:gd name="T28" fmla="*/ 36 w 347"/>
                    <a:gd name="T29" fmla="*/ 311 h 664"/>
                    <a:gd name="T30" fmla="*/ 28 w 347"/>
                    <a:gd name="T31" fmla="*/ 327 h 664"/>
                    <a:gd name="T32" fmla="*/ 40 w 347"/>
                    <a:gd name="T33" fmla="*/ 337 h 664"/>
                    <a:gd name="T34" fmla="*/ 60 w 347"/>
                    <a:gd name="T35" fmla="*/ 330 h 664"/>
                    <a:gd name="T36" fmla="*/ 52 w 347"/>
                    <a:gd name="T37" fmla="*/ 338 h 664"/>
                    <a:gd name="T38" fmla="*/ 31 w 347"/>
                    <a:gd name="T39" fmla="*/ 352 h 664"/>
                    <a:gd name="T40" fmla="*/ 39 w 347"/>
                    <a:gd name="T41" fmla="*/ 365 h 664"/>
                    <a:gd name="T42" fmla="*/ 46 w 347"/>
                    <a:gd name="T43" fmla="*/ 369 h 664"/>
                    <a:gd name="T44" fmla="*/ 45 w 347"/>
                    <a:gd name="T45" fmla="*/ 382 h 664"/>
                    <a:gd name="T46" fmla="*/ 41 w 347"/>
                    <a:gd name="T47" fmla="*/ 390 h 664"/>
                    <a:gd name="T48" fmla="*/ 26 w 347"/>
                    <a:gd name="T49" fmla="*/ 405 h 664"/>
                    <a:gd name="T50" fmla="*/ 34 w 347"/>
                    <a:gd name="T51" fmla="*/ 418 h 664"/>
                    <a:gd name="T52" fmla="*/ 26 w 347"/>
                    <a:gd name="T53" fmla="*/ 433 h 664"/>
                    <a:gd name="T54" fmla="*/ 38 w 347"/>
                    <a:gd name="T55" fmla="*/ 450 h 664"/>
                    <a:gd name="T56" fmla="*/ 33 w 347"/>
                    <a:gd name="T57" fmla="*/ 454 h 664"/>
                    <a:gd name="T58" fmla="*/ 9 w 347"/>
                    <a:gd name="T59" fmla="*/ 427 h 664"/>
                    <a:gd name="T60" fmla="*/ 6 w 347"/>
                    <a:gd name="T61" fmla="*/ 448 h 664"/>
                    <a:gd name="T62" fmla="*/ 8 w 347"/>
                    <a:gd name="T63" fmla="*/ 465 h 664"/>
                    <a:gd name="T64" fmla="*/ 10 w 347"/>
                    <a:gd name="T65" fmla="*/ 479 h 664"/>
                    <a:gd name="T66" fmla="*/ 14 w 347"/>
                    <a:gd name="T67" fmla="*/ 494 h 664"/>
                    <a:gd name="T68" fmla="*/ 26 w 347"/>
                    <a:gd name="T69" fmla="*/ 516 h 664"/>
                    <a:gd name="T70" fmla="*/ 30 w 347"/>
                    <a:gd name="T71" fmla="*/ 536 h 664"/>
                    <a:gd name="T72" fmla="*/ 33 w 347"/>
                    <a:gd name="T73" fmla="*/ 539 h 664"/>
                    <a:gd name="T74" fmla="*/ 46 w 347"/>
                    <a:gd name="T75" fmla="*/ 575 h 664"/>
                    <a:gd name="T76" fmla="*/ 70 w 347"/>
                    <a:gd name="T77" fmla="*/ 560 h 664"/>
                    <a:gd name="T78" fmla="*/ 59 w 347"/>
                    <a:gd name="T79" fmla="*/ 486 h 664"/>
                    <a:gd name="T80" fmla="*/ 64 w 347"/>
                    <a:gd name="T81" fmla="*/ 487 h 664"/>
                    <a:gd name="T82" fmla="*/ 59 w 347"/>
                    <a:gd name="T83" fmla="*/ 502 h 664"/>
                    <a:gd name="T84" fmla="*/ 62 w 347"/>
                    <a:gd name="T85" fmla="*/ 512 h 664"/>
                    <a:gd name="T86" fmla="*/ 70 w 347"/>
                    <a:gd name="T87" fmla="*/ 534 h 664"/>
                    <a:gd name="T88" fmla="*/ 83 w 347"/>
                    <a:gd name="T89" fmla="*/ 545 h 664"/>
                    <a:gd name="T90" fmla="*/ 284 w 347"/>
                    <a:gd name="T91" fmla="*/ 662 h 664"/>
                    <a:gd name="T92" fmla="*/ 295 w 347"/>
                    <a:gd name="T93" fmla="*/ 599 h 664"/>
                    <a:gd name="T94" fmla="*/ 268 w 347"/>
                    <a:gd name="T95" fmla="*/ 530 h 664"/>
                    <a:gd name="T96" fmla="*/ 252 w 347"/>
                    <a:gd name="T97" fmla="*/ 484 h 664"/>
                    <a:gd name="T98" fmla="*/ 254 w 347"/>
                    <a:gd name="T99" fmla="*/ 402 h 664"/>
                    <a:gd name="T100" fmla="*/ 346 w 347"/>
                    <a:gd name="T101" fmla="*/ 220 h 664"/>
                    <a:gd name="T102" fmla="*/ 70 w 347"/>
                    <a:gd name="T103" fmla="*/ 500 h 664"/>
                    <a:gd name="T104" fmla="*/ 47 w 347"/>
                    <a:gd name="T105" fmla="*/ 465 h 664"/>
                    <a:gd name="T106" fmla="*/ 45 w 347"/>
                    <a:gd name="T107" fmla="*/ 465 h 6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47" h="664">
                      <a:moveTo>
                        <a:pt x="345" y="216"/>
                      </a:moveTo>
                      <a:cubicBezTo>
                        <a:pt x="324" y="205"/>
                        <a:pt x="303" y="193"/>
                        <a:pt x="282" y="181"/>
                      </a:cubicBezTo>
                      <a:cubicBezTo>
                        <a:pt x="282" y="181"/>
                        <a:pt x="282" y="181"/>
                        <a:pt x="282" y="181"/>
                      </a:cubicBezTo>
                      <a:cubicBezTo>
                        <a:pt x="282" y="181"/>
                        <a:pt x="282" y="181"/>
                        <a:pt x="282" y="181"/>
                      </a:cubicBezTo>
                      <a:cubicBezTo>
                        <a:pt x="281" y="180"/>
                        <a:pt x="281" y="180"/>
                        <a:pt x="281" y="180"/>
                      </a:cubicBezTo>
                      <a:cubicBezTo>
                        <a:pt x="281" y="180"/>
                        <a:pt x="281" y="180"/>
                        <a:pt x="281" y="180"/>
                      </a:cubicBezTo>
                      <a:cubicBezTo>
                        <a:pt x="160" y="107"/>
                        <a:pt x="75" y="27"/>
                        <a:pt x="52" y="4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7" y="6"/>
                        <a:pt x="47" y="6"/>
                        <a:pt x="47" y="6"/>
                      </a:cubicBezTo>
                      <a:cubicBezTo>
                        <a:pt x="46" y="11"/>
                        <a:pt x="47" y="17"/>
                        <a:pt x="47" y="23"/>
                      </a:cubicBezTo>
                      <a:cubicBezTo>
                        <a:pt x="48" y="26"/>
                        <a:pt x="48" y="30"/>
                        <a:pt x="48" y="32"/>
                      </a:cubicBezTo>
                      <a:cubicBezTo>
                        <a:pt x="48" y="34"/>
                        <a:pt x="48" y="35"/>
                        <a:pt x="48" y="37"/>
                      </a:cubicBezTo>
                      <a:cubicBezTo>
                        <a:pt x="48" y="40"/>
                        <a:pt x="48" y="43"/>
                        <a:pt x="48" y="45"/>
                      </a:cubicBezTo>
                      <a:cubicBezTo>
                        <a:pt x="48" y="46"/>
                        <a:pt x="47" y="47"/>
                        <a:pt x="47" y="48"/>
                      </a:cubicBezTo>
                      <a:cubicBezTo>
                        <a:pt x="46" y="51"/>
                        <a:pt x="43" y="57"/>
                        <a:pt x="48" y="60"/>
                      </a:cubicBezTo>
                      <a:cubicBezTo>
                        <a:pt x="49" y="61"/>
                        <a:pt x="50" y="61"/>
                        <a:pt x="51" y="61"/>
                      </a:cubicBezTo>
                      <a:cubicBezTo>
                        <a:pt x="52" y="61"/>
                        <a:pt x="54" y="61"/>
                        <a:pt x="55" y="61"/>
                      </a:cubicBezTo>
                      <a:cubicBezTo>
                        <a:pt x="55" y="60"/>
                        <a:pt x="56" y="60"/>
                        <a:pt x="56" y="60"/>
                      </a:cubicBezTo>
                      <a:cubicBezTo>
                        <a:pt x="58" y="60"/>
                        <a:pt x="60" y="61"/>
                        <a:pt x="62" y="62"/>
                      </a:cubicBezTo>
                      <a:cubicBezTo>
                        <a:pt x="64" y="62"/>
                        <a:pt x="66" y="63"/>
                        <a:pt x="67" y="63"/>
                      </a:cubicBezTo>
                      <a:cubicBezTo>
                        <a:pt x="70" y="63"/>
                        <a:pt x="72" y="61"/>
                        <a:pt x="75" y="59"/>
                      </a:cubicBezTo>
                      <a:cubicBezTo>
                        <a:pt x="76" y="58"/>
                        <a:pt x="76" y="58"/>
                        <a:pt x="76" y="58"/>
                      </a:cubicBezTo>
                      <a:cubicBezTo>
                        <a:pt x="78" y="57"/>
                        <a:pt x="81" y="56"/>
                        <a:pt x="85" y="56"/>
                      </a:cubicBezTo>
                      <a:cubicBezTo>
                        <a:pt x="87" y="56"/>
                        <a:pt x="93" y="56"/>
                        <a:pt x="94" y="61"/>
                      </a:cubicBezTo>
                      <a:cubicBezTo>
                        <a:pt x="95" y="64"/>
                        <a:pt x="93" y="68"/>
                        <a:pt x="91" y="72"/>
                      </a:cubicBezTo>
                      <a:cubicBezTo>
                        <a:pt x="91" y="72"/>
                        <a:pt x="91" y="73"/>
                        <a:pt x="91" y="73"/>
                      </a:cubicBezTo>
                      <a:cubicBezTo>
                        <a:pt x="90" y="74"/>
                        <a:pt x="89" y="75"/>
                        <a:pt x="89" y="77"/>
                      </a:cubicBezTo>
                      <a:cubicBezTo>
                        <a:pt x="89" y="79"/>
                        <a:pt x="89" y="80"/>
                        <a:pt x="89" y="82"/>
                      </a:cubicBezTo>
                      <a:cubicBezTo>
                        <a:pt x="89" y="82"/>
                        <a:pt x="89" y="83"/>
                        <a:pt x="89" y="83"/>
                      </a:cubicBezTo>
                      <a:cubicBezTo>
                        <a:pt x="90" y="86"/>
                        <a:pt x="90" y="86"/>
                        <a:pt x="90" y="86"/>
                      </a:cubicBezTo>
                      <a:cubicBezTo>
                        <a:pt x="90" y="87"/>
                        <a:pt x="90" y="89"/>
                        <a:pt x="90" y="90"/>
                      </a:cubicBezTo>
                      <a:cubicBezTo>
                        <a:pt x="90" y="92"/>
                        <a:pt x="90" y="94"/>
                        <a:pt x="90" y="97"/>
                      </a:cubicBezTo>
                      <a:cubicBezTo>
                        <a:pt x="89" y="100"/>
                        <a:pt x="89" y="103"/>
                        <a:pt x="89" y="106"/>
                      </a:cubicBezTo>
                      <a:cubicBezTo>
                        <a:pt x="90" y="111"/>
                        <a:pt x="90" y="117"/>
                        <a:pt x="90" y="122"/>
                      </a:cubicBezTo>
                      <a:cubicBezTo>
                        <a:pt x="90" y="131"/>
                        <a:pt x="88" y="142"/>
                        <a:pt x="85" y="152"/>
                      </a:cubicBezTo>
                      <a:cubicBezTo>
                        <a:pt x="84" y="155"/>
                        <a:pt x="83" y="158"/>
                        <a:pt x="83" y="161"/>
                      </a:cubicBezTo>
                      <a:cubicBezTo>
                        <a:pt x="82" y="164"/>
                        <a:pt x="81" y="167"/>
                        <a:pt x="81" y="170"/>
                      </a:cubicBezTo>
                      <a:cubicBezTo>
                        <a:pt x="80" y="171"/>
                        <a:pt x="80" y="172"/>
                        <a:pt x="80" y="173"/>
                      </a:cubicBezTo>
                      <a:cubicBezTo>
                        <a:pt x="80" y="174"/>
                        <a:pt x="79" y="176"/>
                        <a:pt x="79" y="178"/>
                      </a:cubicBezTo>
                      <a:cubicBezTo>
                        <a:pt x="78" y="179"/>
                        <a:pt x="78" y="179"/>
                        <a:pt x="78" y="179"/>
                      </a:cubicBezTo>
                      <a:cubicBezTo>
                        <a:pt x="78" y="180"/>
                        <a:pt x="77" y="182"/>
                        <a:pt x="77" y="184"/>
                      </a:cubicBezTo>
                      <a:cubicBezTo>
                        <a:pt x="76" y="187"/>
                        <a:pt x="76" y="189"/>
                        <a:pt x="76" y="193"/>
                      </a:cubicBezTo>
                      <a:cubicBezTo>
                        <a:pt x="76" y="194"/>
                        <a:pt x="76" y="195"/>
                        <a:pt x="76" y="196"/>
                      </a:cubicBezTo>
                      <a:cubicBezTo>
                        <a:pt x="76" y="196"/>
                        <a:pt x="76" y="197"/>
                        <a:pt x="76" y="197"/>
                      </a:cubicBezTo>
                      <a:cubicBezTo>
                        <a:pt x="76" y="198"/>
                        <a:pt x="76" y="198"/>
                        <a:pt x="76" y="199"/>
                      </a:cubicBezTo>
                      <a:cubicBezTo>
                        <a:pt x="76" y="200"/>
                        <a:pt x="76" y="201"/>
                        <a:pt x="77" y="202"/>
                      </a:cubicBezTo>
                      <a:cubicBezTo>
                        <a:pt x="77" y="204"/>
                        <a:pt x="77" y="205"/>
                        <a:pt x="78" y="205"/>
                      </a:cubicBezTo>
                      <a:cubicBezTo>
                        <a:pt x="78" y="206"/>
                        <a:pt x="78" y="206"/>
                        <a:pt x="79" y="207"/>
                      </a:cubicBezTo>
                      <a:cubicBezTo>
                        <a:pt x="80" y="211"/>
                        <a:pt x="83" y="215"/>
                        <a:pt x="85" y="218"/>
                      </a:cubicBezTo>
                      <a:cubicBezTo>
                        <a:pt x="86" y="219"/>
                        <a:pt x="87" y="221"/>
                        <a:pt x="87" y="222"/>
                      </a:cubicBezTo>
                      <a:cubicBezTo>
                        <a:pt x="87" y="223"/>
                        <a:pt x="87" y="223"/>
                        <a:pt x="87" y="224"/>
                      </a:cubicBezTo>
                      <a:cubicBezTo>
                        <a:pt x="87" y="226"/>
                        <a:pt x="87" y="227"/>
                        <a:pt x="88" y="229"/>
                      </a:cubicBezTo>
                      <a:cubicBezTo>
                        <a:pt x="89" y="230"/>
                        <a:pt x="89" y="230"/>
                        <a:pt x="89" y="231"/>
                      </a:cubicBezTo>
                      <a:cubicBezTo>
                        <a:pt x="90" y="232"/>
                        <a:pt x="91" y="234"/>
                        <a:pt x="91" y="235"/>
                      </a:cubicBezTo>
                      <a:cubicBezTo>
                        <a:pt x="92" y="240"/>
                        <a:pt x="92" y="247"/>
                        <a:pt x="88" y="249"/>
                      </a:cubicBezTo>
                      <a:cubicBezTo>
                        <a:pt x="88" y="250"/>
                        <a:pt x="87" y="250"/>
                        <a:pt x="87" y="250"/>
                      </a:cubicBezTo>
                      <a:cubicBezTo>
                        <a:pt x="84" y="252"/>
                        <a:pt x="81" y="254"/>
                        <a:pt x="81" y="259"/>
                      </a:cubicBezTo>
                      <a:cubicBezTo>
                        <a:pt x="81" y="260"/>
                        <a:pt x="81" y="261"/>
                        <a:pt x="81" y="262"/>
                      </a:cubicBezTo>
                      <a:cubicBezTo>
                        <a:pt x="81" y="263"/>
                        <a:pt x="81" y="265"/>
                        <a:pt x="81" y="266"/>
                      </a:cubicBezTo>
                      <a:cubicBezTo>
                        <a:pt x="80" y="267"/>
                        <a:pt x="79" y="267"/>
                        <a:pt x="77" y="268"/>
                      </a:cubicBezTo>
                      <a:cubicBezTo>
                        <a:pt x="77" y="269"/>
                        <a:pt x="76" y="269"/>
                        <a:pt x="75" y="270"/>
                      </a:cubicBezTo>
                      <a:cubicBezTo>
                        <a:pt x="74" y="271"/>
                        <a:pt x="73" y="271"/>
                        <a:pt x="73" y="272"/>
                      </a:cubicBezTo>
                      <a:cubicBezTo>
                        <a:pt x="72" y="273"/>
                        <a:pt x="72" y="273"/>
                        <a:pt x="72" y="273"/>
                      </a:cubicBezTo>
                      <a:cubicBezTo>
                        <a:pt x="71" y="273"/>
                        <a:pt x="70" y="273"/>
                        <a:pt x="69" y="274"/>
                      </a:cubicBezTo>
                      <a:cubicBezTo>
                        <a:pt x="69" y="274"/>
                        <a:pt x="69" y="274"/>
                        <a:pt x="69" y="274"/>
                      </a:cubicBezTo>
                      <a:cubicBezTo>
                        <a:pt x="66" y="274"/>
                        <a:pt x="64" y="275"/>
                        <a:pt x="63" y="276"/>
                      </a:cubicBezTo>
                      <a:cubicBezTo>
                        <a:pt x="61" y="276"/>
                        <a:pt x="60" y="277"/>
                        <a:pt x="59" y="279"/>
                      </a:cubicBezTo>
                      <a:cubicBezTo>
                        <a:pt x="59" y="280"/>
                        <a:pt x="59" y="280"/>
                        <a:pt x="59" y="281"/>
                      </a:cubicBezTo>
                      <a:cubicBezTo>
                        <a:pt x="59" y="281"/>
                        <a:pt x="58" y="282"/>
                        <a:pt x="58" y="282"/>
                      </a:cubicBezTo>
                      <a:cubicBezTo>
                        <a:pt x="58" y="282"/>
                        <a:pt x="58" y="282"/>
                        <a:pt x="58" y="282"/>
                      </a:cubicBezTo>
                      <a:cubicBezTo>
                        <a:pt x="58" y="282"/>
                        <a:pt x="58" y="282"/>
                        <a:pt x="58" y="282"/>
                      </a:cubicBezTo>
                      <a:cubicBezTo>
                        <a:pt x="57" y="282"/>
                        <a:pt x="57" y="282"/>
                        <a:pt x="56" y="282"/>
                      </a:cubicBezTo>
                      <a:cubicBezTo>
                        <a:pt x="55" y="281"/>
                        <a:pt x="53" y="280"/>
                        <a:pt x="51" y="280"/>
                      </a:cubicBezTo>
                      <a:cubicBezTo>
                        <a:pt x="50" y="280"/>
                        <a:pt x="49" y="280"/>
                        <a:pt x="48" y="281"/>
                      </a:cubicBezTo>
                      <a:cubicBezTo>
                        <a:pt x="43" y="284"/>
                        <a:pt x="44" y="290"/>
                        <a:pt x="45" y="295"/>
                      </a:cubicBezTo>
                      <a:cubicBezTo>
                        <a:pt x="45" y="295"/>
                        <a:pt x="45" y="296"/>
                        <a:pt x="45" y="296"/>
                      </a:cubicBezTo>
                      <a:cubicBezTo>
                        <a:pt x="45" y="296"/>
                        <a:pt x="45" y="295"/>
                        <a:pt x="45" y="295"/>
                      </a:cubicBezTo>
                      <a:cubicBezTo>
                        <a:pt x="43" y="293"/>
                        <a:pt x="41" y="293"/>
                        <a:pt x="40" y="293"/>
                      </a:cubicBezTo>
                      <a:cubicBezTo>
                        <a:pt x="40" y="293"/>
                        <a:pt x="40" y="293"/>
                        <a:pt x="39" y="293"/>
                      </a:cubicBezTo>
                      <a:cubicBezTo>
                        <a:pt x="39" y="293"/>
                        <a:pt x="39" y="293"/>
                        <a:pt x="39" y="292"/>
                      </a:cubicBezTo>
                      <a:cubicBezTo>
                        <a:pt x="38" y="292"/>
                        <a:pt x="37" y="292"/>
                        <a:pt x="35" y="292"/>
                      </a:cubicBezTo>
                      <a:cubicBezTo>
                        <a:pt x="35" y="292"/>
                        <a:pt x="35" y="292"/>
                        <a:pt x="35" y="292"/>
                      </a:cubicBezTo>
                      <a:cubicBezTo>
                        <a:pt x="34" y="292"/>
                        <a:pt x="34" y="292"/>
                        <a:pt x="34" y="292"/>
                      </a:cubicBezTo>
                      <a:cubicBezTo>
                        <a:pt x="33" y="292"/>
                        <a:pt x="31" y="293"/>
                        <a:pt x="31" y="295"/>
                      </a:cubicBezTo>
                      <a:cubicBezTo>
                        <a:pt x="30" y="296"/>
                        <a:pt x="29" y="298"/>
                        <a:pt x="30" y="300"/>
                      </a:cubicBezTo>
                      <a:cubicBezTo>
                        <a:pt x="31" y="302"/>
                        <a:pt x="32" y="303"/>
                        <a:pt x="33" y="303"/>
                      </a:cubicBezTo>
                      <a:cubicBezTo>
                        <a:pt x="34" y="303"/>
                        <a:pt x="34" y="303"/>
                        <a:pt x="34" y="303"/>
                      </a:cubicBezTo>
                      <a:cubicBezTo>
                        <a:pt x="34" y="304"/>
                        <a:pt x="34" y="306"/>
                        <a:pt x="36" y="307"/>
                      </a:cubicBezTo>
                      <a:cubicBezTo>
                        <a:pt x="36" y="307"/>
                        <a:pt x="37" y="307"/>
                        <a:pt x="37" y="307"/>
                      </a:cubicBezTo>
                      <a:cubicBezTo>
                        <a:pt x="37" y="309"/>
                        <a:pt x="37" y="310"/>
                        <a:pt x="36" y="311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5" y="308"/>
                        <a:pt x="32" y="308"/>
                        <a:pt x="31" y="308"/>
                      </a:cubicBezTo>
                      <a:cubicBezTo>
                        <a:pt x="28" y="308"/>
                        <a:pt x="26" y="311"/>
                        <a:pt x="25" y="314"/>
                      </a:cubicBezTo>
                      <a:cubicBezTo>
                        <a:pt x="25" y="317"/>
                        <a:pt x="26" y="319"/>
                        <a:pt x="27" y="322"/>
                      </a:cubicBezTo>
                      <a:cubicBezTo>
                        <a:pt x="27" y="323"/>
                        <a:pt x="28" y="324"/>
                        <a:pt x="28" y="325"/>
                      </a:cubicBezTo>
                      <a:cubicBezTo>
                        <a:pt x="28" y="326"/>
                        <a:pt x="28" y="326"/>
                        <a:pt x="28" y="327"/>
                      </a:cubicBezTo>
                      <a:cubicBezTo>
                        <a:pt x="27" y="330"/>
                        <a:pt x="27" y="334"/>
                        <a:pt x="29" y="336"/>
                      </a:cubicBezTo>
                      <a:cubicBezTo>
                        <a:pt x="30" y="337"/>
                        <a:pt x="31" y="337"/>
                        <a:pt x="33" y="337"/>
                      </a:cubicBezTo>
                      <a:cubicBezTo>
                        <a:pt x="33" y="337"/>
                        <a:pt x="33" y="337"/>
                        <a:pt x="33" y="337"/>
                      </a:cubicBezTo>
                      <a:cubicBezTo>
                        <a:pt x="33" y="337"/>
                        <a:pt x="33" y="337"/>
                        <a:pt x="34" y="337"/>
                      </a:cubicBezTo>
                      <a:cubicBezTo>
                        <a:pt x="35" y="337"/>
                        <a:pt x="36" y="336"/>
                        <a:pt x="37" y="336"/>
                      </a:cubicBezTo>
                      <a:cubicBezTo>
                        <a:pt x="38" y="337"/>
                        <a:pt x="39" y="337"/>
                        <a:pt x="40" y="337"/>
                      </a:cubicBezTo>
                      <a:cubicBezTo>
                        <a:pt x="40" y="337"/>
                        <a:pt x="40" y="337"/>
                        <a:pt x="40" y="337"/>
                      </a:cubicBezTo>
                      <a:cubicBezTo>
                        <a:pt x="42" y="337"/>
                        <a:pt x="44" y="335"/>
                        <a:pt x="45" y="333"/>
                      </a:cubicBezTo>
                      <a:cubicBezTo>
                        <a:pt x="45" y="334"/>
                        <a:pt x="45" y="334"/>
                        <a:pt x="46" y="334"/>
                      </a:cubicBezTo>
                      <a:cubicBezTo>
                        <a:pt x="47" y="335"/>
                        <a:pt x="48" y="335"/>
                        <a:pt x="49" y="335"/>
                      </a:cubicBezTo>
                      <a:cubicBezTo>
                        <a:pt x="53" y="335"/>
                        <a:pt x="55" y="333"/>
                        <a:pt x="57" y="331"/>
                      </a:cubicBezTo>
                      <a:cubicBezTo>
                        <a:pt x="58" y="331"/>
                        <a:pt x="59" y="330"/>
                        <a:pt x="60" y="330"/>
                      </a:cubicBezTo>
                      <a:cubicBezTo>
                        <a:pt x="62" y="328"/>
                        <a:pt x="65" y="327"/>
                        <a:pt x="67" y="327"/>
                      </a:cubicBezTo>
                      <a:cubicBezTo>
                        <a:pt x="67" y="328"/>
                        <a:pt x="65" y="329"/>
                        <a:pt x="63" y="331"/>
                      </a:cubicBezTo>
                      <a:cubicBezTo>
                        <a:pt x="62" y="331"/>
                        <a:pt x="62" y="331"/>
                        <a:pt x="62" y="331"/>
                      </a:cubicBezTo>
                      <a:cubicBezTo>
                        <a:pt x="61" y="332"/>
                        <a:pt x="60" y="332"/>
                        <a:pt x="59" y="332"/>
                      </a:cubicBezTo>
                      <a:cubicBezTo>
                        <a:pt x="57" y="333"/>
                        <a:pt x="55" y="334"/>
                        <a:pt x="54" y="336"/>
                      </a:cubicBezTo>
                      <a:cubicBezTo>
                        <a:pt x="53" y="336"/>
                        <a:pt x="53" y="337"/>
                        <a:pt x="52" y="338"/>
                      </a:cubicBezTo>
                      <a:cubicBezTo>
                        <a:pt x="52" y="338"/>
                        <a:pt x="51" y="338"/>
                        <a:pt x="51" y="338"/>
                      </a:cubicBezTo>
                      <a:cubicBezTo>
                        <a:pt x="48" y="338"/>
                        <a:pt x="46" y="339"/>
                        <a:pt x="44" y="342"/>
                      </a:cubicBezTo>
                      <a:cubicBezTo>
                        <a:pt x="44" y="342"/>
                        <a:pt x="43" y="343"/>
                        <a:pt x="41" y="343"/>
                      </a:cubicBezTo>
                      <a:cubicBezTo>
                        <a:pt x="39" y="344"/>
                        <a:pt x="36" y="346"/>
                        <a:pt x="35" y="350"/>
                      </a:cubicBezTo>
                      <a:cubicBezTo>
                        <a:pt x="35" y="350"/>
                        <a:pt x="35" y="350"/>
                        <a:pt x="35" y="350"/>
                      </a:cubicBezTo>
                      <a:cubicBezTo>
                        <a:pt x="33" y="350"/>
                        <a:pt x="32" y="351"/>
                        <a:pt x="31" y="352"/>
                      </a:cubicBezTo>
                      <a:cubicBezTo>
                        <a:pt x="29" y="354"/>
                        <a:pt x="28" y="357"/>
                        <a:pt x="28" y="359"/>
                      </a:cubicBezTo>
                      <a:cubicBezTo>
                        <a:pt x="28" y="361"/>
                        <a:pt x="28" y="361"/>
                        <a:pt x="28" y="361"/>
                      </a:cubicBezTo>
                      <a:cubicBezTo>
                        <a:pt x="28" y="363"/>
                        <a:pt x="28" y="367"/>
                        <a:pt x="30" y="369"/>
                      </a:cubicBezTo>
                      <a:cubicBezTo>
                        <a:pt x="31" y="369"/>
                        <a:pt x="32" y="370"/>
                        <a:pt x="33" y="370"/>
                      </a:cubicBezTo>
                      <a:cubicBezTo>
                        <a:pt x="33" y="370"/>
                        <a:pt x="33" y="370"/>
                        <a:pt x="33" y="370"/>
                      </a:cubicBezTo>
                      <a:cubicBezTo>
                        <a:pt x="36" y="370"/>
                        <a:pt x="38" y="367"/>
                        <a:pt x="39" y="365"/>
                      </a:cubicBezTo>
                      <a:cubicBezTo>
                        <a:pt x="39" y="365"/>
                        <a:pt x="39" y="365"/>
                        <a:pt x="40" y="365"/>
                      </a:cubicBezTo>
                      <a:cubicBezTo>
                        <a:pt x="40" y="365"/>
                        <a:pt x="41" y="365"/>
                        <a:pt x="42" y="365"/>
                      </a:cubicBezTo>
                      <a:cubicBezTo>
                        <a:pt x="42" y="365"/>
                        <a:pt x="42" y="365"/>
                        <a:pt x="43" y="365"/>
                      </a:cubicBezTo>
                      <a:cubicBezTo>
                        <a:pt x="43" y="365"/>
                        <a:pt x="43" y="365"/>
                        <a:pt x="43" y="365"/>
                      </a:cubicBezTo>
                      <a:cubicBezTo>
                        <a:pt x="43" y="368"/>
                        <a:pt x="44" y="369"/>
                        <a:pt x="46" y="369"/>
                      </a:cubicBezTo>
                      <a:cubicBezTo>
                        <a:pt x="46" y="369"/>
                        <a:pt x="46" y="369"/>
                        <a:pt x="46" y="369"/>
                      </a:cubicBezTo>
                      <a:cubicBezTo>
                        <a:pt x="46" y="369"/>
                        <a:pt x="45" y="370"/>
                        <a:pt x="45" y="370"/>
                      </a:cubicBezTo>
                      <a:cubicBezTo>
                        <a:pt x="45" y="371"/>
                        <a:pt x="44" y="372"/>
                        <a:pt x="44" y="373"/>
                      </a:cubicBezTo>
                      <a:cubicBezTo>
                        <a:pt x="44" y="373"/>
                        <a:pt x="44" y="373"/>
                        <a:pt x="44" y="374"/>
                      </a:cubicBezTo>
                      <a:cubicBezTo>
                        <a:pt x="44" y="374"/>
                        <a:pt x="44" y="374"/>
                        <a:pt x="44" y="374"/>
                      </a:cubicBezTo>
                      <a:cubicBezTo>
                        <a:pt x="44" y="375"/>
                        <a:pt x="43" y="376"/>
                        <a:pt x="43" y="377"/>
                      </a:cubicBezTo>
                      <a:cubicBezTo>
                        <a:pt x="43" y="379"/>
                        <a:pt x="44" y="381"/>
                        <a:pt x="45" y="382"/>
                      </a:cubicBezTo>
                      <a:cubicBezTo>
                        <a:pt x="45" y="382"/>
                        <a:pt x="45" y="382"/>
                        <a:pt x="46" y="383"/>
                      </a:cubicBezTo>
                      <a:cubicBezTo>
                        <a:pt x="46" y="385"/>
                        <a:pt x="48" y="388"/>
                        <a:pt x="47" y="389"/>
                      </a:cubicBezTo>
                      <a:cubicBezTo>
                        <a:pt x="47" y="390"/>
                        <a:pt x="47" y="391"/>
                        <a:pt x="46" y="391"/>
                      </a:cubicBezTo>
                      <a:cubicBezTo>
                        <a:pt x="46" y="390"/>
                        <a:pt x="46" y="390"/>
                        <a:pt x="46" y="390"/>
                      </a:cubicBezTo>
                      <a:cubicBezTo>
                        <a:pt x="43" y="390"/>
                        <a:pt x="43" y="390"/>
                        <a:pt x="43" y="390"/>
                      </a:cubicBezTo>
                      <a:cubicBezTo>
                        <a:pt x="42" y="390"/>
                        <a:pt x="42" y="390"/>
                        <a:pt x="41" y="390"/>
                      </a:cubicBezTo>
                      <a:cubicBezTo>
                        <a:pt x="41" y="390"/>
                        <a:pt x="40" y="390"/>
                        <a:pt x="39" y="390"/>
                      </a:cubicBezTo>
                      <a:cubicBezTo>
                        <a:pt x="38" y="390"/>
                        <a:pt x="37" y="390"/>
                        <a:pt x="37" y="390"/>
                      </a:cubicBezTo>
                      <a:cubicBezTo>
                        <a:pt x="35" y="391"/>
                        <a:pt x="33" y="393"/>
                        <a:pt x="32" y="395"/>
                      </a:cubicBezTo>
                      <a:cubicBezTo>
                        <a:pt x="30" y="397"/>
                        <a:pt x="30" y="399"/>
                        <a:pt x="30" y="400"/>
                      </a:cubicBezTo>
                      <a:cubicBezTo>
                        <a:pt x="30" y="400"/>
                        <a:pt x="31" y="401"/>
                        <a:pt x="31" y="402"/>
                      </a:cubicBezTo>
                      <a:cubicBezTo>
                        <a:pt x="30" y="402"/>
                        <a:pt x="28" y="403"/>
                        <a:pt x="26" y="405"/>
                      </a:cubicBezTo>
                      <a:cubicBezTo>
                        <a:pt x="25" y="407"/>
                        <a:pt x="25" y="408"/>
                        <a:pt x="25" y="409"/>
                      </a:cubicBezTo>
                      <a:cubicBezTo>
                        <a:pt x="25" y="410"/>
                        <a:pt x="25" y="410"/>
                        <a:pt x="25" y="410"/>
                      </a:cubicBezTo>
                      <a:cubicBezTo>
                        <a:pt x="25" y="412"/>
                        <a:pt x="25" y="414"/>
                        <a:pt x="26" y="417"/>
                      </a:cubicBezTo>
                      <a:cubicBezTo>
                        <a:pt x="27" y="418"/>
                        <a:pt x="29" y="419"/>
                        <a:pt x="31" y="419"/>
                      </a:cubicBezTo>
                      <a:cubicBezTo>
                        <a:pt x="31" y="419"/>
                        <a:pt x="32" y="419"/>
                        <a:pt x="32" y="418"/>
                      </a:cubicBezTo>
                      <a:cubicBezTo>
                        <a:pt x="33" y="418"/>
                        <a:pt x="33" y="418"/>
                        <a:pt x="34" y="418"/>
                      </a:cubicBezTo>
                      <a:cubicBezTo>
                        <a:pt x="34" y="419"/>
                        <a:pt x="33" y="419"/>
                        <a:pt x="31" y="420"/>
                      </a:cubicBezTo>
                      <a:cubicBezTo>
                        <a:pt x="30" y="420"/>
                        <a:pt x="30" y="420"/>
                        <a:pt x="30" y="420"/>
                      </a:cubicBezTo>
                      <a:cubicBezTo>
                        <a:pt x="29" y="421"/>
                        <a:pt x="27" y="421"/>
                        <a:pt x="26" y="423"/>
                      </a:cubicBezTo>
                      <a:cubicBezTo>
                        <a:pt x="23" y="426"/>
                        <a:pt x="25" y="429"/>
                        <a:pt x="26" y="431"/>
                      </a:cubicBezTo>
                      <a:cubicBezTo>
                        <a:pt x="26" y="431"/>
                        <a:pt x="27" y="432"/>
                        <a:pt x="27" y="432"/>
                      </a:cubicBezTo>
                      <a:cubicBezTo>
                        <a:pt x="27" y="432"/>
                        <a:pt x="27" y="432"/>
                        <a:pt x="26" y="433"/>
                      </a:cubicBezTo>
                      <a:cubicBezTo>
                        <a:pt x="26" y="433"/>
                        <a:pt x="25" y="435"/>
                        <a:pt x="25" y="437"/>
                      </a:cubicBezTo>
                      <a:cubicBezTo>
                        <a:pt x="26" y="439"/>
                        <a:pt x="27" y="440"/>
                        <a:pt x="27" y="442"/>
                      </a:cubicBezTo>
                      <a:cubicBezTo>
                        <a:pt x="28" y="443"/>
                        <a:pt x="28" y="443"/>
                        <a:pt x="28" y="443"/>
                      </a:cubicBezTo>
                      <a:cubicBezTo>
                        <a:pt x="29" y="445"/>
                        <a:pt x="32" y="446"/>
                        <a:pt x="34" y="447"/>
                      </a:cubicBezTo>
                      <a:cubicBezTo>
                        <a:pt x="35" y="447"/>
                        <a:pt x="35" y="447"/>
                        <a:pt x="35" y="447"/>
                      </a:cubicBezTo>
                      <a:cubicBezTo>
                        <a:pt x="36" y="448"/>
                        <a:pt x="37" y="449"/>
                        <a:pt x="38" y="450"/>
                      </a:cubicBezTo>
                      <a:cubicBezTo>
                        <a:pt x="39" y="451"/>
                        <a:pt x="40" y="452"/>
                        <a:pt x="42" y="453"/>
                      </a:cubicBezTo>
                      <a:cubicBezTo>
                        <a:pt x="43" y="453"/>
                        <a:pt x="44" y="453"/>
                        <a:pt x="45" y="454"/>
                      </a:cubicBezTo>
                      <a:cubicBezTo>
                        <a:pt x="43" y="454"/>
                        <a:pt x="40" y="455"/>
                        <a:pt x="39" y="459"/>
                      </a:cubicBezTo>
                      <a:cubicBezTo>
                        <a:pt x="39" y="460"/>
                        <a:pt x="39" y="460"/>
                        <a:pt x="39" y="460"/>
                      </a:cubicBezTo>
                      <a:cubicBezTo>
                        <a:pt x="39" y="460"/>
                        <a:pt x="39" y="460"/>
                        <a:pt x="39" y="460"/>
                      </a:cubicBezTo>
                      <a:cubicBezTo>
                        <a:pt x="37" y="458"/>
                        <a:pt x="35" y="456"/>
                        <a:pt x="33" y="454"/>
                      </a:cubicBezTo>
                      <a:cubicBezTo>
                        <a:pt x="32" y="452"/>
                        <a:pt x="31" y="450"/>
                        <a:pt x="30" y="448"/>
                      </a:cubicBezTo>
                      <a:cubicBezTo>
                        <a:pt x="30" y="446"/>
                        <a:pt x="29" y="444"/>
                        <a:pt x="27" y="442"/>
                      </a:cubicBezTo>
                      <a:cubicBezTo>
                        <a:pt x="27" y="441"/>
                        <a:pt x="27" y="441"/>
                        <a:pt x="26" y="440"/>
                      </a:cubicBezTo>
                      <a:cubicBezTo>
                        <a:pt x="25" y="437"/>
                        <a:pt x="22" y="434"/>
                        <a:pt x="19" y="432"/>
                      </a:cubicBezTo>
                      <a:cubicBezTo>
                        <a:pt x="19" y="432"/>
                        <a:pt x="18" y="431"/>
                        <a:pt x="18" y="431"/>
                      </a:cubicBezTo>
                      <a:cubicBezTo>
                        <a:pt x="15" y="429"/>
                        <a:pt x="13" y="427"/>
                        <a:pt x="9" y="427"/>
                      </a:cubicBezTo>
                      <a:cubicBezTo>
                        <a:pt x="8" y="427"/>
                        <a:pt x="8" y="427"/>
                        <a:pt x="7" y="427"/>
                      </a:cubicBezTo>
                      <a:cubicBezTo>
                        <a:pt x="6" y="428"/>
                        <a:pt x="4" y="429"/>
                        <a:pt x="2" y="431"/>
                      </a:cubicBezTo>
                      <a:cubicBezTo>
                        <a:pt x="0" y="436"/>
                        <a:pt x="1" y="442"/>
                        <a:pt x="2" y="445"/>
                      </a:cubicBezTo>
                      <a:cubicBezTo>
                        <a:pt x="3" y="446"/>
                        <a:pt x="4" y="447"/>
                        <a:pt x="5" y="448"/>
                      </a:cubicBezTo>
                      <a:cubicBezTo>
                        <a:pt x="5" y="448"/>
                        <a:pt x="6" y="448"/>
                        <a:pt x="6" y="448"/>
                      </a:cubicBezTo>
                      <a:cubicBezTo>
                        <a:pt x="6" y="448"/>
                        <a:pt x="6" y="448"/>
                        <a:pt x="6" y="448"/>
                      </a:cubicBezTo>
                      <a:cubicBezTo>
                        <a:pt x="6" y="448"/>
                        <a:pt x="5" y="450"/>
                        <a:pt x="4" y="450"/>
                      </a:cubicBezTo>
                      <a:cubicBezTo>
                        <a:pt x="4" y="452"/>
                        <a:pt x="3" y="453"/>
                        <a:pt x="2" y="454"/>
                      </a:cubicBezTo>
                      <a:cubicBezTo>
                        <a:pt x="2" y="454"/>
                        <a:pt x="2" y="454"/>
                        <a:pt x="2" y="454"/>
                      </a:cubicBezTo>
                      <a:cubicBezTo>
                        <a:pt x="2" y="457"/>
                        <a:pt x="0" y="460"/>
                        <a:pt x="3" y="463"/>
                      </a:cubicBezTo>
                      <a:cubicBezTo>
                        <a:pt x="3" y="464"/>
                        <a:pt x="5" y="465"/>
                        <a:pt x="7" y="465"/>
                      </a:cubicBezTo>
                      <a:cubicBezTo>
                        <a:pt x="7" y="465"/>
                        <a:pt x="8" y="465"/>
                        <a:pt x="8" y="465"/>
                      </a:cubicBezTo>
                      <a:cubicBezTo>
                        <a:pt x="8" y="465"/>
                        <a:pt x="8" y="465"/>
                        <a:pt x="8" y="465"/>
                      </a:cubicBezTo>
                      <a:cubicBezTo>
                        <a:pt x="8" y="465"/>
                        <a:pt x="8" y="465"/>
                        <a:pt x="9" y="466"/>
                      </a:cubicBezTo>
                      <a:cubicBezTo>
                        <a:pt x="9" y="467"/>
                        <a:pt x="10" y="467"/>
                        <a:pt x="10" y="468"/>
                      </a:cubicBezTo>
                      <a:cubicBezTo>
                        <a:pt x="10" y="469"/>
                        <a:pt x="11" y="469"/>
                        <a:pt x="11" y="470"/>
                      </a:cubicBezTo>
                      <a:cubicBezTo>
                        <a:pt x="11" y="471"/>
                        <a:pt x="11" y="471"/>
                        <a:pt x="10" y="472"/>
                      </a:cubicBezTo>
                      <a:cubicBezTo>
                        <a:pt x="8" y="474"/>
                        <a:pt x="8" y="477"/>
                        <a:pt x="10" y="479"/>
                      </a:cubicBezTo>
                      <a:cubicBezTo>
                        <a:pt x="10" y="480"/>
                        <a:pt x="11" y="480"/>
                        <a:pt x="12" y="481"/>
                      </a:cubicBezTo>
                      <a:cubicBezTo>
                        <a:pt x="12" y="481"/>
                        <a:pt x="12" y="482"/>
                        <a:pt x="12" y="482"/>
                      </a:cubicBezTo>
                      <a:cubicBezTo>
                        <a:pt x="12" y="482"/>
                        <a:pt x="12" y="482"/>
                        <a:pt x="12" y="482"/>
                      </a:cubicBezTo>
                      <a:cubicBezTo>
                        <a:pt x="12" y="482"/>
                        <a:pt x="12" y="483"/>
                        <a:pt x="11" y="483"/>
                      </a:cubicBezTo>
                      <a:cubicBezTo>
                        <a:pt x="10" y="485"/>
                        <a:pt x="8" y="488"/>
                        <a:pt x="10" y="491"/>
                      </a:cubicBezTo>
                      <a:cubicBezTo>
                        <a:pt x="11" y="492"/>
                        <a:pt x="12" y="493"/>
                        <a:pt x="14" y="494"/>
                      </a:cubicBezTo>
                      <a:cubicBezTo>
                        <a:pt x="12" y="496"/>
                        <a:pt x="12" y="500"/>
                        <a:pt x="13" y="501"/>
                      </a:cubicBezTo>
                      <a:cubicBezTo>
                        <a:pt x="14" y="505"/>
                        <a:pt x="17" y="507"/>
                        <a:pt x="20" y="509"/>
                      </a:cubicBezTo>
                      <a:cubicBezTo>
                        <a:pt x="21" y="510"/>
                        <a:pt x="21" y="510"/>
                        <a:pt x="21" y="510"/>
                      </a:cubicBezTo>
                      <a:cubicBezTo>
                        <a:pt x="22" y="511"/>
                        <a:pt x="23" y="511"/>
                        <a:pt x="24" y="513"/>
                      </a:cubicBezTo>
                      <a:cubicBezTo>
                        <a:pt x="24" y="513"/>
                        <a:pt x="25" y="514"/>
                        <a:pt x="25" y="515"/>
                      </a:cubicBezTo>
                      <a:cubicBezTo>
                        <a:pt x="26" y="515"/>
                        <a:pt x="26" y="516"/>
                        <a:pt x="26" y="516"/>
                      </a:cubicBezTo>
                      <a:cubicBezTo>
                        <a:pt x="27" y="516"/>
                        <a:pt x="26" y="517"/>
                        <a:pt x="26" y="518"/>
                      </a:cubicBezTo>
                      <a:cubicBezTo>
                        <a:pt x="25" y="519"/>
                        <a:pt x="25" y="519"/>
                        <a:pt x="24" y="520"/>
                      </a:cubicBezTo>
                      <a:cubicBezTo>
                        <a:pt x="24" y="521"/>
                        <a:pt x="24" y="521"/>
                        <a:pt x="24" y="522"/>
                      </a:cubicBezTo>
                      <a:cubicBezTo>
                        <a:pt x="23" y="523"/>
                        <a:pt x="22" y="525"/>
                        <a:pt x="22" y="527"/>
                      </a:cubicBezTo>
                      <a:cubicBezTo>
                        <a:pt x="22" y="530"/>
                        <a:pt x="25" y="533"/>
                        <a:pt x="27" y="535"/>
                      </a:cubicBezTo>
                      <a:cubicBezTo>
                        <a:pt x="28" y="535"/>
                        <a:pt x="29" y="535"/>
                        <a:pt x="30" y="536"/>
                      </a:cubicBezTo>
                      <a:cubicBezTo>
                        <a:pt x="31" y="536"/>
                        <a:pt x="31" y="536"/>
                        <a:pt x="31" y="536"/>
                      </a:cubicBezTo>
                      <a:cubicBezTo>
                        <a:pt x="31" y="536"/>
                        <a:pt x="32" y="536"/>
                        <a:pt x="32" y="536"/>
                      </a:cubicBezTo>
                      <a:cubicBezTo>
                        <a:pt x="33" y="537"/>
                        <a:pt x="33" y="537"/>
                        <a:pt x="34" y="537"/>
                      </a:cubicBezTo>
                      <a:cubicBezTo>
                        <a:pt x="35" y="537"/>
                        <a:pt x="36" y="538"/>
                        <a:pt x="36" y="538"/>
                      </a:cubicBezTo>
                      <a:cubicBezTo>
                        <a:pt x="37" y="538"/>
                        <a:pt x="37" y="538"/>
                        <a:pt x="37" y="538"/>
                      </a:cubicBezTo>
                      <a:cubicBezTo>
                        <a:pt x="36" y="538"/>
                        <a:pt x="35" y="538"/>
                        <a:pt x="33" y="539"/>
                      </a:cubicBezTo>
                      <a:cubicBezTo>
                        <a:pt x="33" y="539"/>
                        <a:pt x="33" y="539"/>
                        <a:pt x="33" y="539"/>
                      </a:cubicBezTo>
                      <a:cubicBezTo>
                        <a:pt x="31" y="540"/>
                        <a:pt x="28" y="541"/>
                        <a:pt x="29" y="546"/>
                      </a:cubicBezTo>
                      <a:cubicBezTo>
                        <a:pt x="29" y="547"/>
                        <a:pt x="30" y="548"/>
                        <a:pt x="31" y="549"/>
                      </a:cubicBezTo>
                      <a:cubicBezTo>
                        <a:pt x="31" y="550"/>
                        <a:pt x="32" y="550"/>
                        <a:pt x="33" y="550"/>
                      </a:cubicBezTo>
                      <a:cubicBezTo>
                        <a:pt x="34" y="559"/>
                        <a:pt x="39" y="566"/>
                        <a:pt x="44" y="572"/>
                      </a:cubicBezTo>
                      <a:cubicBezTo>
                        <a:pt x="46" y="575"/>
                        <a:pt x="46" y="575"/>
                        <a:pt x="46" y="575"/>
                      </a:cubicBezTo>
                      <a:cubicBezTo>
                        <a:pt x="49" y="579"/>
                        <a:pt x="54" y="583"/>
                        <a:pt x="61" y="583"/>
                      </a:cubicBezTo>
                      <a:cubicBezTo>
                        <a:pt x="61" y="583"/>
                        <a:pt x="62" y="583"/>
                        <a:pt x="62" y="583"/>
                      </a:cubicBezTo>
                      <a:cubicBezTo>
                        <a:pt x="65" y="583"/>
                        <a:pt x="67" y="582"/>
                        <a:pt x="69" y="580"/>
                      </a:cubicBezTo>
                      <a:cubicBezTo>
                        <a:pt x="72" y="575"/>
                        <a:pt x="71" y="570"/>
                        <a:pt x="71" y="565"/>
                      </a:cubicBezTo>
                      <a:cubicBezTo>
                        <a:pt x="71" y="564"/>
                        <a:pt x="71" y="564"/>
                        <a:pt x="71" y="564"/>
                      </a:cubicBezTo>
                      <a:cubicBezTo>
                        <a:pt x="70" y="560"/>
                        <a:pt x="70" y="560"/>
                        <a:pt x="70" y="560"/>
                      </a:cubicBezTo>
                      <a:cubicBezTo>
                        <a:pt x="69" y="551"/>
                        <a:pt x="68" y="542"/>
                        <a:pt x="63" y="533"/>
                      </a:cubicBezTo>
                      <a:cubicBezTo>
                        <a:pt x="58" y="523"/>
                        <a:pt x="58" y="517"/>
                        <a:pt x="58" y="506"/>
                      </a:cubicBezTo>
                      <a:cubicBezTo>
                        <a:pt x="58" y="504"/>
                        <a:pt x="58" y="502"/>
                        <a:pt x="58" y="501"/>
                      </a:cubicBezTo>
                      <a:cubicBezTo>
                        <a:pt x="58" y="498"/>
                        <a:pt x="58" y="496"/>
                        <a:pt x="58" y="495"/>
                      </a:cubicBezTo>
                      <a:cubicBezTo>
                        <a:pt x="59" y="493"/>
                        <a:pt x="59" y="493"/>
                        <a:pt x="59" y="493"/>
                      </a:cubicBezTo>
                      <a:cubicBezTo>
                        <a:pt x="59" y="491"/>
                        <a:pt x="59" y="489"/>
                        <a:pt x="59" y="486"/>
                      </a:cubicBezTo>
                      <a:cubicBezTo>
                        <a:pt x="59" y="484"/>
                        <a:pt x="57" y="482"/>
                        <a:pt x="56" y="481"/>
                      </a:cubicBezTo>
                      <a:cubicBezTo>
                        <a:pt x="56" y="481"/>
                        <a:pt x="56" y="481"/>
                        <a:pt x="56" y="480"/>
                      </a:cubicBezTo>
                      <a:cubicBezTo>
                        <a:pt x="57" y="481"/>
                        <a:pt x="58" y="481"/>
                        <a:pt x="59" y="481"/>
                      </a:cubicBezTo>
                      <a:cubicBezTo>
                        <a:pt x="59" y="481"/>
                        <a:pt x="60" y="481"/>
                        <a:pt x="60" y="481"/>
                      </a:cubicBezTo>
                      <a:cubicBezTo>
                        <a:pt x="61" y="481"/>
                        <a:pt x="61" y="481"/>
                        <a:pt x="62" y="481"/>
                      </a:cubicBezTo>
                      <a:cubicBezTo>
                        <a:pt x="62" y="483"/>
                        <a:pt x="63" y="485"/>
                        <a:pt x="64" y="487"/>
                      </a:cubicBezTo>
                      <a:cubicBezTo>
                        <a:pt x="64" y="487"/>
                        <a:pt x="64" y="487"/>
                        <a:pt x="64" y="487"/>
                      </a:cubicBezTo>
                      <a:cubicBezTo>
                        <a:pt x="62" y="487"/>
                        <a:pt x="61" y="488"/>
                        <a:pt x="60" y="489"/>
                      </a:cubicBezTo>
                      <a:cubicBezTo>
                        <a:pt x="58" y="491"/>
                        <a:pt x="59" y="493"/>
                        <a:pt x="60" y="494"/>
                      </a:cubicBezTo>
                      <a:cubicBezTo>
                        <a:pt x="60" y="495"/>
                        <a:pt x="60" y="495"/>
                        <a:pt x="60" y="495"/>
                      </a:cubicBezTo>
                      <a:cubicBezTo>
                        <a:pt x="60" y="496"/>
                        <a:pt x="60" y="496"/>
                        <a:pt x="60" y="497"/>
                      </a:cubicBezTo>
                      <a:cubicBezTo>
                        <a:pt x="59" y="498"/>
                        <a:pt x="58" y="500"/>
                        <a:pt x="59" y="502"/>
                      </a:cubicBezTo>
                      <a:cubicBezTo>
                        <a:pt x="59" y="504"/>
                        <a:pt x="60" y="504"/>
                        <a:pt x="62" y="505"/>
                      </a:cubicBezTo>
                      <a:cubicBezTo>
                        <a:pt x="62" y="505"/>
                        <a:pt x="62" y="505"/>
                        <a:pt x="63" y="505"/>
                      </a:cubicBezTo>
                      <a:cubicBezTo>
                        <a:pt x="63" y="505"/>
                        <a:pt x="63" y="505"/>
                        <a:pt x="63" y="505"/>
                      </a:cubicBezTo>
                      <a:cubicBezTo>
                        <a:pt x="62" y="507"/>
                        <a:pt x="62" y="509"/>
                        <a:pt x="62" y="510"/>
                      </a:cubicBezTo>
                      <a:cubicBezTo>
                        <a:pt x="62" y="511"/>
                        <a:pt x="62" y="511"/>
                        <a:pt x="62" y="512"/>
                      </a:cubicBezTo>
                      <a:cubicBezTo>
                        <a:pt x="62" y="512"/>
                        <a:pt x="62" y="512"/>
                        <a:pt x="62" y="512"/>
                      </a:cubicBezTo>
                      <a:cubicBezTo>
                        <a:pt x="62" y="515"/>
                        <a:pt x="62" y="516"/>
                        <a:pt x="64" y="519"/>
                      </a:cubicBezTo>
                      <a:cubicBezTo>
                        <a:pt x="64" y="519"/>
                        <a:pt x="64" y="519"/>
                        <a:pt x="64" y="520"/>
                      </a:cubicBezTo>
                      <a:cubicBezTo>
                        <a:pt x="65" y="521"/>
                        <a:pt x="65" y="522"/>
                        <a:pt x="66" y="522"/>
                      </a:cubicBezTo>
                      <a:cubicBezTo>
                        <a:pt x="68" y="524"/>
                        <a:pt x="70" y="524"/>
                        <a:pt x="71" y="524"/>
                      </a:cubicBezTo>
                      <a:cubicBezTo>
                        <a:pt x="71" y="524"/>
                        <a:pt x="71" y="524"/>
                        <a:pt x="72" y="524"/>
                      </a:cubicBezTo>
                      <a:cubicBezTo>
                        <a:pt x="70" y="526"/>
                        <a:pt x="69" y="530"/>
                        <a:pt x="70" y="534"/>
                      </a:cubicBezTo>
                      <a:cubicBezTo>
                        <a:pt x="71" y="536"/>
                        <a:pt x="72" y="537"/>
                        <a:pt x="73" y="538"/>
                      </a:cubicBezTo>
                      <a:cubicBezTo>
                        <a:pt x="74" y="539"/>
                        <a:pt x="74" y="539"/>
                        <a:pt x="74" y="539"/>
                      </a:cubicBezTo>
                      <a:cubicBezTo>
                        <a:pt x="74" y="539"/>
                        <a:pt x="74" y="540"/>
                        <a:pt x="75" y="540"/>
                      </a:cubicBezTo>
                      <a:cubicBezTo>
                        <a:pt x="75" y="541"/>
                        <a:pt x="76" y="542"/>
                        <a:pt x="77" y="543"/>
                      </a:cubicBezTo>
                      <a:cubicBezTo>
                        <a:pt x="77" y="543"/>
                        <a:pt x="80" y="545"/>
                        <a:pt x="82" y="545"/>
                      </a:cubicBezTo>
                      <a:cubicBezTo>
                        <a:pt x="83" y="545"/>
                        <a:pt x="83" y="545"/>
                        <a:pt x="83" y="545"/>
                      </a:cubicBezTo>
                      <a:cubicBezTo>
                        <a:pt x="83" y="545"/>
                        <a:pt x="83" y="546"/>
                        <a:pt x="83" y="546"/>
                      </a:cubicBezTo>
                      <a:cubicBezTo>
                        <a:pt x="82" y="549"/>
                        <a:pt x="82" y="551"/>
                        <a:pt x="82" y="553"/>
                      </a:cubicBezTo>
                      <a:cubicBezTo>
                        <a:pt x="82" y="556"/>
                        <a:pt x="82" y="556"/>
                        <a:pt x="82" y="556"/>
                      </a:cubicBezTo>
                      <a:cubicBezTo>
                        <a:pt x="83" y="559"/>
                        <a:pt x="83" y="559"/>
                        <a:pt x="83" y="559"/>
                      </a:cubicBezTo>
                      <a:cubicBezTo>
                        <a:pt x="84" y="559"/>
                        <a:pt x="84" y="559"/>
                        <a:pt x="84" y="559"/>
                      </a:cubicBezTo>
                      <a:cubicBezTo>
                        <a:pt x="85" y="561"/>
                        <a:pt x="125" y="602"/>
                        <a:pt x="284" y="662"/>
                      </a:cubicBezTo>
                      <a:cubicBezTo>
                        <a:pt x="290" y="664"/>
                        <a:pt x="290" y="664"/>
                        <a:pt x="290" y="664"/>
                      </a:cubicBezTo>
                      <a:cubicBezTo>
                        <a:pt x="288" y="658"/>
                        <a:pt x="288" y="658"/>
                        <a:pt x="288" y="658"/>
                      </a:cubicBezTo>
                      <a:cubicBezTo>
                        <a:pt x="288" y="657"/>
                        <a:pt x="287" y="656"/>
                        <a:pt x="287" y="655"/>
                      </a:cubicBezTo>
                      <a:cubicBezTo>
                        <a:pt x="285" y="645"/>
                        <a:pt x="287" y="638"/>
                        <a:pt x="290" y="629"/>
                      </a:cubicBezTo>
                      <a:cubicBezTo>
                        <a:pt x="291" y="627"/>
                        <a:pt x="292" y="625"/>
                        <a:pt x="292" y="623"/>
                      </a:cubicBezTo>
                      <a:cubicBezTo>
                        <a:pt x="294" y="616"/>
                        <a:pt x="298" y="606"/>
                        <a:pt x="295" y="599"/>
                      </a:cubicBezTo>
                      <a:cubicBezTo>
                        <a:pt x="293" y="595"/>
                        <a:pt x="292" y="593"/>
                        <a:pt x="290" y="590"/>
                      </a:cubicBezTo>
                      <a:cubicBezTo>
                        <a:pt x="287" y="586"/>
                        <a:pt x="285" y="582"/>
                        <a:pt x="284" y="576"/>
                      </a:cubicBezTo>
                      <a:cubicBezTo>
                        <a:pt x="284" y="574"/>
                        <a:pt x="283" y="573"/>
                        <a:pt x="283" y="571"/>
                      </a:cubicBezTo>
                      <a:cubicBezTo>
                        <a:pt x="282" y="564"/>
                        <a:pt x="280" y="556"/>
                        <a:pt x="277" y="551"/>
                      </a:cubicBezTo>
                      <a:cubicBezTo>
                        <a:pt x="275" y="547"/>
                        <a:pt x="273" y="545"/>
                        <a:pt x="272" y="543"/>
                      </a:cubicBezTo>
                      <a:cubicBezTo>
                        <a:pt x="269" y="540"/>
                        <a:pt x="267" y="538"/>
                        <a:pt x="268" y="530"/>
                      </a:cubicBezTo>
                      <a:cubicBezTo>
                        <a:pt x="268" y="528"/>
                        <a:pt x="268" y="528"/>
                        <a:pt x="268" y="528"/>
                      </a:cubicBezTo>
                      <a:cubicBezTo>
                        <a:pt x="268" y="520"/>
                        <a:pt x="269" y="509"/>
                        <a:pt x="262" y="505"/>
                      </a:cubicBezTo>
                      <a:cubicBezTo>
                        <a:pt x="260" y="504"/>
                        <a:pt x="259" y="503"/>
                        <a:pt x="258" y="503"/>
                      </a:cubicBezTo>
                      <a:cubicBezTo>
                        <a:pt x="255" y="503"/>
                        <a:pt x="254" y="503"/>
                        <a:pt x="253" y="498"/>
                      </a:cubicBezTo>
                      <a:cubicBezTo>
                        <a:pt x="253" y="495"/>
                        <a:pt x="253" y="493"/>
                        <a:pt x="253" y="490"/>
                      </a:cubicBezTo>
                      <a:cubicBezTo>
                        <a:pt x="253" y="488"/>
                        <a:pt x="253" y="486"/>
                        <a:pt x="252" y="484"/>
                      </a:cubicBezTo>
                      <a:cubicBezTo>
                        <a:pt x="252" y="481"/>
                        <a:pt x="252" y="481"/>
                        <a:pt x="252" y="481"/>
                      </a:cubicBezTo>
                      <a:cubicBezTo>
                        <a:pt x="251" y="473"/>
                        <a:pt x="250" y="464"/>
                        <a:pt x="244" y="460"/>
                      </a:cubicBezTo>
                      <a:cubicBezTo>
                        <a:pt x="242" y="458"/>
                        <a:pt x="241" y="458"/>
                        <a:pt x="240" y="457"/>
                      </a:cubicBezTo>
                      <a:cubicBezTo>
                        <a:pt x="238" y="456"/>
                        <a:pt x="236" y="456"/>
                        <a:pt x="235" y="453"/>
                      </a:cubicBezTo>
                      <a:cubicBezTo>
                        <a:pt x="230" y="444"/>
                        <a:pt x="240" y="425"/>
                        <a:pt x="250" y="408"/>
                      </a:cubicBezTo>
                      <a:cubicBezTo>
                        <a:pt x="252" y="406"/>
                        <a:pt x="253" y="404"/>
                        <a:pt x="254" y="402"/>
                      </a:cubicBezTo>
                      <a:cubicBezTo>
                        <a:pt x="267" y="378"/>
                        <a:pt x="280" y="353"/>
                        <a:pt x="291" y="329"/>
                      </a:cubicBezTo>
                      <a:cubicBezTo>
                        <a:pt x="292" y="328"/>
                        <a:pt x="292" y="328"/>
                        <a:pt x="292" y="328"/>
                      </a:cubicBezTo>
                      <a:cubicBezTo>
                        <a:pt x="299" y="313"/>
                        <a:pt x="306" y="300"/>
                        <a:pt x="312" y="287"/>
                      </a:cubicBezTo>
                      <a:cubicBezTo>
                        <a:pt x="318" y="277"/>
                        <a:pt x="322" y="267"/>
                        <a:pt x="327" y="257"/>
                      </a:cubicBezTo>
                      <a:cubicBezTo>
                        <a:pt x="328" y="255"/>
                        <a:pt x="328" y="255"/>
                        <a:pt x="328" y="255"/>
                      </a:cubicBezTo>
                      <a:cubicBezTo>
                        <a:pt x="334" y="244"/>
                        <a:pt x="340" y="232"/>
                        <a:pt x="346" y="220"/>
                      </a:cubicBezTo>
                      <a:cubicBezTo>
                        <a:pt x="347" y="218"/>
                        <a:pt x="347" y="218"/>
                        <a:pt x="347" y="218"/>
                      </a:cubicBezTo>
                      <a:lnTo>
                        <a:pt x="345" y="216"/>
                      </a:lnTo>
                      <a:close/>
                      <a:moveTo>
                        <a:pt x="69" y="498"/>
                      </a:moveTo>
                      <a:cubicBezTo>
                        <a:pt x="69" y="497"/>
                        <a:pt x="69" y="496"/>
                        <a:pt x="70" y="495"/>
                      </a:cubicBezTo>
                      <a:cubicBezTo>
                        <a:pt x="71" y="496"/>
                        <a:pt x="71" y="496"/>
                        <a:pt x="71" y="497"/>
                      </a:cubicBezTo>
                      <a:cubicBezTo>
                        <a:pt x="71" y="499"/>
                        <a:pt x="71" y="499"/>
                        <a:pt x="70" y="500"/>
                      </a:cubicBezTo>
                      <a:cubicBezTo>
                        <a:pt x="70" y="500"/>
                        <a:pt x="69" y="500"/>
                        <a:pt x="68" y="501"/>
                      </a:cubicBezTo>
                      <a:cubicBezTo>
                        <a:pt x="68" y="501"/>
                        <a:pt x="68" y="501"/>
                        <a:pt x="68" y="501"/>
                      </a:cubicBezTo>
                      <a:cubicBezTo>
                        <a:pt x="69" y="500"/>
                        <a:pt x="69" y="499"/>
                        <a:pt x="69" y="498"/>
                      </a:cubicBezTo>
                      <a:close/>
                      <a:moveTo>
                        <a:pt x="45" y="465"/>
                      </a:moveTo>
                      <a:cubicBezTo>
                        <a:pt x="46" y="465"/>
                        <a:pt x="46" y="465"/>
                        <a:pt x="47" y="465"/>
                      </a:cubicBezTo>
                      <a:cubicBezTo>
                        <a:pt x="47" y="465"/>
                        <a:pt x="47" y="465"/>
                        <a:pt x="47" y="465"/>
                      </a:cubicBezTo>
                      <a:cubicBezTo>
                        <a:pt x="48" y="465"/>
                        <a:pt x="48" y="465"/>
                        <a:pt x="48" y="465"/>
                      </a:cubicBezTo>
                      <a:cubicBezTo>
                        <a:pt x="48" y="465"/>
                        <a:pt x="49" y="465"/>
                        <a:pt x="49" y="465"/>
                      </a:cubicBezTo>
                      <a:cubicBezTo>
                        <a:pt x="49" y="466"/>
                        <a:pt x="48" y="467"/>
                        <a:pt x="48" y="469"/>
                      </a:cubicBezTo>
                      <a:cubicBezTo>
                        <a:pt x="48" y="469"/>
                        <a:pt x="48" y="469"/>
                        <a:pt x="48" y="469"/>
                      </a:cubicBezTo>
                      <a:cubicBezTo>
                        <a:pt x="46" y="468"/>
                        <a:pt x="45" y="467"/>
                        <a:pt x="44" y="465"/>
                      </a:cubicBezTo>
                      <a:cubicBezTo>
                        <a:pt x="44" y="465"/>
                        <a:pt x="44" y="465"/>
                        <a:pt x="45" y="465"/>
                      </a:cubicBezTo>
                      <a:cubicBezTo>
                        <a:pt x="45" y="465"/>
                        <a:pt x="45" y="465"/>
                        <a:pt x="45" y="46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4" name="Freeform 55">
                  <a:extLst>
                    <a:ext uri="{FF2B5EF4-FFF2-40B4-BE49-F238E27FC236}">
                      <a16:creationId xmlns:a16="http://schemas.microsoft.com/office/drawing/2014/main" id="{A8E87CF1-71AF-8E49-AE74-195BE44E67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17546" y="6263595"/>
                  <a:ext cx="246210" cy="466642"/>
                </a:xfrm>
                <a:custGeom>
                  <a:avLst/>
                  <a:gdLst>
                    <a:gd name="T0" fmla="*/ 33 w 45"/>
                    <a:gd name="T1" fmla="*/ 35 h 94"/>
                    <a:gd name="T2" fmla="*/ 36 w 45"/>
                    <a:gd name="T3" fmla="*/ 31 h 94"/>
                    <a:gd name="T4" fmla="*/ 43 w 45"/>
                    <a:gd name="T5" fmla="*/ 19 h 94"/>
                    <a:gd name="T6" fmla="*/ 33 w 45"/>
                    <a:gd name="T7" fmla="*/ 11 h 94"/>
                    <a:gd name="T8" fmla="*/ 21 w 45"/>
                    <a:gd name="T9" fmla="*/ 0 h 94"/>
                    <a:gd name="T10" fmla="*/ 14 w 45"/>
                    <a:gd name="T11" fmla="*/ 5 h 94"/>
                    <a:gd name="T12" fmla="*/ 12 w 45"/>
                    <a:gd name="T13" fmla="*/ 7 h 94"/>
                    <a:gd name="T14" fmla="*/ 7 w 45"/>
                    <a:gd name="T15" fmla="*/ 20 h 94"/>
                    <a:gd name="T16" fmla="*/ 6 w 45"/>
                    <a:gd name="T17" fmla="*/ 27 h 94"/>
                    <a:gd name="T18" fmla="*/ 6 w 45"/>
                    <a:gd name="T19" fmla="*/ 40 h 94"/>
                    <a:gd name="T20" fmla="*/ 3 w 45"/>
                    <a:gd name="T21" fmla="*/ 40 h 94"/>
                    <a:gd name="T22" fmla="*/ 2 w 45"/>
                    <a:gd name="T23" fmla="*/ 43 h 94"/>
                    <a:gd name="T24" fmla="*/ 2 w 45"/>
                    <a:gd name="T25" fmla="*/ 46 h 94"/>
                    <a:gd name="T26" fmla="*/ 1 w 45"/>
                    <a:gd name="T27" fmla="*/ 51 h 94"/>
                    <a:gd name="T28" fmla="*/ 3 w 45"/>
                    <a:gd name="T29" fmla="*/ 57 h 94"/>
                    <a:gd name="T30" fmla="*/ 3 w 45"/>
                    <a:gd name="T31" fmla="*/ 59 h 94"/>
                    <a:gd name="T32" fmla="*/ 3 w 45"/>
                    <a:gd name="T33" fmla="*/ 75 h 94"/>
                    <a:gd name="T34" fmla="*/ 3 w 45"/>
                    <a:gd name="T35" fmla="*/ 76 h 94"/>
                    <a:gd name="T36" fmla="*/ 2 w 45"/>
                    <a:gd name="T37" fmla="*/ 84 h 94"/>
                    <a:gd name="T38" fmla="*/ 2 w 45"/>
                    <a:gd name="T39" fmla="*/ 86 h 94"/>
                    <a:gd name="T40" fmla="*/ 10 w 45"/>
                    <a:gd name="T41" fmla="*/ 94 h 94"/>
                    <a:gd name="T42" fmla="*/ 14 w 45"/>
                    <a:gd name="T43" fmla="*/ 92 h 94"/>
                    <a:gd name="T44" fmla="*/ 13 w 45"/>
                    <a:gd name="T45" fmla="*/ 82 h 94"/>
                    <a:gd name="T46" fmla="*/ 13 w 45"/>
                    <a:gd name="T47" fmla="*/ 82 h 94"/>
                    <a:gd name="T48" fmla="*/ 12 w 45"/>
                    <a:gd name="T49" fmla="*/ 69 h 94"/>
                    <a:gd name="T50" fmla="*/ 14 w 45"/>
                    <a:gd name="T51" fmla="*/ 64 h 94"/>
                    <a:gd name="T52" fmla="*/ 18 w 45"/>
                    <a:gd name="T53" fmla="*/ 61 h 94"/>
                    <a:gd name="T54" fmla="*/ 21 w 45"/>
                    <a:gd name="T55" fmla="*/ 58 h 94"/>
                    <a:gd name="T56" fmla="*/ 24 w 45"/>
                    <a:gd name="T57" fmla="*/ 52 h 94"/>
                    <a:gd name="T58" fmla="*/ 23 w 45"/>
                    <a:gd name="T59" fmla="*/ 44 h 94"/>
                    <a:gd name="T60" fmla="*/ 26 w 45"/>
                    <a:gd name="T61" fmla="*/ 41 h 94"/>
                    <a:gd name="T62" fmla="*/ 28 w 45"/>
                    <a:gd name="T63" fmla="*/ 39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5" h="94">
                      <a:moveTo>
                        <a:pt x="28" y="39"/>
                      </a:moveTo>
                      <a:cubicBezTo>
                        <a:pt x="31" y="39"/>
                        <a:pt x="32" y="36"/>
                        <a:pt x="33" y="35"/>
                      </a:cubicBezTo>
                      <a:cubicBezTo>
                        <a:pt x="33" y="35"/>
                        <a:pt x="34" y="34"/>
                        <a:pt x="34" y="34"/>
                      </a:cubicBezTo>
                      <a:cubicBezTo>
                        <a:pt x="35" y="33"/>
                        <a:pt x="36" y="33"/>
                        <a:pt x="36" y="31"/>
                      </a:cubicBezTo>
                      <a:cubicBezTo>
                        <a:pt x="39" y="31"/>
                        <a:pt x="44" y="29"/>
                        <a:pt x="45" y="26"/>
                      </a:cubicBezTo>
                      <a:cubicBezTo>
                        <a:pt x="45" y="23"/>
                        <a:pt x="45" y="21"/>
                        <a:pt x="43" y="19"/>
                      </a:cubicBezTo>
                      <a:cubicBezTo>
                        <a:pt x="42" y="18"/>
                        <a:pt x="40" y="17"/>
                        <a:pt x="38" y="16"/>
                      </a:cubicBezTo>
                      <a:cubicBezTo>
                        <a:pt x="37" y="14"/>
                        <a:pt x="36" y="12"/>
                        <a:pt x="33" y="11"/>
                      </a:cubicBezTo>
                      <a:cubicBezTo>
                        <a:pt x="31" y="10"/>
                        <a:pt x="31" y="10"/>
                        <a:pt x="31" y="9"/>
                      </a:cubicBezTo>
                      <a:cubicBezTo>
                        <a:pt x="30" y="5"/>
                        <a:pt x="26" y="0"/>
                        <a:pt x="21" y="0"/>
                      </a:cubicBezTo>
                      <a:cubicBezTo>
                        <a:pt x="20" y="0"/>
                        <a:pt x="19" y="1"/>
                        <a:pt x="18" y="1"/>
                      </a:cubicBezTo>
                      <a:cubicBezTo>
                        <a:pt x="16" y="2"/>
                        <a:pt x="15" y="4"/>
                        <a:pt x="14" y="5"/>
                      </a:cubicBezTo>
                      <a:cubicBezTo>
                        <a:pt x="13" y="5"/>
                        <a:pt x="13" y="6"/>
                        <a:pt x="12" y="6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1" y="8"/>
                        <a:pt x="9" y="10"/>
                        <a:pt x="8" y="12"/>
                      </a:cubicBezTo>
                      <a:cubicBezTo>
                        <a:pt x="7" y="15"/>
                        <a:pt x="7" y="18"/>
                        <a:pt x="7" y="20"/>
                      </a:cubicBezTo>
                      <a:cubicBezTo>
                        <a:pt x="7" y="23"/>
                        <a:pt x="7" y="25"/>
                        <a:pt x="7" y="27"/>
                      </a:cubicBezTo>
                      <a:cubicBezTo>
                        <a:pt x="6" y="27"/>
                        <a:pt x="6" y="27"/>
                        <a:pt x="6" y="27"/>
                      </a:cubicBezTo>
                      <a:cubicBezTo>
                        <a:pt x="6" y="30"/>
                        <a:pt x="5" y="32"/>
                        <a:pt x="5" y="35"/>
                      </a:cubicBezTo>
                      <a:cubicBezTo>
                        <a:pt x="6" y="37"/>
                        <a:pt x="6" y="39"/>
                        <a:pt x="6" y="40"/>
                      </a:cubicBezTo>
                      <a:cubicBezTo>
                        <a:pt x="6" y="40"/>
                        <a:pt x="5" y="40"/>
                        <a:pt x="5" y="40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2" y="42"/>
                        <a:pt x="2" y="42"/>
                        <a:pt x="2" y="42"/>
                      </a:cubicBezTo>
                      <a:cubicBezTo>
                        <a:pt x="2" y="42"/>
                        <a:pt x="2" y="43"/>
                        <a:pt x="2" y="43"/>
                      </a:cubicBezTo>
                      <a:cubicBezTo>
                        <a:pt x="2" y="43"/>
                        <a:pt x="2" y="45"/>
                        <a:pt x="2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1" y="51"/>
                        <a:pt x="1" y="51"/>
                        <a:pt x="1" y="51"/>
                      </a:cubicBezTo>
                      <a:cubicBezTo>
                        <a:pt x="1" y="52"/>
                        <a:pt x="1" y="53"/>
                        <a:pt x="1" y="54"/>
                      </a:cubicBezTo>
                      <a:cubicBezTo>
                        <a:pt x="2" y="56"/>
                        <a:pt x="3" y="57"/>
                        <a:pt x="3" y="57"/>
                      </a:cubicBezTo>
                      <a:cubicBezTo>
                        <a:pt x="3" y="58"/>
                        <a:pt x="3" y="58"/>
                        <a:pt x="3" y="58"/>
                      </a:cubicBezTo>
                      <a:cubicBezTo>
                        <a:pt x="3" y="59"/>
                        <a:pt x="3" y="59"/>
                        <a:pt x="3" y="59"/>
                      </a:cubicBezTo>
                      <a:cubicBezTo>
                        <a:pt x="2" y="59"/>
                        <a:pt x="2" y="60"/>
                        <a:pt x="2" y="61"/>
                      </a:cubicBezTo>
                      <a:cubicBezTo>
                        <a:pt x="0" y="65"/>
                        <a:pt x="1" y="72"/>
                        <a:pt x="3" y="75"/>
                      </a:cubicBezTo>
                      <a:cubicBezTo>
                        <a:pt x="3" y="76"/>
                        <a:pt x="3" y="76"/>
                        <a:pt x="3" y="76"/>
                      </a:cubicBezTo>
                      <a:cubicBezTo>
                        <a:pt x="3" y="76"/>
                        <a:pt x="3" y="76"/>
                        <a:pt x="3" y="76"/>
                      </a:cubicBezTo>
                      <a:cubicBezTo>
                        <a:pt x="2" y="78"/>
                        <a:pt x="2" y="78"/>
                        <a:pt x="2" y="78"/>
                      </a:cubicBezTo>
                      <a:cubicBezTo>
                        <a:pt x="1" y="81"/>
                        <a:pt x="1" y="83"/>
                        <a:pt x="2" y="84"/>
                      </a:cubicBezTo>
                      <a:cubicBezTo>
                        <a:pt x="2" y="85"/>
                        <a:pt x="2" y="85"/>
                        <a:pt x="2" y="85"/>
                      </a:cubicBezTo>
                      <a:cubicBezTo>
                        <a:pt x="2" y="86"/>
                        <a:pt x="2" y="86"/>
                        <a:pt x="2" y="86"/>
                      </a:cubicBezTo>
                      <a:cubicBezTo>
                        <a:pt x="3" y="88"/>
                        <a:pt x="3" y="90"/>
                        <a:pt x="6" y="91"/>
                      </a:cubicBezTo>
                      <a:cubicBezTo>
                        <a:pt x="7" y="94"/>
                        <a:pt x="8" y="94"/>
                        <a:pt x="10" y="94"/>
                      </a:cubicBezTo>
                      <a:cubicBezTo>
                        <a:pt x="10" y="94"/>
                        <a:pt x="10" y="94"/>
                        <a:pt x="10" y="94"/>
                      </a:cubicBezTo>
                      <a:cubicBezTo>
                        <a:pt x="12" y="94"/>
                        <a:pt x="13" y="93"/>
                        <a:pt x="14" y="92"/>
                      </a:cubicBezTo>
                      <a:cubicBezTo>
                        <a:pt x="16" y="89"/>
                        <a:pt x="14" y="85"/>
                        <a:pt x="13" y="83"/>
                      </a:cubicBezTo>
                      <a:cubicBezTo>
                        <a:pt x="13" y="83"/>
                        <a:pt x="13" y="83"/>
                        <a:pt x="13" y="82"/>
                      </a:cubicBezTo>
                      <a:cubicBezTo>
                        <a:pt x="12" y="82"/>
                        <a:pt x="12" y="82"/>
                        <a:pt x="12" y="82"/>
                      </a:cubicBezTo>
                      <a:cubicBezTo>
                        <a:pt x="12" y="82"/>
                        <a:pt x="13" y="82"/>
                        <a:pt x="13" y="82"/>
                      </a:cubicBezTo>
                      <a:cubicBezTo>
                        <a:pt x="15" y="78"/>
                        <a:pt x="13" y="75"/>
                        <a:pt x="13" y="72"/>
                      </a:cubicBezTo>
                      <a:cubicBezTo>
                        <a:pt x="12" y="71"/>
                        <a:pt x="12" y="70"/>
                        <a:pt x="12" y="69"/>
                      </a:cubicBezTo>
                      <a:cubicBezTo>
                        <a:pt x="12" y="68"/>
                        <a:pt x="12" y="68"/>
                        <a:pt x="13" y="67"/>
                      </a:cubicBezTo>
                      <a:cubicBezTo>
                        <a:pt x="13" y="66"/>
                        <a:pt x="14" y="65"/>
                        <a:pt x="14" y="64"/>
                      </a:cubicBezTo>
                      <a:cubicBezTo>
                        <a:pt x="15" y="63"/>
                        <a:pt x="16" y="63"/>
                        <a:pt x="17" y="62"/>
                      </a:cubicBezTo>
                      <a:cubicBezTo>
                        <a:pt x="17" y="62"/>
                        <a:pt x="18" y="61"/>
                        <a:pt x="18" y="61"/>
                      </a:cubicBezTo>
                      <a:cubicBezTo>
                        <a:pt x="18" y="61"/>
                        <a:pt x="18" y="61"/>
                        <a:pt x="19" y="60"/>
                      </a:cubicBezTo>
                      <a:cubicBezTo>
                        <a:pt x="20" y="60"/>
                        <a:pt x="21" y="59"/>
                        <a:pt x="21" y="58"/>
                      </a:cubicBezTo>
                      <a:cubicBezTo>
                        <a:pt x="23" y="57"/>
                        <a:pt x="22" y="55"/>
                        <a:pt x="22" y="54"/>
                      </a:cubicBezTo>
                      <a:cubicBezTo>
                        <a:pt x="23" y="54"/>
                        <a:pt x="23" y="53"/>
                        <a:pt x="24" y="52"/>
                      </a:cubicBezTo>
                      <a:cubicBezTo>
                        <a:pt x="24" y="51"/>
                        <a:pt x="24" y="49"/>
                        <a:pt x="24" y="48"/>
                      </a:cubicBezTo>
                      <a:cubicBezTo>
                        <a:pt x="24" y="46"/>
                        <a:pt x="24" y="45"/>
                        <a:pt x="23" y="44"/>
                      </a:cubicBezTo>
                      <a:cubicBezTo>
                        <a:pt x="24" y="44"/>
                        <a:pt x="25" y="43"/>
                        <a:pt x="25" y="42"/>
                      </a:cubicBezTo>
                      <a:cubicBezTo>
                        <a:pt x="26" y="42"/>
                        <a:pt x="26" y="42"/>
                        <a:pt x="26" y="41"/>
                      </a:cubicBezTo>
                      <a:cubicBezTo>
                        <a:pt x="26" y="41"/>
                        <a:pt x="26" y="41"/>
                        <a:pt x="26" y="41"/>
                      </a:cubicBezTo>
                      <a:cubicBezTo>
                        <a:pt x="27" y="41"/>
                        <a:pt x="27" y="40"/>
                        <a:pt x="28" y="3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5" name="Freeform 56">
                  <a:extLst>
                    <a:ext uri="{FF2B5EF4-FFF2-40B4-BE49-F238E27FC236}">
                      <a16:creationId xmlns:a16="http://schemas.microsoft.com/office/drawing/2014/main" id="{E50E6807-F726-8645-A627-024D0692BD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89127" y="8454948"/>
                  <a:ext cx="816596" cy="640233"/>
                </a:xfrm>
                <a:custGeom>
                  <a:avLst/>
                  <a:gdLst>
                    <a:gd name="T0" fmla="*/ 147 w 150"/>
                    <a:gd name="T1" fmla="*/ 54 h 129"/>
                    <a:gd name="T2" fmla="*/ 142 w 150"/>
                    <a:gd name="T3" fmla="*/ 53 h 129"/>
                    <a:gd name="T4" fmla="*/ 140 w 150"/>
                    <a:gd name="T5" fmla="*/ 53 h 129"/>
                    <a:gd name="T6" fmla="*/ 135 w 150"/>
                    <a:gd name="T7" fmla="*/ 53 h 129"/>
                    <a:gd name="T8" fmla="*/ 130 w 150"/>
                    <a:gd name="T9" fmla="*/ 50 h 129"/>
                    <a:gd name="T10" fmla="*/ 127 w 150"/>
                    <a:gd name="T11" fmla="*/ 48 h 129"/>
                    <a:gd name="T12" fmla="*/ 123 w 150"/>
                    <a:gd name="T13" fmla="*/ 42 h 129"/>
                    <a:gd name="T14" fmla="*/ 116 w 150"/>
                    <a:gd name="T15" fmla="*/ 37 h 129"/>
                    <a:gd name="T16" fmla="*/ 116 w 150"/>
                    <a:gd name="T17" fmla="*/ 31 h 129"/>
                    <a:gd name="T18" fmla="*/ 102 w 150"/>
                    <a:gd name="T19" fmla="*/ 30 h 129"/>
                    <a:gd name="T20" fmla="*/ 103 w 150"/>
                    <a:gd name="T21" fmla="*/ 29 h 129"/>
                    <a:gd name="T22" fmla="*/ 96 w 150"/>
                    <a:gd name="T23" fmla="*/ 0 h 129"/>
                    <a:gd name="T24" fmla="*/ 83 w 150"/>
                    <a:gd name="T25" fmla="*/ 10 h 129"/>
                    <a:gd name="T26" fmla="*/ 82 w 150"/>
                    <a:gd name="T27" fmla="*/ 10 h 129"/>
                    <a:gd name="T28" fmla="*/ 73 w 150"/>
                    <a:gd name="T29" fmla="*/ 5 h 129"/>
                    <a:gd name="T30" fmla="*/ 69 w 150"/>
                    <a:gd name="T31" fmla="*/ 6 h 129"/>
                    <a:gd name="T32" fmla="*/ 68 w 150"/>
                    <a:gd name="T33" fmla="*/ 6 h 129"/>
                    <a:gd name="T34" fmla="*/ 49 w 150"/>
                    <a:gd name="T35" fmla="*/ 17 h 129"/>
                    <a:gd name="T36" fmla="*/ 43 w 150"/>
                    <a:gd name="T37" fmla="*/ 21 h 129"/>
                    <a:gd name="T38" fmla="*/ 38 w 150"/>
                    <a:gd name="T39" fmla="*/ 22 h 129"/>
                    <a:gd name="T40" fmla="*/ 33 w 150"/>
                    <a:gd name="T41" fmla="*/ 21 h 129"/>
                    <a:gd name="T42" fmla="*/ 13 w 150"/>
                    <a:gd name="T43" fmla="*/ 31 h 129"/>
                    <a:gd name="T44" fmla="*/ 13 w 150"/>
                    <a:gd name="T45" fmla="*/ 39 h 129"/>
                    <a:gd name="T46" fmla="*/ 8 w 150"/>
                    <a:gd name="T47" fmla="*/ 56 h 129"/>
                    <a:gd name="T48" fmla="*/ 0 w 150"/>
                    <a:gd name="T49" fmla="*/ 64 h 129"/>
                    <a:gd name="T50" fmla="*/ 15 w 150"/>
                    <a:gd name="T51" fmla="*/ 60 h 129"/>
                    <a:gd name="T52" fmla="*/ 21 w 150"/>
                    <a:gd name="T53" fmla="*/ 58 h 129"/>
                    <a:gd name="T54" fmla="*/ 43 w 150"/>
                    <a:gd name="T55" fmla="*/ 81 h 129"/>
                    <a:gd name="T56" fmla="*/ 48 w 150"/>
                    <a:gd name="T57" fmla="*/ 91 h 129"/>
                    <a:gd name="T58" fmla="*/ 49 w 150"/>
                    <a:gd name="T59" fmla="*/ 99 h 129"/>
                    <a:gd name="T60" fmla="*/ 60 w 150"/>
                    <a:gd name="T61" fmla="*/ 111 h 129"/>
                    <a:gd name="T62" fmla="*/ 64 w 150"/>
                    <a:gd name="T63" fmla="*/ 111 h 129"/>
                    <a:gd name="T64" fmla="*/ 65 w 150"/>
                    <a:gd name="T65" fmla="*/ 113 h 129"/>
                    <a:gd name="T66" fmla="*/ 74 w 150"/>
                    <a:gd name="T67" fmla="*/ 129 h 129"/>
                    <a:gd name="T68" fmla="*/ 83 w 150"/>
                    <a:gd name="T69" fmla="*/ 126 h 129"/>
                    <a:gd name="T70" fmla="*/ 88 w 150"/>
                    <a:gd name="T71" fmla="*/ 124 h 129"/>
                    <a:gd name="T72" fmla="*/ 92 w 150"/>
                    <a:gd name="T73" fmla="*/ 124 h 129"/>
                    <a:gd name="T74" fmla="*/ 97 w 150"/>
                    <a:gd name="T75" fmla="*/ 122 h 129"/>
                    <a:gd name="T76" fmla="*/ 101 w 150"/>
                    <a:gd name="T77" fmla="*/ 119 h 129"/>
                    <a:gd name="T78" fmla="*/ 124 w 150"/>
                    <a:gd name="T79" fmla="*/ 98 h 129"/>
                    <a:gd name="T80" fmla="*/ 129 w 150"/>
                    <a:gd name="T81" fmla="*/ 93 h 129"/>
                    <a:gd name="T82" fmla="*/ 133 w 150"/>
                    <a:gd name="T83" fmla="*/ 92 h 129"/>
                    <a:gd name="T84" fmla="*/ 144 w 150"/>
                    <a:gd name="T85" fmla="*/ 96 h 129"/>
                    <a:gd name="T86" fmla="*/ 144 w 150"/>
                    <a:gd name="T87" fmla="*/ 78 h 129"/>
                    <a:gd name="T88" fmla="*/ 150 w 150"/>
                    <a:gd name="T89" fmla="*/ 59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50" h="129">
                      <a:moveTo>
                        <a:pt x="150" y="57"/>
                      </a:moveTo>
                      <a:cubicBezTo>
                        <a:pt x="149" y="56"/>
                        <a:pt x="149" y="54"/>
                        <a:pt x="147" y="54"/>
                      </a:cubicBezTo>
                      <a:cubicBezTo>
                        <a:pt x="146" y="53"/>
                        <a:pt x="145" y="53"/>
                        <a:pt x="144" y="53"/>
                      </a:cubicBezTo>
                      <a:cubicBezTo>
                        <a:pt x="144" y="53"/>
                        <a:pt x="143" y="53"/>
                        <a:pt x="142" y="53"/>
                      </a:cubicBezTo>
                      <a:cubicBezTo>
                        <a:pt x="142" y="53"/>
                        <a:pt x="142" y="53"/>
                        <a:pt x="142" y="53"/>
                      </a:cubicBezTo>
                      <a:cubicBezTo>
                        <a:pt x="140" y="53"/>
                        <a:pt x="140" y="53"/>
                        <a:pt x="140" y="53"/>
                      </a:cubicBezTo>
                      <a:cubicBezTo>
                        <a:pt x="139" y="53"/>
                        <a:pt x="137" y="53"/>
                        <a:pt x="136" y="53"/>
                      </a:cubicBezTo>
                      <a:cubicBezTo>
                        <a:pt x="135" y="53"/>
                        <a:pt x="135" y="53"/>
                        <a:pt x="135" y="53"/>
                      </a:cubicBezTo>
                      <a:cubicBezTo>
                        <a:pt x="134" y="53"/>
                        <a:pt x="133" y="53"/>
                        <a:pt x="132" y="52"/>
                      </a:cubicBezTo>
                      <a:cubicBezTo>
                        <a:pt x="132" y="51"/>
                        <a:pt x="131" y="51"/>
                        <a:pt x="130" y="50"/>
                      </a:cubicBezTo>
                      <a:cubicBezTo>
                        <a:pt x="130" y="49"/>
                        <a:pt x="129" y="49"/>
                        <a:pt x="128" y="48"/>
                      </a:cubicBezTo>
                      <a:cubicBezTo>
                        <a:pt x="128" y="48"/>
                        <a:pt x="127" y="48"/>
                        <a:pt x="127" y="48"/>
                      </a:cubicBezTo>
                      <a:cubicBezTo>
                        <a:pt x="127" y="47"/>
                        <a:pt x="126" y="47"/>
                        <a:pt x="126" y="46"/>
                      </a:cubicBezTo>
                      <a:cubicBezTo>
                        <a:pt x="126" y="45"/>
                        <a:pt x="125" y="44"/>
                        <a:pt x="123" y="42"/>
                      </a:cubicBezTo>
                      <a:cubicBezTo>
                        <a:pt x="122" y="41"/>
                        <a:pt x="121" y="41"/>
                        <a:pt x="120" y="40"/>
                      </a:cubicBezTo>
                      <a:cubicBezTo>
                        <a:pt x="118" y="39"/>
                        <a:pt x="117" y="38"/>
                        <a:pt x="116" y="37"/>
                      </a:cubicBezTo>
                      <a:cubicBezTo>
                        <a:pt x="116" y="37"/>
                        <a:pt x="116" y="36"/>
                        <a:pt x="116" y="36"/>
                      </a:cubicBezTo>
                      <a:cubicBezTo>
                        <a:pt x="116" y="34"/>
                        <a:pt x="116" y="33"/>
                        <a:pt x="116" y="31"/>
                      </a:cubicBezTo>
                      <a:cubicBezTo>
                        <a:pt x="115" y="29"/>
                        <a:pt x="113" y="27"/>
                        <a:pt x="110" y="27"/>
                      </a:cubicBezTo>
                      <a:cubicBezTo>
                        <a:pt x="108" y="27"/>
                        <a:pt x="105" y="28"/>
                        <a:pt x="102" y="30"/>
                      </a:cubicBezTo>
                      <a:cubicBezTo>
                        <a:pt x="102" y="30"/>
                        <a:pt x="102" y="30"/>
                        <a:pt x="102" y="30"/>
                      </a:cubicBezTo>
                      <a:cubicBezTo>
                        <a:pt x="103" y="29"/>
                        <a:pt x="103" y="29"/>
                        <a:pt x="103" y="29"/>
                      </a:cubicBezTo>
                      <a:cubicBezTo>
                        <a:pt x="106" y="24"/>
                        <a:pt x="107" y="11"/>
                        <a:pt x="104" y="4"/>
                      </a:cubicBezTo>
                      <a:cubicBezTo>
                        <a:pt x="102" y="1"/>
                        <a:pt x="100" y="0"/>
                        <a:pt x="96" y="0"/>
                      </a:cubicBezTo>
                      <a:cubicBezTo>
                        <a:pt x="90" y="0"/>
                        <a:pt x="86" y="6"/>
                        <a:pt x="84" y="9"/>
                      </a:cubicBezTo>
                      <a:cubicBezTo>
                        <a:pt x="84" y="9"/>
                        <a:pt x="83" y="10"/>
                        <a:pt x="83" y="10"/>
                      </a:cubicBezTo>
                      <a:cubicBezTo>
                        <a:pt x="83" y="10"/>
                        <a:pt x="83" y="11"/>
                        <a:pt x="83" y="11"/>
                      </a:cubicBezTo>
                      <a:cubicBezTo>
                        <a:pt x="82" y="11"/>
                        <a:pt x="82" y="11"/>
                        <a:pt x="82" y="10"/>
                      </a:cubicBezTo>
                      <a:cubicBezTo>
                        <a:pt x="81" y="9"/>
                        <a:pt x="80" y="8"/>
                        <a:pt x="79" y="7"/>
                      </a:cubicBezTo>
                      <a:cubicBezTo>
                        <a:pt x="77" y="6"/>
                        <a:pt x="75" y="5"/>
                        <a:pt x="73" y="5"/>
                      </a:cubicBezTo>
                      <a:cubicBezTo>
                        <a:pt x="72" y="5"/>
                        <a:pt x="71" y="5"/>
                        <a:pt x="71" y="5"/>
                      </a:cubicBezTo>
                      <a:cubicBezTo>
                        <a:pt x="70" y="5"/>
                        <a:pt x="69" y="6"/>
                        <a:pt x="69" y="6"/>
                      </a:cubicBezTo>
                      <a:cubicBezTo>
                        <a:pt x="68" y="6"/>
                        <a:pt x="68" y="6"/>
                        <a:pt x="68" y="6"/>
                      </a:cubicBezTo>
                      <a:cubicBezTo>
                        <a:pt x="68" y="6"/>
                        <a:pt x="68" y="6"/>
                        <a:pt x="68" y="6"/>
                      </a:cubicBezTo>
                      <a:cubicBezTo>
                        <a:pt x="61" y="8"/>
                        <a:pt x="55" y="12"/>
                        <a:pt x="51" y="15"/>
                      </a:cubicBezTo>
                      <a:cubicBezTo>
                        <a:pt x="50" y="15"/>
                        <a:pt x="49" y="16"/>
                        <a:pt x="49" y="17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6" y="19"/>
                        <a:pt x="45" y="21"/>
                        <a:pt x="43" y="21"/>
                      </a:cubicBezTo>
                      <a:cubicBezTo>
                        <a:pt x="42" y="22"/>
                        <a:pt x="41" y="22"/>
                        <a:pt x="40" y="22"/>
                      </a:cubicBezTo>
                      <a:cubicBezTo>
                        <a:pt x="39" y="22"/>
                        <a:pt x="38" y="22"/>
                        <a:pt x="38" y="22"/>
                      </a:cubicBezTo>
                      <a:cubicBezTo>
                        <a:pt x="37" y="21"/>
                        <a:pt x="36" y="21"/>
                        <a:pt x="35" y="21"/>
                      </a:cubicBezTo>
                      <a:cubicBezTo>
                        <a:pt x="34" y="21"/>
                        <a:pt x="34" y="21"/>
                        <a:pt x="33" y="21"/>
                      </a:cubicBezTo>
                      <a:cubicBezTo>
                        <a:pt x="30" y="22"/>
                        <a:pt x="16" y="28"/>
                        <a:pt x="13" y="30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3"/>
                        <a:pt x="12" y="36"/>
                        <a:pt x="13" y="39"/>
                      </a:cubicBezTo>
                      <a:cubicBezTo>
                        <a:pt x="14" y="42"/>
                        <a:pt x="15" y="46"/>
                        <a:pt x="12" y="51"/>
                      </a:cubicBezTo>
                      <a:cubicBezTo>
                        <a:pt x="11" y="53"/>
                        <a:pt x="9" y="54"/>
                        <a:pt x="8" y="56"/>
                      </a:cubicBezTo>
                      <a:cubicBezTo>
                        <a:pt x="7" y="56"/>
                        <a:pt x="7" y="57"/>
                        <a:pt x="6" y="5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9" y="63"/>
                        <a:pt x="9" y="63"/>
                        <a:pt x="9" y="63"/>
                      </a:cubicBezTo>
                      <a:cubicBezTo>
                        <a:pt x="11" y="62"/>
                        <a:pt x="13" y="61"/>
                        <a:pt x="15" y="60"/>
                      </a:cubicBezTo>
                      <a:cubicBezTo>
                        <a:pt x="17" y="59"/>
                        <a:pt x="18" y="59"/>
                        <a:pt x="20" y="58"/>
                      </a:cubicBezTo>
                      <a:cubicBezTo>
                        <a:pt x="20" y="58"/>
                        <a:pt x="21" y="58"/>
                        <a:pt x="21" y="58"/>
                      </a:cubicBezTo>
                      <a:cubicBezTo>
                        <a:pt x="24" y="58"/>
                        <a:pt x="26" y="59"/>
                        <a:pt x="29" y="61"/>
                      </a:cubicBezTo>
                      <a:cubicBezTo>
                        <a:pt x="36" y="67"/>
                        <a:pt x="41" y="75"/>
                        <a:pt x="43" y="81"/>
                      </a:cubicBezTo>
                      <a:cubicBezTo>
                        <a:pt x="44" y="82"/>
                        <a:pt x="45" y="84"/>
                        <a:pt x="45" y="85"/>
                      </a:cubicBezTo>
                      <a:cubicBezTo>
                        <a:pt x="46" y="87"/>
                        <a:pt x="48" y="89"/>
                        <a:pt x="48" y="91"/>
                      </a:cubicBezTo>
                      <a:cubicBezTo>
                        <a:pt x="48" y="92"/>
                        <a:pt x="48" y="93"/>
                        <a:pt x="48" y="94"/>
                      </a:cubicBezTo>
                      <a:cubicBezTo>
                        <a:pt x="49" y="96"/>
                        <a:pt x="49" y="97"/>
                        <a:pt x="49" y="99"/>
                      </a:cubicBezTo>
                      <a:cubicBezTo>
                        <a:pt x="50" y="102"/>
                        <a:pt x="52" y="107"/>
                        <a:pt x="55" y="110"/>
                      </a:cubicBezTo>
                      <a:cubicBezTo>
                        <a:pt x="57" y="111"/>
                        <a:pt x="58" y="111"/>
                        <a:pt x="60" y="111"/>
                      </a:cubicBezTo>
                      <a:cubicBezTo>
                        <a:pt x="61" y="111"/>
                        <a:pt x="61" y="111"/>
                        <a:pt x="62" y="111"/>
                      </a:cubicBezTo>
                      <a:cubicBezTo>
                        <a:pt x="63" y="111"/>
                        <a:pt x="64" y="111"/>
                        <a:pt x="64" y="111"/>
                      </a:cubicBezTo>
                      <a:cubicBezTo>
                        <a:pt x="65" y="111"/>
                        <a:pt x="65" y="111"/>
                        <a:pt x="65" y="111"/>
                      </a:cubicBezTo>
                      <a:cubicBezTo>
                        <a:pt x="65" y="111"/>
                        <a:pt x="66" y="111"/>
                        <a:pt x="65" y="113"/>
                      </a:cubicBezTo>
                      <a:cubicBezTo>
                        <a:pt x="65" y="115"/>
                        <a:pt x="66" y="117"/>
                        <a:pt x="66" y="119"/>
                      </a:cubicBezTo>
                      <a:cubicBezTo>
                        <a:pt x="67" y="122"/>
                        <a:pt x="68" y="128"/>
                        <a:pt x="74" y="129"/>
                      </a:cubicBezTo>
                      <a:cubicBezTo>
                        <a:pt x="75" y="129"/>
                        <a:pt x="75" y="129"/>
                        <a:pt x="76" y="129"/>
                      </a:cubicBezTo>
                      <a:cubicBezTo>
                        <a:pt x="79" y="129"/>
                        <a:pt x="81" y="128"/>
                        <a:pt x="83" y="126"/>
                      </a:cubicBezTo>
                      <a:cubicBezTo>
                        <a:pt x="84" y="126"/>
                        <a:pt x="85" y="126"/>
                        <a:pt x="85" y="125"/>
                      </a:cubicBezTo>
                      <a:cubicBezTo>
                        <a:pt x="86" y="125"/>
                        <a:pt x="87" y="124"/>
                        <a:pt x="88" y="124"/>
                      </a:cubicBezTo>
                      <a:cubicBezTo>
                        <a:pt x="90" y="124"/>
                        <a:pt x="90" y="124"/>
                        <a:pt x="90" y="124"/>
                      </a:cubicBezTo>
                      <a:cubicBezTo>
                        <a:pt x="90" y="124"/>
                        <a:pt x="91" y="124"/>
                        <a:pt x="92" y="124"/>
                      </a:cubicBezTo>
                      <a:cubicBezTo>
                        <a:pt x="92" y="124"/>
                        <a:pt x="93" y="124"/>
                        <a:pt x="93" y="124"/>
                      </a:cubicBezTo>
                      <a:cubicBezTo>
                        <a:pt x="94" y="124"/>
                        <a:pt x="96" y="124"/>
                        <a:pt x="97" y="122"/>
                      </a:cubicBezTo>
                      <a:cubicBezTo>
                        <a:pt x="98" y="122"/>
                        <a:pt x="99" y="121"/>
                        <a:pt x="99" y="121"/>
                      </a:cubicBezTo>
                      <a:cubicBezTo>
                        <a:pt x="100" y="120"/>
                        <a:pt x="100" y="120"/>
                        <a:pt x="101" y="119"/>
                      </a:cubicBezTo>
                      <a:cubicBezTo>
                        <a:pt x="108" y="114"/>
                        <a:pt x="115" y="108"/>
                        <a:pt x="122" y="100"/>
                      </a:cubicBezTo>
                      <a:cubicBezTo>
                        <a:pt x="124" y="98"/>
                        <a:pt x="124" y="98"/>
                        <a:pt x="124" y="98"/>
                      </a:cubicBezTo>
                      <a:cubicBezTo>
                        <a:pt x="125" y="97"/>
                        <a:pt x="127" y="95"/>
                        <a:pt x="128" y="94"/>
                      </a:cubicBezTo>
                      <a:cubicBezTo>
                        <a:pt x="129" y="93"/>
                        <a:pt x="129" y="93"/>
                        <a:pt x="129" y="93"/>
                      </a:cubicBezTo>
                      <a:cubicBezTo>
                        <a:pt x="130" y="93"/>
                        <a:pt x="131" y="91"/>
                        <a:pt x="131" y="91"/>
                      </a:cubicBezTo>
                      <a:cubicBezTo>
                        <a:pt x="132" y="91"/>
                        <a:pt x="132" y="92"/>
                        <a:pt x="133" y="92"/>
                      </a:cubicBezTo>
                      <a:cubicBezTo>
                        <a:pt x="134" y="94"/>
                        <a:pt x="135" y="95"/>
                        <a:pt x="138" y="96"/>
                      </a:cubicBezTo>
                      <a:cubicBezTo>
                        <a:pt x="144" y="96"/>
                        <a:pt x="144" y="96"/>
                        <a:pt x="144" y="96"/>
                      </a:cubicBezTo>
                      <a:cubicBezTo>
                        <a:pt x="141" y="91"/>
                        <a:pt x="141" y="91"/>
                        <a:pt x="141" y="91"/>
                      </a:cubicBezTo>
                      <a:cubicBezTo>
                        <a:pt x="142" y="87"/>
                        <a:pt x="144" y="82"/>
                        <a:pt x="144" y="78"/>
                      </a:cubicBezTo>
                      <a:cubicBezTo>
                        <a:pt x="146" y="72"/>
                        <a:pt x="148" y="66"/>
                        <a:pt x="150" y="60"/>
                      </a:cubicBezTo>
                      <a:cubicBezTo>
                        <a:pt x="150" y="59"/>
                        <a:pt x="150" y="59"/>
                        <a:pt x="150" y="59"/>
                      </a:cubicBezTo>
                      <a:lnTo>
                        <a:pt x="150" y="57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6" name="Freeform 57">
                  <a:extLst>
                    <a:ext uri="{FF2B5EF4-FFF2-40B4-BE49-F238E27FC236}">
                      <a16:creationId xmlns:a16="http://schemas.microsoft.com/office/drawing/2014/main" id="{3403A59D-8501-FC46-8436-3CD0929FD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04652" y="8654671"/>
                  <a:ext cx="670922" cy="653299"/>
                </a:xfrm>
                <a:custGeom>
                  <a:avLst/>
                  <a:gdLst>
                    <a:gd name="T0" fmla="*/ 117 w 123"/>
                    <a:gd name="T1" fmla="*/ 8 h 132"/>
                    <a:gd name="T2" fmla="*/ 110 w 123"/>
                    <a:gd name="T3" fmla="*/ 0 h 132"/>
                    <a:gd name="T4" fmla="*/ 102 w 123"/>
                    <a:gd name="T5" fmla="*/ 3 h 132"/>
                    <a:gd name="T6" fmla="*/ 96 w 123"/>
                    <a:gd name="T7" fmla="*/ 5 h 132"/>
                    <a:gd name="T8" fmla="*/ 91 w 123"/>
                    <a:gd name="T9" fmla="*/ 4 h 132"/>
                    <a:gd name="T10" fmla="*/ 79 w 123"/>
                    <a:gd name="T11" fmla="*/ 11 h 132"/>
                    <a:gd name="T12" fmla="*/ 72 w 123"/>
                    <a:gd name="T13" fmla="*/ 10 h 132"/>
                    <a:gd name="T14" fmla="*/ 64 w 123"/>
                    <a:gd name="T15" fmla="*/ 14 h 132"/>
                    <a:gd name="T16" fmla="*/ 61 w 123"/>
                    <a:gd name="T17" fmla="*/ 17 h 132"/>
                    <a:gd name="T18" fmla="*/ 59 w 123"/>
                    <a:gd name="T19" fmla="*/ 17 h 132"/>
                    <a:gd name="T20" fmla="*/ 54 w 123"/>
                    <a:gd name="T21" fmla="*/ 18 h 132"/>
                    <a:gd name="T22" fmla="*/ 47 w 123"/>
                    <a:gd name="T23" fmla="*/ 19 h 132"/>
                    <a:gd name="T24" fmla="*/ 40 w 123"/>
                    <a:gd name="T25" fmla="*/ 19 h 132"/>
                    <a:gd name="T26" fmla="*/ 37 w 123"/>
                    <a:gd name="T27" fmla="*/ 21 h 132"/>
                    <a:gd name="T28" fmla="*/ 29 w 123"/>
                    <a:gd name="T29" fmla="*/ 47 h 132"/>
                    <a:gd name="T30" fmla="*/ 34 w 123"/>
                    <a:gd name="T31" fmla="*/ 50 h 132"/>
                    <a:gd name="T32" fmla="*/ 43 w 123"/>
                    <a:gd name="T33" fmla="*/ 48 h 132"/>
                    <a:gd name="T34" fmla="*/ 44 w 123"/>
                    <a:gd name="T35" fmla="*/ 49 h 132"/>
                    <a:gd name="T36" fmla="*/ 40 w 123"/>
                    <a:gd name="T37" fmla="*/ 51 h 132"/>
                    <a:gd name="T38" fmla="*/ 35 w 123"/>
                    <a:gd name="T39" fmla="*/ 50 h 132"/>
                    <a:gd name="T40" fmla="*/ 24 w 123"/>
                    <a:gd name="T41" fmla="*/ 59 h 132"/>
                    <a:gd name="T42" fmla="*/ 3 w 123"/>
                    <a:gd name="T43" fmla="*/ 103 h 132"/>
                    <a:gd name="T44" fmla="*/ 12 w 123"/>
                    <a:gd name="T45" fmla="*/ 119 h 132"/>
                    <a:gd name="T46" fmla="*/ 14 w 123"/>
                    <a:gd name="T47" fmla="*/ 122 h 132"/>
                    <a:gd name="T48" fmla="*/ 23 w 123"/>
                    <a:gd name="T49" fmla="*/ 131 h 132"/>
                    <a:gd name="T50" fmla="*/ 36 w 123"/>
                    <a:gd name="T51" fmla="*/ 128 h 132"/>
                    <a:gd name="T52" fmla="*/ 40 w 123"/>
                    <a:gd name="T53" fmla="*/ 123 h 132"/>
                    <a:gd name="T54" fmla="*/ 43 w 123"/>
                    <a:gd name="T55" fmla="*/ 118 h 132"/>
                    <a:gd name="T56" fmla="*/ 49 w 123"/>
                    <a:gd name="T57" fmla="*/ 104 h 132"/>
                    <a:gd name="T58" fmla="*/ 52 w 123"/>
                    <a:gd name="T59" fmla="*/ 96 h 132"/>
                    <a:gd name="T60" fmla="*/ 55 w 123"/>
                    <a:gd name="T61" fmla="*/ 83 h 132"/>
                    <a:gd name="T62" fmla="*/ 56 w 123"/>
                    <a:gd name="T63" fmla="*/ 74 h 132"/>
                    <a:gd name="T64" fmla="*/ 69 w 123"/>
                    <a:gd name="T65" fmla="*/ 67 h 132"/>
                    <a:gd name="T66" fmla="*/ 76 w 123"/>
                    <a:gd name="T67" fmla="*/ 64 h 132"/>
                    <a:gd name="T68" fmla="*/ 88 w 123"/>
                    <a:gd name="T69" fmla="*/ 54 h 132"/>
                    <a:gd name="T70" fmla="*/ 100 w 123"/>
                    <a:gd name="T71" fmla="*/ 41 h 132"/>
                    <a:gd name="T72" fmla="*/ 114 w 123"/>
                    <a:gd name="T73" fmla="*/ 26 h 132"/>
                    <a:gd name="T74" fmla="*/ 119 w 123"/>
                    <a:gd name="T75" fmla="*/ 9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23" h="132">
                      <a:moveTo>
                        <a:pt x="119" y="9"/>
                      </a:moveTo>
                      <a:cubicBezTo>
                        <a:pt x="118" y="8"/>
                        <a:pt x="117" y="8"/>
                        <a:pt x="117" y="8"/>
                      </a:cubicBezTo>
                      <a:cubicBezTo>
                        <a:pt x="116" y="7"/>
                        <a:pt x="116" y="6"/>
                        <a:pt x="116" y="5"/>
                      </a:cubicBezTo>
                      <a:cubicBezTo>
                        <a:pt x="115" y="3"/>
                        <a:pt x="114" y="0"/>
                        <a:pt x="110" y="0"/>
                      </a:cubicBezTo>
                      <a:cubicBezTo>
                        <a:pt x="109" y="0"/>
                        <a:pt x="109" y="0"/>
                        <a:pt x="108" y="0"/>
                      </a:cubicBezTo>
                      <a:cubicBezTo>
                        <a:pt x="105" y="0"/>
                        <a:pt x="104" y="2"/>
                        <a:pt x="102" y="3"/>
                      </a:cubicBezTo>
                      <a:cubicBezTo>
                        <a:pt x="100" y="4"/>
                        <a:pt x="99" y="5"/>
                        <a:pt x="97" y="5"/>
                      </a:cubicBezTo>
                      <a:cubicBezTo>
                        <a:pt x="97" y="5"/>
                        <a:pt x="96" y="5"/>
                        <a:pt x="96" y="5"/>
                      </a:cubicBezTo>
                      <a:cubicBezTo>
                        <a:pt x="94" y="4"/>
                        <a:pt x="94" y="4"/>
                        <a:pt x="94" y="4"/>
                      </a:cubicBezTo>
                      <a:cubicBezTo>
                        <a:pt x="93" y="4"/>
                        <a:pt x="92" y="4"/>
                        <a:pt x="91" y="4"/>
                      </a:cubicBezTo>
                      <a:cubicBezTo>
                        <a:pt x="88" y="4"/>
                        <a:pt x="85" y="5"/>
                        <a:pt x="83" y="8"/>
                      </a:cubicBezTo>
                      <a:cubicBezTo>
                        <a:pt x="80" y="11"/>
                        <a:pt x="80" y="11"/>
                        <a:pt x="79" y="11"/>
                      </a:cubicBezTo>
                      <a:cubicBezTo>
                        <a:pt x="78" y="11"/>
                        <a:pt x="77" y="11"/>
                        <a:pt x="76" y="10"/>
                      </a:cubicBezTo>
                      <a:cubicBezTo>
                        <a:pt x="74" y="10"/>
                        <a:pt x="73" y="10"/>
                        <a:pt x="72" y="10"/>
                      </a:cubicBezTo>
                      <a:cubicBezTo>
                        <a:pt x="69" y="10"/>
                        <a:pt x="67" y="10"/>
                        <a:pt x="66" y="12"/>
                      </a:cubicBezTo>
                      <a:cubicBezTo>
                        <a:pt x="65" y="13"/>
                        <a:pt x="64" y="14"/>
                        <a:pt x="64" y="14"/>
                      </a:cubicBezTo>
                      <a:cubicBezTo>
                        <a:pt x="64" y="15"/>
                        <a:pt x="64" y="15"/>
                        <a:pt x="63" y="15"/>
                      </a:cubicBezTo>
                      <a:cubicBezTo>
                        <a:pt x="63" y="16"/>
                        <a:pt x="62" y="17"/>
                        <a:pt x="61" y="17"/>
                      </a:cubicBezTo>
                      <a:cubicBezTo>
                        <a:pt x="60" y="17"/>
                        <a:pt x="60" y="17"/>
                        <a:pt x="60" y="17"/>
                      </a:cubicBezTo>
                      <a:cubicBezTo>
                        <a:pt x="59" y="17"/>
                        <a:pt x="59" y="17"/>
                        <a:pt x="59" y="17"/>
                      </a:cubicBezTo>
                      <a:cubicBezTo>
                        <a:pt x="58" y="17"/>
                        <a:pt x="57" y="17"/>
                        <a:pt x="57" y="18"/>
                      </a:cubicBezTo>
                      <a:cubicBezTo>
                        <a:pt x="56" y="18"/>
                        <a:pt x="55" y="18"/>
                        <a:pt x="54" y="18"/>
                      </a:cubicBezTo>
                      <a:cubicBezTo>
                        <a:pt x="53" y="19"/>
                        <a:pt x="52" y="19"/>
                        <a:pt x="52" y="19"/>
                      </a:cubicBezTo>
                      <a:cubicBezTo>
                        <a:pt x="50" y="19"/>
                        <a:pt x="48" y="19"/>
                        <a:pt x="47" y="19"/>
                      </a:cubicBezTo>
                      <a:cubicBezTo>
                        <a:pt x="45" y="19"/>
                        <a:pt x="43" y="19"/>
                        <a:pt x="42" y="19"/>
                      </a:cubicBezTo>
                      <a:cubicBezTo>
                        <a:pt x="41" y="19"/>
                        <a:pt x="40" y="19"/>
                        <a:pt x="40" y="19"/>
                      </a:cubicBezTo>
                      <a:cubicBezTo>
                        <a:pt x="38" y="19"/>
                        <a:pt x="38" y="19"/>
                        <a:pt x="38" y="19"/>
                      </a:cubicBezTo>
                      <a:cubicBezTo>
                        <a:pt x="37" y="21"/>
                        <a:pt x="37" y="21"/>
                        <a:pt x="37" y="21"/>
                      </a:cubicBezTo>
                      <a:cubicBezTo>
                        <a:pt x="34" y="27"/>
                        <a:pt x="33" y="33"/>
                        <a:pt x="32" y="38"/>
                      </a:cubicBezTo>
                      <a:cubicBezTo>
                        <a:pt x="31" y="41"/>
                        <a:pt x="30" y="44"/>
                        <a:pt x="29" y="47"/>
                      </a:cubicBezTo>
                      <a:cubicBezTo>
                        <a:pt x="27" y="54"/>
                        <a:pt x="27" y="54"/>
                        <a:pt x="27" y="54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5" y="49"/>
                        <a:pt x="37" y="49"/>
                        <a:pt x="38" y="49"/>
                      </a:cubicBezTo>
                      <a:cubicBezTo>
                        <a:pt x="40" y="48"/>
                        <a:pt x="41" y="48"/>
                        <a:pt x="43" y="48"/>
                      </a:cubicBezTo>
                      <a:cubicBezTo>
                        <a:pt x="44" y="47"/>
                        <a:pt x="44" y="47"/>
                        <a:pt x="45" y="46"/>
                      </a:cubicBezTo>
                      <a:cubicBezTo>
                        <a:pt x="45" y="47"/>
                        <a:pt x="44" y="48"/>
                        <a:pt x="44" y="49"/>
                      </a:cubicBezTo>
                      <a:cubicBezTo>
                        <a:pt x="43" y="50"/>
                        <a:pt x="43" y="51"/>
                        <a:pt x="42" y="52"/>
                      </a:cubicBezTo>
                      <a:cubicBezTo>
                        <a:pt x="42" y="52"/>
                        <a:pt x="41" y="52"/>
                        <a:pt x="40" y="51"/>
                      </a:cubicBezTo>
                      <a:cubicBezTo>
                        <a:pt x="39" y="51"/>
                        <a:pt x="37" y="50"/>
                        <a:pt x="36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0" y="51"/>
                        <a:pt x="28" y="55"/>
                        <a:pt x="26" y="57"/>
                      </a:cubicBezTo>
                      <a:cubicBezTo>
                        <a:pt x="25" y="58"/>
                        <a:pt x="25" y="59"/>
                        <a:pt x="24" y="59"/>
                      </a:cubicBezTo>
                      <a:cubicBezTo>
                        <a:pt x="23" y="60"/>
                        <a:pt x="22" y="62"/>
                        <a:pt x="21" y="63"/>
                      </a:cubicBezTo>
                      <a:cubicBezTo>
                        <a:pt x="12" y="74"/>
                        <a:pt x="0" y="88"/>
                        <a:pt x="3" y="103"/>
                      </a:cubicBezTo>
                      <a:cubicBezTo>
                        <a:pt x="4" y="107"/>
                        <a:pt x="6" y="111"/>
                        <a:pt x="9" y="116"/>
                      </a:cubicBezTo>
                      <a:cubicBezTo>
                        <a:pt x="10" y="117"/>
                        <a:pt x="11" y="118"/>
                        <a:pt x="12" y="119"/>
                      </a:cubicBezTo>
                      <a:cubicBezTo>
                        <a:pt x="12" y="120"/>
                        <a:pt x="13" y="120"/>
                        <a:pt x="13" y="121"/>
                      </a:cubicBezTo>
                      <a:cubicBezTo>
                        <a:pt x="13" y="121"/>
                        <a:pt x="14" y="121"/>
                        <a:pt x="14" y="122"/>
                      </a:cubicBezTo>
                      <a:cubicBezTo>
                        <a:pt x="14" y="123"/>
                        <a:pt x="14" y="124"/>
                        <a:pt x="15" y="125"/>
                      </a:cubicBezTo>
                      <a:cubicBezTo>
                        <a:pt x="17" y="128"/>
                        <a:pt x="21" y="130"/>
                        <a:pt x="23" y="131"/>
                      </a:cubicBezTo>
                      <a:cubicBezTo>
                        <a:pt x="25" y="132"/>
                        <a:pt x="26" y="132"/>
                        <a:pt x="28" y="132"/>
                      </a:cubicBezTo>
                      <a:cubicBezTo>
                        <a:pt x="31" y="132"/>
                        <a:pt x="34" y="131"/>
                        <a:pt x="36" y="128"/>
                      </a:cubicBezTo>
                      <a:cubicBezTo>
                        <a:pt x="37" y="127"/>
                        <a:pt x="38" y="126"/>
                        <a:pt x="39" y="125"/>
                      </a:cubicBezTo>
                      <a:cubicBezTo>
                        <a:pt x="39" y="124"/>
                        <a:pt x="39" y="123"/>
                        <a:pt x="40" y="123"/>
                      </a:cubicBezTo>
                      <a:cubicBezTo>
                        <a:pt x="40" y="122"/>
                        <a:pt x="41" y="122"/>
                        <a:pt x="41" y="121"/>
                      </a:cubicBezTo>
                      <a:cubicBezTo>
                        <a:pt x="42" y="120"/>
                        <a:pt x="43" y="119"/>
                        <a:pt x="43" y="118"/>
                      </a:cubicBezTo>
                      <a:cubicBezTo>
                        <a:pt x="45" y="115"/>
                        <a:pt x="47" y="111"/>
                        <a:pt x="49" y="106"/>
                      </a:cubicBezTo>
                      <a:cubicBezTo>
                        <a:pt x="49" y="105"/>
                        <a:pt x="49" y="105"/>
                        <a:pt x="49" y="104"/>
                      </a:cubicBezTo>
                      <a:cubicBezTo>
                        <a:pt x="50" y="102"/>
                        <a:pt x="50" y="100"/>
                        <a:pt x="51" y="98"/>
                      </a:cubicBezTo>
                      <a:cubicBezTo>
                        <a:pt x="52" y="97"/>
                        <a:pt x="52" y="97"/>
                        <a:pt x="52" y="96"/>
                      </a:cubicBezTo>
                      <a:cubicBezTo>
                        <a:pt x="54" y="94"/>
                        <a:pt x="55" y="91"/>
                        <a:pt x="55" y="88"/>
                      </a:cubicBezTo>
                      <a:cubicBezTo>
                        <a:pt x="55" y="86"/>
                        <a:pt x="55" y="84"/>
                        <a:pt x="55" y="83"/>
                      </a:cubicBezTo>
                      <a:cubicBezTo>
                        <a:pt x="54" y="82"/>
                        <a:pt x="54" y="82"/>
                        <a:pt x="54" y="81"/>
                      </a:cubicBezTo>
                      <a:cubicBezTo>
                        <a:pt x="54" y="77"/>
                        <a:pt x="54" y="75"/>
                        <a:pt x="56" y="74"/>
                      </a:cubicBezTo>
                      <a:cubicBezTo>
                        <a:pt x="60" y="72"/>
                        <a:pt x="63" y="70"/>
                        <a:pt x="66" y="68"/>
                      </a:cubicBezTo>
                      <a:cubicBezTo>
                        <a:pt x="69" y="67"/>
                        <a:pt x="69" y="67"/>
                        <a:pt x="69" y="67"/>
                      </a:cubicBezTo>
                      <a:cubicBezTo>
                        <a:pt x="70" y="66"/>
                        <a:pt x="71" y="66"/>
                        <a:pt x="72" y="65"/>
                      </a:cubicBezTo>
                      <a:cubicBezTo>
                        <a:pt x="74" y="65"/>
                        <a:pt x="75" y="65"/>
                        <a:pt x="76" y="64"/>
                      </a:cubicBezTo>
                      <a:cubicBezTo>
                        <a:pt x="79" y="63"/>
                        <a:pt x="82" y="60"/>
                        <a:pt x="84" y="58"/>
                      </a:cubicBezTo>
                      <a:cubicBezTo>
                        <a:pt x="85" y="56"/>
                        <a:pt x="87" y="55"/>
                        <a:pt x="88" y="54"/>
                      </a:cubicBezTo>
                      <a:cubicBezTo>
                        <a:pt x="92" y="51"/>
                        <a:pt x="94" y="48"/>
                        <a:pt x="97" y="44"/>
                      </a:cubicBezTo>
                      <a:cubicBezTo>
                        <a:pt x="98" y="43"/>
                        <a:pt x="99" y="42"/>
                        <a:pt x="100" y="41"/>
                      </a:cubicBezTo>
                      <a:cubicBezTo>
                        <a:pt x="104" y="36"/>
                        <a:pt x="108" y="31"/>
                        <a:pt x="113" y="27"/>
                      </a:cubicBezTo>
                      <a:cubicBezTo>
                        <a:pt x="113" y="27"/>
                        <a:pt x="114" y="26"/>
                        <a:pt x="114" y="26"/>
                      </a:cubicBezTo>
                      <a:cubicBezTo>
                        <a:pt x="119" y="21"/>
                        <a:pt x="123" y="18"/>
                        <a:pt x="123" y="14"/>
                      </a:cubicBezTo>
                      <a:cubicBezTo>
                        <a:pt x="123" y="11"/>
                        <a:pt x="120" y="10"/>
                        <a:pt x="119" y="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7" name="Freeform 58">
                  <a:extLst>
                    <a:ext uri="{FF2B5EF4-FFF2-40B4-BE49-F238E27FC236}">
                      <a16:creationId xmlns:a16="http://schemas.microsoft.com/office/drawing/2014/main" id="{D899B019-84EA-894D-BAA5-04E1184642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37035" y="8301889"/>
                  <a:ext cx="82070" cy="128793"/>
                </a:xfrm>
                <a:custGeom>
                  <a:avLst/>
                  <a:gdLst>
                    <a:gd name="T0" fmla="*/ 14 w 15"/>
                    <a:gd name="T1" fmla="*/ 2 h 26"/>
                    <a:gd name="T2" fmla="*/ 10 w 15"/>
                    <a:gd name="T3" fmla="*/ 0 h 26"/>
                    <a:gd name="T4" fmla="*/ 9 w 15"/>
                    <a:gd name="T5" fmla="*/ 0 h 26"/>
                    <a:gd name="T6" fmla="*/ 0 w 15"/>
                    <a:gd name="T7" fmla="*/ 20 h 26"/>
                    <a:gd name="T8" fmla="*/ 5 w 15"/>
                    <a:gd name="T9" fmla="*/ 26 h 26"/>
                    <a:gd name="T10" fmla="*/ 6 w 15"/>
                    <a:gd name="T11" fmla="*/ 26 h 26"/>
                    <a:gd name="T12" fmla="*/ 6 w 15"/>
                    <a:gd name="T13" fmla="*/ 26 h 26"/>
                    <a:gd name="T14" fmla="*/ 9 w 15"/>
                    <a:gd name="T15" fmla="*/ 20 h 26"/>
                    <a:gd name="T16" fmla="*/ 9 w 15"/>
                    <a:gd name="T17" fmla="*/ 20 h 26"/>
                    <a:gd name="T18" fmla="*/ 12 w 15"/>
                    <a:gd name="T19" fmla="*/ 11 h 26"/>
                    <a:gd name="T20" fmla="*/ 12 w 15"/>
                    <a:gd name="T21" fmla="*/ 10 h 26"/>
                    <a:gd name="T22" fmla="*/ 14 w 15"/>
                    <a:gd name="T23" fmla="*/ 2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6">
                      <a:moveTo>
                        <a:pt x="14" y="2"/>
                      </a:moveTo>
                      <a:cubicBezTo>
                        <a:pt x="14" y="2"/>
                        <a:pt x="13" y="0"/>
                        <a:pt x="1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3" y="1"/>
                        <a:pt x="0" y="15"/>
                        <a:pt x="0" y="20"/>
                      </a:cubicBezTo>
                      <a:cubicBezTo>
                        <a:pt x="1" y="26"/>
                        <a:pt x="4" y="26"/>
                        <a:pt x="5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10" y="26"/>
                        <a:pt x="10" y="22"/>
                        <a:pt x="9" y="20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10" y="16"/>
                        <a:pt x="10" y="14"/>
                        <a:pt x="12" y="11"/>
                      </a:cubicBezTo>
                      <a:cubicBezTo>
                        <a:pt x="12" y="11"/>
                        <a:pt x="12" y="11"/>
                        <a:pt x="12" y="10"/>
                      </a:cubicBezTo>
                      <a:cubicBezTo>
                        <a:pt x="13" y="8"/>
                        <a:pt x="15" y="5"/>
                        <a:pt x="14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8" name="Freeform 59">
                  <a:extLst>
                    <a:ext uri="{FF2B5EF4-FFF2-40B4-BE49-F238E27FC236}">
                      <a16:creationId xmlns:a16="http://schemas.microsoft.com/office/drawing/2014/main" id="{7934B4BD-7D17-8940-8ACA-1C9ED46FB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97608" y="7265943"/>
                  <a:ext cx="1003305" cy="940751"/>
                </a:xfrm>
                <a:custGeom>
                  <a:avLst/>
                  <a:gdLst>
                    <a:gd name="T0" fmla="*/ 177 w 184"/>
                    <a:gd name="T1" fmla="*/ 104 h 190"/>
                    <a:gd name="T2" fmla="*/ 165 w 184"/>
                    <a:gd name="T3" fmla="*/ 100 h 190"/>
                    <a:gd name="T4" fmla="*/ 161 w 184"/>
                    <a:gd name="T5" fmla="*/ 107 h 190"/>
                    <a:gd name="T6" fmla="*/ 157 w 184"/>
                    <a:gd name="T7" fmla="*/ 81 h 190"/>
                    <a:gd name="T8" fmla="*/ 146 w 184"/>
                    <a:gd name="T9" fmla="*/ 89 h 190"/>
                    <a:gd name="T10" fmla="*/ 143 w 184"/>
                    <a:gd name="T11" fmla="*/ 97 h 190"/>
                    <a:gd name="T12" fmla="*/ 141 w 184"/>
                    <a:gd name="T13" fmla="*/ 97 h 190"/>
                    <a:gd name="T14" fmla="*/ 142 w 184"/>
                    <a:gd name="T15" fmla="*/ 84 h 190"/>
                    <a:gd name="T16" fmla="*/ 131 w 184"/>
                    <a:gd name="T17" fmla="*/ 71 h 190"/>
                    <a:gd name="T18" fmla="*/ 128 w 184"/>
                    <a:gd name="T19" fmla="*/ 81 h 190"/>
                    <a:gd name="T20" fmla="*/ 128 w 184"/>
                    <a:gd name="T21" fmla="*/ 85 h 190"/>
                    <a:gd name="T22" fmla="*/ 120 w 184"/>
                    <a:gd name="T23" fmla="*/ 74 h 190"/>
                    <a:gd name="T24" fmla="*/ 116 w 184"/>
                    <a:gd name="T25" fmla="*/ 56 h 190"/>
                    <a:gd name="T26" fmla="*/ 91 w 184"/>
                    <a:gd name="T27" fmla="*/ 59 h 190"/>
                    <a:gd name="T28" fmla="*/ 81 w 184"/>
                    <a:gd name="T29" fmla="*/ 71 h 190"/>
                    <a:gd name="T30" fmla="*/ 73 w 184"/>
                    <a:gd name="T31" fmla="*/ 69 h 190"/>
                    <a:gd name="T32" fmla="*/ 63 w 184"/>
                    <a:gd name="T33" fmla="*/ 73 h 190"/>
                    <a:gd name="T34" fmla="*/ 56 w 184"/>
                    <a:gd name="T35" fmla="*/ 73 h 190"/>
                    <a:gd name="T36" fmla="*/ 58 w 184"/>
                    <a:gd name="T37" fmla="*/ 67 h 190"/>
                    <a:gd name="T38" fmla="*/ 48 w 184"/>
                    <a:gd name="T39" fmla="*/ 56 h 190"/>
                    <a:gd name="T40" fmla="*/ 40 w 184"/>
                    <a:gd name="T41" fmla="*/ 62 h 190"/>
                    <a:gd name="T42" fmla="*/ 34 w 184"/>
                    <a:gd name="T43" fmla="*/ 76 h 190"/>
                    <a:gd name="T44" fmla="*/ 31 w 184"/>
                    <a:gd name="T45" fmla="*/ 57 h 190"/>
                    <a:gd name="T46" fmla="*/ 30 w 184"/>
                    <a:gd name="T47" fmla="*/ 35 h 190"/>
                    <a:gd name="T48" fmla="*/ 31 w 184"/>
                    <a:gd name="T49" fmla="*/ 12 h 190"/>
                    <a:gd name="T50" fmla="*/ 30 w 184"/>
                    <a:gd name="T51" fmla="*/ 1 h 190"/>
                    <a:gd name="T52" fmla="*/ 17 w 184"/>
                    <a:gd name="T53" fmla="*/ 5 h 190"/>
                    <a:gd name="T54" fmla="*/ 12 w 184"/>
                    <a:gd name="T55" fmla="*/ 7 h 190"/>
                    <a:gd name="T56" fmla="*/ 5 w 184"/>
                    <a:gd name="T57" fmla="*/ 18 h 190"/>
                    <a:gd name="T58" fmla="*/ 0 w 184"/>
                    <a:gd name="T59" fmla="*/ 35 h 190"/>
                    <a:gd name="T60" fmla="*/ 3 w 184"/>
                    <a:gd name="T61" fmla="*/ 47 h 190"/>
                    <a:gd name="T62" fmla="*/ 2 w 184"/>
                    <a:gd name="T63" fmla="*/ 64 h 190"/>
                    <a:gd name="T64" fmla="*/ 3 w 184"/>
                    <a:gd name="T65" fmla="*/ 79 h 190"/>
                    <a:gd name="T66" fmla="*/ 7 w 184"/>
                    <a:gd name="T67" fmla="*/ 102 h 190"/>
                    <a:gd name="T68" fmla="*/ 15 w 184"/>
                    <a:gd name="T69" fmla="*/ 119 h 190"/>
                    <a:gd name="T70" fmla="*/ 8 w 184"/>
                    <a:gd name="T71" fmla="*/ 123 h 190"/>
                    <a:gd name="T72" fmla="*/ 13 w 184"/>
                    <a:gd name="T73" fmla="*/ 147 h 190"/>
                    <a:gd name="T74" fmla="*/ 11 w 184"/>
                    <a:gd name="T75" fmla="*/ 161 h 190"/>
                    <a:gd name="T76" fmla="*/ 21 w 184"/>
                    <a:gd name="T77" fmla="*/ 190 h 190"/>
                    <a:gd name="T78" fmla="*/ 52 w 184"/>
                    <a:gd name="T79" fmla="*/ 169 h 190"/>
                    <a:gd name="T80" fmla="*/ 83 w 184"/>
                    <a:gd name="T81" fmla="*/ 152 h 190"/>
                    <a:gd name="T82" fmla="*/ 87 w 184"/>
                    <a:gd name="T83" fmla="*/ 147 h 190"/>
                    <a:gd name="T84" fmla="*/ 93 w 184"/>
                    <a:gd name="T85" fmla="*/ 144 h 190"/>
                    <a:gd name="T86" fmla="*/ 100 w 184"/>
                    <a:gd name="T87" fmla="*/ 151 h 190"/>
                    <a:gd name="T88" fmla="*/ 111 w 184"/>
                    <a:gd name="T89" fmla="*/ 146 h 190"/>
                    <a:gd name="T90" fmla="*/ 105 w 184"/>
                    <a:gd name="T91" fmla="*/ 159 h 190"/>
                    <a:gd name="T92" fmla="*/ 105 w 184"/>
                    <a:gd name="T93" fmla="*/ 169 h 190"/>
                    <a:gd name="T94" fmla="*/ 119 w 184"/>
                    <a:gd name="T95" fmla="*/ 166 h 190"/>
                    <a:gd name="T96" fmla="*/ 128 w 184"/>
                    <a:gd name="T97" fmla="*/ 159 h 190"/>
                    <a:gd name="T98" fmla="*/ 129 w 184"/>
                    <a:gd name="T99" fmla="*/ 147 h 190"/>
                    <a:gd name="T100" fmla="*/ 135 w 184"/>
                    <a:gd name="T101" fmla="*/ 122 h 190"/>
                    <a:gd name="T102" fmla="*/ 145 w 184"/>
                    <a:gd name="T103" fmla="*/ 137 h 190"/>
                    <a:gd name="T104" fmla="*/ 160 w 184"/>
                    <a:gd name="T105" fmla="*/ 138 h 190"/>
                    <a:gd name="T106" fmla="*/ 168 w 184"/>
                    <a:gd name="T107" fmla="*/ 147 h 190"/>
                    <a:gd name="T108" fmla="*/ 176 w 184"/>
                    <a:gd name="T109" fmla="*/ 14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84" h="190">
                      <a:moveTo>
                        <a:pt x="181" y="128"/>
                      </a:moveTo>
                      <a:cubicBezTo>
                        <a:pt x="181" y="127"/>
                        <a:pt x="180" y="126"/>
                        <a:pt x="180" y="126"/>
                      </a:cubicBezTo>
                      <a:cubicBezTo>
                        <a:pt x="177" y="119"/>
                        <a:pt x="177" y="114"/>
                        <a:pt x="177" y="106"/>
                      </a:cubicBezTo>
                      <a:cubicBezTo>
                        <a:pt x="177" y="104"/>
                        <a:pt x="177" y="104"/>
                        <a:pt x="177" y="104"/>
                      </a:cubicBezTo>
                      <a:cubicBezTo>
                        <a:pt x="178" y="101"/>
                        <a:pt x="178" y="98"/>
                        <a:pt x="178" y="96"/>
                      </a:cubicBezTo>
                      <a:cubicBezTo>
                        <a:pt x="178" y="95"/>
                        <a:pt x="177" y="92"/>
                        <a:pt x="172" y="92"/>
                      </a:cubicBezTo>
                      <a:cubicBezTo>
                        <a:pt x="172" y="92"/>
                        <a:pt x="168" y="92"/>
                        <a:pt x="167" y="94"/>
                      </a:cubicBezTo>
                      <a:cubicBezTo>
                        <a:pt x="165" y="95"/>
                        <a:pt x="165" y="98"/>
                        <a:pt x="165" y="100"/>
                      </a:cubicBezTo>
                      <a:cubicBezTo>
                        <a:pt x="165" y="100"/>
                        <a:pt x="165" y="100"/>
                        <a:pt x="164" y="101"/>
                      </a:cubicBezTo>
                      <a:cubicBezTo>
                        <a:pt x="164" y="102"/>
                        <a:pt x="164" y="102"/>
                        <a:pt x="164" y="102"/>
                      </a:cubicBezTo>
                      <a:cubicBezTo>
                        <a:pt x="164" y="106"/>
                        <a:pt x="163" y="107"/>
                        <a:pt x="162" y="107"/>
                      </a:cubicBezTo>
                      <a:cubicBezTo>
                        <a:pt x="161" y="107"/>
                        <a:pt x="161" y="107"/>
                        <a:pt x="161" y="107"/>
                      </a:cubicBezTo>
                      <a:cubicBezTo>
                        <a:pt x="159" y="105"/>
                        <a:pt x="159" y="99"/>
                        <a:pt x="159" y="97"/>
                      </a:cubicBezTo>
                      <a:cubicBezTo>
                        <a:pt x="159" y="91"/>
                        <a:pt x="159" y="91"/>
                        <a:pt x="159" y="91"/>
                      </a:cubicBezTo>
                      <a:cubicBezTo>
                        <a:pt x="159" y="91"/>
                        <a:pt x="159" y="90"/>
                        <a:pt x="159" y="90"/>
                      </a:cubicBezTo>
                      <a:cubicBezTo>
                        <a:pt x="160" y="87"/>
                        <a:pt x="160" y="83"/>
                        <a:pt x="157" y="81"/>
                      </a:cubicBezTo>
                      <a:cubicBezTo>
                        <a:pt x="156" y="81"/>
                        <a:pt x="155" y="80"/>
                        <a:pt x="154" y="80"/>
                      </a:cubicBezTo>
                      <a:cubicBezTo>
                        <a:pt x="152" y="80"/>
                        <a:pt x="150" y="81"/>
                        <a:pt x="149" y="82"/>
                      </a:cubicBezTo>
                      <a:cubicBezTo>
                        <a:pt x="147" y="83"/>
                        <a:pt x="147" y="86"/>
                        <a:pt x="146" y="87"/>
                      </a:cubicBezTo>
                      <a:cubicBezTo>
                        <a:pt x="146" y="88"/>
                        <a:pt x="146" y="89"/>
                        <a:pt x="146" y="89"/>
                      </a:cubicBezTo>
                      <a:cubicBezTo>
                        <a:pt x="146" y="90"/>
                        <a:pt x="146" y="90"/>
                        <a:pt x="146" y="90"/>
                      </a:cubicBezTo>
                      <a:cubicBezTo>
                        <a:pt x="146" y="90"/>
                        <a:pt x="145" y="90"/>
                        <a:pt x="145" y="91"/>
                      </a:cubicBezTo>
                      <a:cubicBezTo>
                        <a:pt x="145" y="91"/>
                        <a:pt x="144" y="92"/>
                        <a:pt x="144" y="93"/>
                      </a:cubicBezTo>
                      <a:cubicBezTo>
                        <a:pt x="143" y="94"/>
                        <a:pt x="143" y="96"/>
                        <a:pt x="143" y="97"/>
                      </a:cubicBezTo>
                      <a:cubicBezTo>
                        <a:pt x="143" y="100"/>
                        <a:pt x="144" y="102"/>
                        <a:pt x="145" y="105"/>
                      </a:cubicBezTo>
                      <a:cubicBezTo>
                        <a:pt x="145" y="104"/>
                        <a:pt x="145" y="104"/>
                        <a:pt x="144" y="104"/>
                      </a:cubicBezTo>
                      <a:cubicBezTo>
                        <a:pt x="143" y="102"/>
                        <a:pt x="142" y="100"/>
                        <a:pt x="141" y="98"/>
                      </a:cubicBezTo>
                      <a:cubicBezTo>
                        <a:pt x="141" y="98"/>
                        <a:pt x="141" y="98"/>
                        <a:pt x="141" y="97"/>
                      </a:cubicBezTo>
                      <a:cubicBezTo>
                        <a:pt x="141" y="97"/>
                        <a:pt x="141" y="96"/>
                        <a:pt x="141" y="96"/>
                      </a:cubicBezTo>
                      <a:cubicBezTo>
                        <a:pt x="141" y="95"/>
                        <a:pt x="141" y="94"/>
                        <a:pt x="141" y="94"/>
                      </a:cubicBezTo>
                      <a:cubicBezTo>
                        <a:pt x="141" y="93"/>
                        <a:pt x="140" y="93"/>
                        <a:pt x="140" y="92"/>
                      </a:cubicBezTo>
                      <a:cubicBezTo>
                        <a:pt x="140" y="90"/>
                        <a:pt x="141" y="87"/>
                        <a:pt x="142" y="84"/>
                      </a:cubicBezTo>
                      <a:cubicBezTo>
                        <a:pt x="143" y="83"/>
                        <a:pt x="143" y="83"/>
                        <a:pt x="143" y="83"/>
                      </a:cubicBezTo>
                      <a:cubicBezTo>
                        <a:pt x="145" y="77"/>
                        <a:pt x="147" y="72"/>
                        <a:pt x="145" y="68"/>
                      </a:cubicBezTo>
                      <a:cubicBezTo>
                        <a:pt x="144" y="67"/>
                        <a:pt x="143" y="66"/>
                        <a:pt x="140" y="66"/>
                      </a:cubicBezTo>
                      <a:cubicBezTo>
                        <a:pt x="137" y="66"/>
                        <a:pt x="133" y="68"/>
                        <a:pt x="131" y="71"/>
                      </a:cubicBezTo>
                      <a:cubicBezTo>
                        <a:pt x="130" y="73"/>
                        <a:pt x="130" y="75"/>
                        <a:pt x="130" y="76"/>
                      </a:cubicBezTo>
                      <a:cubicBezTo>
                        <a:pt x="129" y="77"/>
                        <a:pt x="129" y="78"/>
                        <a:pt x="129" y="78"/>
                      </a:cubicBezTo>
                      <a:cubicBezTo>
                        <a:pt x="129" y="79"/>
                        <a:pt x="129" y="79"/>
                        <a:pt x="129" y="79"/>
                      </a:cubicBezTo>
                      <a:cubicBezTo>
                        <a:pt x="129" y="80"/>
                        <a:pt x="128" y="80"/>
                        <a:pt x="128" y="81"/>
                      </a:cubicBezTo>
                      <a:cubicBezTo>
                        <a:pt x="128" y="82"/>
                        <a:pt x="128" y="83"/>
                        <a:pt x="128" y="84"/>
                      </a:cubicBezTo>
                      <a:cubicBezTo>
                        <a:pt x="128" y="84"/>
                        <a:pt x="128" y="84"/>
                        <a:pt x="128" y="84"/>
                      </a:cubicBezTo>
                      <a:cubicBezTo>
                        <a:pt x="128" y="84"/>
                        <a:pt x="128" y="84"/>
                        <a:pt x="128" y="84"/>
                      </a:cubicBezTo>
                      <a:cubicBezTo>
                        <a:pt x="128" y="85"/>
                        <a:pt x="128" y="85"/>
                        <a:pt x="128" y="85"/>
                      </a:cubicBezTo>
                      <a:cubicBezTo>
                        <a:pt x="128" y="84"/>
                        <a:pt x="128" y="83"/>
                        <a:pt x="128" y="83"/>
                      </a:cubicBezTo>
                      <a:cubicBezTo>
                        <a:pt x="127" y="80"/>
                        <a:pt x="127" y="78"/>
                        <a:pt x="125" y="76"/>
                      </a:cubicBezTo>
                      <a:cubicBezTo>
                        <a:pt x="124" y="74"/>
                        <a:pt x="122" y="74"/>
                        <a:pt x="121" y="74"/>
                      </a:cubicBezTo>
                      <a:cubicBezTo>
                        <a:pt x="120" y="74"/>
                        <a:pt x="120" y="74"/>
                        <a:pt x="120" y="74"/>
                      </a:cubicBezTo>
                      <a:cubicBezTo>
                        <a:pt x="117" y="73"/>
                        <a:pt x="117" y="72"/>
                        <a:pt x="116" y="67"/>
                      </a:cubicBezTo>
                      <a:cubicBezTo>
                        <a:pt x="116" y="67"/>
                        <a:pt x="116" y="67"/>
                        <a:pt x="116" y="67"/>
                      </a:cubicBezTo>
                      <a:cubicBezTo>
                        <a:pt x="116" y="65"/>
                        <a:pt x="116" y="64"/>
                        <a:pt x="116" y="63"/>
                      </a:cubicBezTo>
                      <a:cubicBezTo>
                        <a:pt x="116" y="61"/>
                        <a:pt x="117" y="59"/>
                        <a:pt x="116" y="56"/>
                      </a:cubicBezTo>
                      <a:cubicBezTo>
                        <a:pt x="113" y="51"/>
                        <a:pt x="108" y="50"/>
                        <a:pt x="104" y="50"/>
                      </a:cubicBezTo>
                      <a:cubicBezTo>
                        <a:pt x="104" y="50"/>
                        <a:pt x="104" y="50"/>
                        <a:pt x="103" y="50"/>
                      </a:cubicBezTo>
                      <a:cubicBezTo>
                        <a:pt x="98" y="50"/>
                        <a:pt x="95" y="52"/>
                        <a:pt x="93" y="56"/>
                      </a:cubicBezTo>
                      <a:cubicBezTo>
                        <a:pt x="92" y="58"/>
                        <a:pt x="92" y="59"/>
                        <a:pt x="91" y="59"/>
                      </a:cubicBezTo>
                      <a:cubicBezTo>
                        <a:pt x="90" y="59"/>
                        <a:pt x="90" y="59"/>
                        <a:pt x="90" y="60"/>
                      </a:cubicBezTo>
                      <a:cubicBezTo>
                        <a:pt x="88" y="60"/>
                        <a:pt x="86" y="60"/>
                        <a:pt x="84" y="62"/>
                      </a:cubicBezTo>
                      <a:cubicBezTo>
                        <a:pt x="82" y="64"/>
                        <a:pt x="82" y="67"/>
                        <a:pt x="81" y="69"/>
                      </a:cubicBezTo>
                      <a:cubicBezTo>
                        <a:pt x="81" y="70"/>
                        <a:pt x="81" y="71"/>
                        <a:pt x="81" y="71"/>
                      </a:cubicBezTo>
                      <a:cubicBezTo>
                        <a:pt x="80" y="72"/>
                        <a:pt x="80" y="73"/>
                        <a:pt x="80" y="73"/>
                      </a:cubicBezTo>
                      <a:cubicBezTo>
                        <a:pt x="80" y="73"/>
                        <a:pt x="79" y="73"/>
                        <a:pt x="79" y="72"/>
                      </a:cubicBezTo>
                      <a:cubicBezTo>
                        <a:pt x="78" y="71"/>
                        <a:pt x="76" y="70"/>
                        <a:pt x="74" y="69"/>
                      </a:cubicBezTo>
                      <a:cubicBezTo>
                        <a:pt x="73" y="69"/>
                        <a:pt x="73" y="69"/>
                        <a:pt x="73" y="69"/>
                      </a:cubicBezTo>
                      <a:cubicBezTo>
                        <a:pt x="72" y="69"/>
                        <a:pt x="70" y="70"/>
                        <a:pt x="69" y="71"/>
                      </a:cubicBezTo>
                      <a:cubicBezTo>
                        <a:pt x="69" y="71"/>
                        <a:pt x="69" y="71"/>
                        <a:pt x="69" y="71"/>
                      </a:cubicBezTo>
                      <a:cubicBezTo>
                        <a:pt x="68" y="71"/>
                        <a:pt x="67" y="72"/>
                        <a:pt x="67" y="72"/>
                      </a:cubicBezTo>
                      <a:cubicBezTo>
                        <a:pt x="65" y="72"/>
                        <a:pt x="64" y="73"/>
                        <a:pt x="63" y="73"/>
                      </a:cubicBezTo>
                      <a:cubicBezTo>
                        <a:pt x="62" y="74"/>
                        <a:pt x="61" y="74"/>
                        <a:pt x="60" y="74"/>
                      </a:cubicBezTo>
                      <a:cubicBezTo>
                        <a:pt x="60" y="74"/>
                        <a:pt x="59" y="74"/>
                        <a:pt x="59" y="74"/>
                      </a:cubicBezTo>
                      <a:cubicBezTo>
                        <a:pt x="58" y="74"/>
                        <a:pt x="57" y="74"/>
                        <a:pt x="56" y="73"/>
                      </a:cubicBezTo>
                      <a:cubicBezTo>
                        <a:pt x="56" y="73"/>
                        <a:pt x="56" y="73"/>
                        <a:pt x="56" y="73"/>
                      </a:cubicBezTo>
                      <a:cubicBezTo>
                        <a:pt x="56" y="73"/>
                        <a:pt x="56" y="73"/>
                        <a:pt x="56" y="73"/>
                      </a:cubicBezTo>
                      <a:cubicBezTo>
                        <a:pt x="56" y="72"/>
                        <a:pt x="56" y="71"/>
                        <a:pt x="56" y="70"/>
                      </a:cubicBezTo>
                      <a:cubicBezTo>
                        <a:pt x="57" y="70"/>
                        <a:pt x="57" y="69"/>
                        <a:pt x="57" y="69"/>
                      </a:cubicBezTo>
                      <a:cubicBezTo>
                        <a:pt x="57" y="68"/>
                        <a:pt x="57" y="68"/>
                        <a:pt x="58" y="67"/>
                      </a:cubicBezTo>
                      <a:cubicBezTo>
                        <a:pt x="59" y="65"/>
                        <a:pt x="61" y="60"/>
                        <a:pt x="57" y="57"/>
                      </a:cubicBezTo>
                      <a:cubicBezTo>
                        <a:pt x="55" y="56"/>
                        <a:pt x="53" y="56"/>
                        <a:pt x="52" y="56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8" y="56"/>
                        <a:pt x="48" y="56"/>
                      </a:cubicBezTo>
                      <a:cubicBezTo>
                        <a:pt x="47" y="56"/>
                        <a:pt x="44" y="56"/>
                        <a:pt x="43" y="58"/>
                      </a:cubicBezTo>
                      <a:cubicBezTo>
                        <a:pt x="42" y="59"/>
                        <a:pt x="42" y="60"/>
                        <a:pt x="42" y="60"/>
                      </a:cubicBezTo>
                      <a:cubicBezTo>
                        <a:pt x="42" y="61"/>
                        <a:pt x="41" y="61"/>
                        <a:pt x="41" y="61"/>
                      </a:cubicBezTo>
                      <a:cubicBezTo>
                        <a:pt x="41" y="61"/>
                        <a:pt x="41" y="61"/>
                        <a:pt x="40" y="62"/>
                      </a:cubicBezTo>
                      <a:cubicBezTo>
                        <a:pt x="38" y="62"/>
                        <a:pt x="35" y="63"/>
                        <a:pt x="35" y="67"/>
                      </a:cubicBezTo>
                      <a:cubicBezTo>
                        <a:pt x="34" y="68"/>
                        <a:pt x="34" y="69"/>
                        <a:pt x="34" y="70"/>
                      </a:cubicBezTo>
                      <a:cubicBezTo>
                        <a:pt x="34" y="72"/>
                        <a:pt x="34" y="74"/>
                        <a:pt x="34" y="76"/>
                      </a:cubicBezTo>
                      <a:cubicBezTo>
                        <a:pt x="34" y="76"/>
                        <a:pt x="34" y="76"/>
                        <a:pt x="34" y="76"/>
                      </a:cubicBezTo>
                      <a:cubicBezTo>
                        <a:pt x="34" y="77"/>
                        <a:pt x="34" y="78"/>
                        <a:pt x="33" y="79"/>
                      </a:cubicBezTo>
                      <a:cubicBezTo>
                        <a:pt x="33" y="78"/>
                        <a:pt x="32" y="76"/>
                        <a:pt x="32" y="74"/>
                      </a:cubicBezTo>
                      <a:cubicBezTo>
                        <a:pt x="31" y="70"/>
                        <a:pt x="31" y="66"/>
                        <a:pt x="31" y="62"/>
                      </a:cubicBezTo>
                      <a:cubicBezTo>
                        <a:pt x="31" y="60"/>
                        <a:pt x="31" y="59"/>
                        <a:pt x="31" y="57"/>
                      </a:cubicBezTo>
                      <a:cubicBezTo>
                        <a:pt x="31" y="56"/>
                        <a:pt x="32" y="54"/>
                        <a:pt x="32" y="53"/>
                      </a:cubicBezTo>
                      <a:cubicBezTo>
                        <a:pt x="32" y="50"/>
                        <a:pt x="32" y="47"/>
                        <a:pt x="32" y="44"/>
                      </a:cubicBezTo>
                      <a:cubicBezTo>
                        <a:pt x="31" y="42"/>
                        <a:pt x="31" y="39"/>
                        <a:pt x="30" y="37"/>
                      </a:cubicBezTo>
                      <a:cubicBezTo>
                        <a:pt x="29" y="37"/>
                        <a:pt x="29" y="36"/>
                        <a:pt x="30" y="35"/>
                      </a:cubicBezTo>
                      <a:cubicBezTo>
                        <a:pt x="33" y="32"/>
                        <a:pt x="33" y="27"/>
                        <a:pt x="32" y="23"/>
                      </a:cubicBezTo>
                      <a:cubicBezTo>
                        <a:pt x="32" y="19"/>
                        <a:pt x="29" y="17"/>
                        <a:pt x="25" y="17"/>
                      </a:cubicBezTo>
                      <a:cubicBezTo>
                        <a:pt x="26" y="16"/>
                        <a:pt x="27" y="16"/>
                        <a:pt x="27" y="16"/>
                      </a:cubicBezTo>
                      <a:cubicBezTo>
                        <a:pt x="29" y="15"/>
                        <a:pt x="31" y="14"/>
                        <a:pt x="31" y="12"/>
                      </a:cubicBezTo>
                      <a:cubicBezTo>
                        <a:pt x="32" y="11"/>
                        <a:pt x="32" y="9"/>
                        <a:pt x="32" y="8"/>
                      </a:cubicBezTo>
                      <a:cubicBezTo>
                        <a:pt x="32" y="8"/>
                        <a:pt x="31" y="7"/>
                        <a:pt x="31" y="7"/>
                      </a:cubicBezTo>
                      <a:cubicBezTo>
                        <a:pt x="31" y="7"/>
                        <a:pt x="32" y="7"/>
                        <a:pt x="32" y="6"/>
                      </a:cubicBezTo>
                      <a:cubicBezTo>
                        <a:pt x="32" y="6"/>
                        <a:pt x="32" y="3"/>
                        <a:pt x="30" y="1"/>
                      </a:cubicBezTo>
                      <a:cubicBezTo>
                        <a:pt x="28" y="0"/>
                        <a:pt x="27" y="0"/>
                        <a:pt x="26" y="0"/>
                      </a:cubicBezTo>
                      <a:cubicBezTo>
                        <a:pt x="23" y="0"/>
                        <a:pt x="21" y="1"/>
                        <a:pt x="19" y="2"/>
                      </a:cubicBezTo>
                      <a:cubicBezTo>
                        <a:pt x="18" y="3"/>
                        <a:pt x="18" y="4"/>
                        <a:pt x="17" y="5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5"/>
                        <a:pt x="17" y="5"/>
                        <a:pt x="16" y="5"/>
                      </a:cubicBezTo>
                      <a:cubicBezTo>
                        <a:pt x="15" y="5"/>
                        <a:pt x="14" y="5"/>
                        <a:pt x="13" y="6"/>
                      </a:cubicBezTo>
                      <a:cubicBezTo>
                        <a:pt x="13" y="6"/>
                        <a:pt x="12" y="7"/>
                        <a:pt x="12" y="7"/>
                      </a:cubicBezTo>
                      <a:cubicBezTo>
                        <a:pt x="11" y="8"/>
                        <a:pt x="10" y="9"/>
                        <a:pt x="10" y="10"/>
                      </a:cubicBezTo>
                      <a:cubicBezTo>
                        <a:pt x="9" y="11"/>
                        <a:pt x="9" y="11"/>
                        <a:pt x="9" y="11"/>
                      </a:cubicBezTo>
                      <a:cubicBezTo>
                        <a:pt x="8" y="13"/>
                        <a:pt x="7" y="15"/>
                        <a:pt x="6" y="16"/>
                      </a:cubicBezTo>
                      <a:cubicBezTo>
                        <a:pt x="6" y="16"/>
                        <a:pt x="5" y="17"/>
                        <a:pt x="5" y="18"/>
                      </a:cubicBezTo>
                      <a:cubicBezTo>
                        <a:pt x="3" y="19"/>
                        <a:pt x="2" y="20"/>
                        <a:pt x="1" y="21"/>
                      </a:cubicBezTo>
                      <a:cubicBezTo>
                        <a:pt x="0" y="23"/>
                        <a:pt x="0" y="26"/>
                        <a:pt x="0" y="27"/>
                      </a:cubicBezTo>
                      <a:cubicBezTo>
                        <a:pt x="0" y="28"/>
                        <a:pt x="0" y="30"/>
                        <a:pt x="0" y="30"/>
                      </a:cubicBezTo>
                      <a:cubicBezTo>
                        <a:pt x="0" y="32"/>
                        <a:pt x="0" y="34"/>
                        <a:pt x="0" y="35"/>
                      </a:cubicBezTo>
                      <a:cubicBezTo>
                        <a:pt x="0" y="36"/>
                        <a:pt x="0" y="37"/>
                        <a:pt x="0" y="37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39"/>
                        <a:pt x="0" y="41"/>
                        <a:pt x="1" y="43"/>
                      </a:cubicBezTo>
                      <a:cubicBezTo>
                        <a:pt x="2" y="44"/>
                        <a:pt x="3" y="45"/>
                        <a:pt x="3" y="47"/>
                      </a:cubicBezTo>
                      <a:cubicBezTo>
                        <a:pt x="3" y="48"/>
                        <a:pt x="3" y="49"/>
                        <a:pt x="2" y="50"/>
                      </a:cubicBezTo>
                      <a:cubicBezTo>
                        <a:pt x="1" y="52"/>
                        <a:pt x="1" y="54"/>
                        <a:pt x="1" y="56"/>
                      </a:cubicBezTo>
                      <a:cubicBezTo>
                        <a:pt x="0" y="59"/>
                        <a:pt x="1" y="61"/>
                        <a:pt x="1" y="62"/>
                      </a:cubicBezTo>
                      <a:cubicBezTo>
                        <a:pt x="1" y="63"/>
                        <a:pt x="1" y="64"/>
                        <a:pt x="2" y="64"/>
                      </a:cubicBezTo>
                      <a:cubicBezTo>
                        <a:pt x="2" y="66"/>
                        <a:pt x="2" y="68"/>
                        <a:pt x="2" y="70"/>
                      </a:cubicBezTo>
                      <a:cubicBezTo>
                        <a:pt x="2" y="71"/>
                        <a:pt x="2" y="71"/>
                        <a:pt x="2" y="71"/>
                      </a:cubicBezTo>
                      <a:cubicBezTo>
                        <a:pt x="2" y="73"/>
                        <a:pt x="3" y="75"/>
                        <a:pt x="3" y="77"/>
                      </a:cubicBezTo>
                      <a:cubicBezTo>
                        <a:pt x="3" y="77"/>
                        <a:pt x="3" y="78"/>
                        <a:pt x="3" y="79"/>
                      </a:cubicBezTo>
                      <a:cubicBezTo>
                        <a:pt x="4" y="82"/>
                        <a:pt x="4" y="85"/>
                        <a:pt x="4" y="88"/>
                      </a:cubicBezTo>
                      <a:cubicBezTo>
                        <a:pt x="4" y="89"/>
                        <a:pt x="4" y="90"/>
                        <a:pt x="4" y="91"/>
                      </a:cubicBezTo>
                      <a:cubicBezTo>
                        <a:pt x="4" y="94"/>
                        <a:pt x="5" y="97"/>
                        <a:pt x="6" y="100"/>
                      </a:cubicBezTo>
                      <a:cubicBezTo>
                        <a:pt x="6" y="101"/>
                        <a:pt x="7" y="101"/>
                        <a:pt x="7" y="102"/>
                      </a:cubicBezTo>
                      <a:cubicBezTo>
                        <a:pt x="6" y="102"/>
                        <a:pt x="6" y="103"/>
                        <a:pt x="5" y="104"/>
                      </a:cubicBezTo>
                      <a:cubicBezTo>
                        <a:pt x="3" y="107"/>
                        <a:pt x="3" y="113"/>
                        <a:pt x="6" y="116"/>
                      </a:cubicBezTo>
                      <a:cubicBezTo>
                        <a:pt x="8" y="118"/>
                        <a:pt x="11" y="118"/>
                        <a:pt x="13" y="118"/>
                      </a:cubicBezTo>
                      <a:cubicBezTo>
                        <a:pt x="14" y="118"/>
                        <a:pt x="15" y="118"/>
                        <a:pt x="15" y="119"/>
                      </a:cubicBezTo>
                      <a:cubicBezTo>
                        <a:pt x="16" y="119"/>
                        <a:pt x="16" y="120"/>
                        <a:pt x="16" y="121"/>
                      </a:cubicBezTo>
                      <a:cubicBezTo>
                        <a:pt x="16" y="121"/>
                        <a:pt x="16" y="121"/>
                        <a:pt x="15" y="121"/>
                      </a:cubicBezTo>
                      <a:cubicBezTo>
                        <a:pt x="15" y="121"/>
                        <a:pt x="14" y="121"/>
                        <a:pt x="14" y="121"/>
                      </a:cubicBezTo>
                      <a:cubicBezTo>
                        <a:pt x="11" y="121"/>
                        <a:pt x="10" y="122"/>
                        <a:pt x="8" y="123"/>
                      </a:cubicBezTo>
                      <a:cubicBezTo>
                        <a:pt x="4" y="127"/>
                        <a:pt x="4" y="132"/>
                        <a:pt x="4" y="135"/>
                      </a:cubicBezTo>
                      <a:cubicBezTo>
                        <a:pt x="4" y="135"/>
                        <a:pt x="4" y="135"/>
                        <a:pt x="4" y="136"/>
                      </a:cubicBezTo>
                      <a:cubicBezTo>
                        <a:pt x="4" y="137"/>
                        <a:pt x="4" y="138"/>
                        <a:pt x="4" y="140"/>
                      </a:cubicBezTo>
                      <a:cubicBezTo>
                        <a:pt x="5" y="143"/>
                        <a:pt x="10" y="147"/>
                        <a:pt x="13" y="147"/>
                      </a:cubicBezTo>
                      <a:cubicBezTo>
                        <a:pt x="13" y="147"/>
                        <a:pt x="14" y="147"/>
                        <a:pt x="14" y="147"/>
                      </a:cubicBezTo>
                      <a:cubicBezTo>
                        <a:pt x="14" y="147"/>
                        <a:pt x="14" y="147"/>
                        <a:pt x="15" y="147"/>
                      </a:cubicBezTo>
                      <a:cubicBezTo>
                        <a:pt x="15" y="147"/>
                        <a:pt x="15" y="148"/>
                        <a:pt x="15" y="148"/>
                      </a:cubicBezTo>
                      <a:cubicBezTo>
                        <a:pt x="15" y="152"/>
                        <a:pt x="13" y="157"/>
                        <a:pt x="11" y="161"/>
                      </a:cubicBezTo>
                      <a:cubicBezTo>
                        <a:pt x="10" y="162"/>
                        <a:pt x="9" y="163"/>
                        <a:pt x="9" y="164"/>
                      </a:cubicBezTo>
                      <a:cubicBezTo>
                        <a:pt x="6" y="170"/>
                        <a:pt x="5" y="179"/>
                        <a:pt x="9" y="185"/>
                      </a:cubicBezTo>
                      <a:cubicBezTo>
                        <a:pt x="10" y="187"/>
                        <a:pt x="13" y="190"/>
                        <a:pt x="19" y="190"/>
                      </a:cubicBezTo>
                      <a:cubicBezTo>
                        <a:pt x="19" y="190"/>
                        <a:pt x="20" y="190"/>
                        <a:pt x="21" y="190"/>
                      </a:cubicBezTo>
                      <a:cubicBezTo>
                        <a:pt x="26" y="190"/>
                        <a:pt x="29" y="186"/>
                        <a:pt x="32" y="182"/>
                      </a:cubicBezTo>
                      <a:cubicBezTo>
                        <a:pt x="32" y="182"/>
                        <a:pt x="33" y="181"/>
                        <a:pt x="33" y="181"/>
                      </a:cubicBezTo>
                      <a:cubicBezTo>
                        <a:pt x="36" y="177"/>
                        <a:pt x="39" y="175"/>
                        <a:pt x="43" y="173"/>
                      </a:cubicBezTo>
                      <a:cubicBezTo>
                        <a:pt x="46" y="172"/>
                        <a:pt x="48" y="171"/>
                        <a:pt x="52" y="169"/>
                      </a:cubicBezTo>
                      <a:cubicBezTo>
                        <a:pt x="54" y="169"/>
                        <a:pt x="57" y="168"/>
                        <a:pt x="59" y="167"/>
                      </a:cubicBezTo>
                      <a:cubicBezTo>
                        <a:pt x="62" y="166"/>
                        <a:pt x="65" y="165"/>
                        <a:pt x="68" y="164"/>
                      </a:cubicBezTo>
                      <a:cubicBezTo>
                        <a:pt x="73" y="163"/>
                        <a:pt x="78" y="161"/>
                        <a:pt x="81" y="156"/>
                      </a:cubicBezTo>
                      <a:cubicBezTo>
                        <a:pt x="82" y="155"/>
                        <a:pt x="82" y="153"/>
                        <a:pt x="83" y="152"/>
                      </a:cubicBezTo>
                      <a:cubicBezTo>
                        <a:pt x="83" y="152"/>
                        <a:pt x="83" y="151"/>
                        <a:pt x="84" y="151"/>
                      </a:cubicBezTo>
                      <a:cubicBezTo>
                        <a:pt x="84" y="150"/>
                        <a:pt x="84" y="150"/>
                        <a:pt x="84" y="150"/>
                      </a:cubicBezTo>
                      <a:cubicBezTo>
                        <a:pt x="85" y="148"/>
                        <a:pt x="85" y="148"/>
                        <a:pt x="86" y="148"/>
                      </a:cubicBezTo>
                      <a:cubicBezTo>
                        <a:pt x="86" y="147"/>
                        <a:pt x="87" y="147"/>
                        <a:pt x="87" y="147"/>
                      </a:cubicBezTo>
                      <a:cubicBezTo>
                        <a:pt x="88" y="147"/>
                        <a:pt x="89" y="147"/>
                        <a:pt x="89" y="146"/>
                      </a:cubicBezTo>
                      <a:cubicBezTo>
                        <a:pt x="91" y="145"/>
                        <a:pt x="92" y="144"/>
                        <a:pt x="92" y="144"/>
                      </a:cubicBezTo>
                      <a:cubicBezTo>
                        <a:pt x="92" y="143"/>
                        <a:pt x="93" y="143"/>
                        <a:pt x="93" y="143"/>
                      </a:cubicBezTo>
                      <a:cubicBezTo>
                        <a:pt x="93" y="143"/>
                        <a:pt x="93" y="144"/>
                        <a:pt x="93" y="144"/>
                      </a:cubicBezTo>
                      <a:cubicBezTo>
                        <a:pt x="93" y="145"/>
                        <a:pt x="93" y="145"/>
                        <a:pt x="93" y="145"/>
                      </a:cubicBezTo>
                      <a:cubicBezTo>
                        <a:pt x="93" y="146"/>
                        <a:pt x="93" y="149"/>
                        <a:pt x="96" y="150"/>
                      </a:cubicBezTo>
                      <a:cubicBezTo>
                        <a:pt x="96" y="151"/>
                        <a:pt x="97" y="151"/>
                        <a:pt x="98" y="151"/>
                      </a:cubicBezTo>
                      <a:cubicBezTo>
                        <a:pt x="99" y="151"/>
                        <a:pt x="99" y="151"/>
                        <a:pt x="100" y="151"/>
                      </a:cubicBezTo>
                      <a:cubicBezTo>
                        <a:pt x="100" y="151"/>
                        <a:pt x="100" y="151"/>
                        <a:pt x="100" y="151"/>
                      </a:cubicBezTo>
                      <a:cubicBezTo>
                        <a:pt x="104" y="151"/>
                        <a:pt x="108" y="149"/>
                        <a:pt x="110" y="146"/>
                      </a:cubicBezTo>
                      <a:cubicBezTo>
                        <a:pt x="110" y="145"/>
                        <a:pt x="110" y="145"/>
                        <a:pt x="110" y="145"/>
                      </a:cubicBezTo>
                      <a:cubicBezTo>
                        <a:pt x="111" y="146"/>
                        <a:pt x="111" y="146"/>
                        <a:pt x="111" y="146"/>
                      </a:cubicBezTo>
                      <a:cubicBezTo>
                        <a:pt x="112" y="147"/>
                        <a:pt x="113" y="147"/>
                        <a:pt x="113" y="147"/>
                      </a:cubicBezTo>
                      <a:cubicBezTo>
                        <a:pt x="113" y="148"/>
                        <a:pt x="113" y="149"/>
                        <a:pt x="111" y="151"/>
                      </a:cubicBezTo>
                      <a:cubicBezTo>
                        <a:pt x="110" y="153"/>
                        <a:pt x="109" y="155"/>
                        <a:pt x="107" y="157"/>
                      </a:cubicBezTo>
                      <a:cubicBezTo>
                        <a:pt x="107" y="158"/>
                        <a:pt x="106" y="158"/>
                        <a:pt x="105" y="159"/>
                      </a:cubicBezTo>
                      <a:cubicBezTo>
                        <a:pt x="104" y="162"/>
                        <a:pt x="104" y="163"/>
                        <a:pt x="104" y="165"/>
                      </a:cubicBezTo>
                      <a:cubicBezTo>
                        <a:pt x="105" y="166"/>
                        <a:pt x="105" y="166"/>
                        <a:pt x="105" y="166"/>
                      </a:cubicBezTo>
                      <a:cubicBezTo>
                        <a:pt x="105" y="166"/>
                        <a:pt x="105" y="166"/>
                        <a:pt x="105" y="167"/>
                      </a:cubicBezTo>
                      <a:cubicBezTo>
                        <a:pt x="105" y="167"/>
                        <a:pt x="105" y="168"/>
                        <a:pt x="105" y="169"/>
                      </a:cubicBezTo>
                      <a:cubicBezTo>
                        <a:pt x="105" y="171"/>
                        <a:pt x="107" y="172"/>
                        <a:pt x="110" y="172"/>
                      </a:cubicBezTo>
                      <a:cubicBezTo>
                        <a:pt x="112" y="172"/>
                        <a:pt x="114" y="172"/>
                        <a:pt x="115" y="171"/>
                      </a:cubicBezTo>
                      <a:cubicBezTo>
                        <a:pt x="116" y="170"/>
                        <a:pt x="117" y="169"/>
                        <a:pt x="118" y="168"/>
                      </a:cubicBezTo>
                      <a:cubicBezTo>
                        <a:pt x="118" y="167"/>
                        <a:pt x="119" y="167"/>
                        <a:pt x="119" y="166"/>
                      </a:cubicBezTo>
                      <a:cubicBezTo>
                        <a:pt x="120" y="166"/>
                        <a:pt x="121" y="166"/>
                        <a:pt x="121" y="166"/>
                      </a:cubicBezTo>
                      <a:cubicBezTo>
                        <a:pt x="123" y="166"/>
                        <a:pt x="125" y="165"/>
                        <a:pt x="126" y="164"/>
                      </a:cubicBezTo>
                      <a:cubicBezTo>
                        <a:pt x="127" y="162"/>
                        <a:pt x="128" y="161"/>
                        <a:pt x="128" y="160"/>
                      </a:cubicBezTo>
                      <a:cubicBezTo>
                        <a:pt x="128" y="159"/>
                        <a:pt x="128" y="159"/>
                        <a:pt x="128" y="159"/>
                      </a:cubicBezTo>
                      <a:cubicBezTo>
                        <a:pt x="128" y="158"/>
                        <a:pt x="129" y="157"/>
                        <a:pt x="129" y="156"/>
                      </a:cubicBezTo>
                      <a:cubicBezTo>
                        <a:pt x="129" y="155"/>
                        <a:pt x="129" y="155"/>
                        <a:pt x="129" y="155"/>
                      </a:cubicBezTo>
                      <a:cubicBezTo>
                        <a:pt x="129" y="154"/>
                        <a:pt x="129" y="153"/>
                        <a:pt x="130" y="152"/>
                      </a:cubicBezTo>
                      <a:cubicBezTo>
                        <a:pt x="130" y="150"/>
                        <a:pt x="129" y="149"/>
                        <a:pt x="129" y="147"/>
                      </a:cubicBezTo>
                      <a:cubicBezTo>
                        <a:pt x="129" y="147"/>
                        <a:pt x="128" y="147"/>
                        <a:pt x="128" y="146"/>
                      </a:cubicBezTo>
                      <a:cubicBezTo>
                        <a:pt x="127" y="142"/>
                        <a:pt x="127" y="138"/>
                        <a:pt x="129" y="135"/>
                      </a:cubicBezTo>
                      <a:cubicBezTo>
                        <a:pt x="130" y="134"/>
                        <a:pt x="131" y="133"/>
                        <a:pt x="131" y="132"/>
                      </a:cubicBezTo>
                      <a:cubicBezTo>
                        <a:pt x="133" y="130"/>
                        <a:pt x="135" y="127"/>
                        <a:pt x="135" y="122"/>
                      </a:cubicBezTo>
                      <a:cubicBezTo>
                        <a:pt x="135" y="121"/>
                        <a:pt x="135" y="120"/>
                        <a:pt x="135" y="118"/>
                      </a:cubicBezTo>
                      <a:cubicBezTo>
                        <a:pt x="134" y="117"/>
                        <a:pt x="134" y="116"/>
                        <a:pt x="134" y="115"/>
                      </a:cubicBezTo>
                      <a:cubicBezTo>
                        <a:pt x="134" y="115"/>
                        <a:pt x="134" y="115"/>
                        <a:pt x="134" y="115"/>
                      </a:cubicBezTo>
                      <a:cubicBezTo>
                        <a:pt x="142" y="116"/>
                        <a:pt x="145" y="130"/>
                        <a:pt x="145" y="137"/>
                      </a:cubicBezTo>
                      <a:cubicBezTo>
                        <a:pt x="145" y="141"/>
                        <a:pt x="147" y="148"/>
                        <a:pt x="152" y="148"/>
                      </a:cubicBezTo>
                      <a:cubicBezTo>
                        <a:pt x="154" y="148"/>
                        <a:pt x="156" y="146"/>
                        <a:pt x="158" y="143"/>
                      </a:cubicBezTo>
                      <a:cubicBezTo>
                        <a:pt x="159" y="141"/>
                        <a:pt x="159" y="140"/>
                        <a:pt x="160" y="138"/>
                      </a:cubicBezTo>
                      <a:cubicBezTo>
                        <a:pt x="160" y="138"/>
                        <a:pt x="160" y="138"/>
                        <a:pt x="160" y="138"/>
                      </a:cubicBezTo>
                      <a:cubicBezTo>
                        <a:pt x="160" y="139"/>
                        <a:pt x="161" y="140"/>
                        <a:pt x="161" y="140"/>
                      </a:cubicBezTo>
                      <a:cubicBezTo>
                        <a:pt x="162" y="140"/>
                        <a:pt x="162" y="141"/>
                        <a:pt x="162" y="141"/>
                      </a:cubicBezTo>
                      <a:cubicBezTo>
                        <a:pt x="162" y="142"/>
                        <a:pt x="162" y="142"/>
                        <a:pt x="162" y="143"/>
                      </a:cubicBezTo>
                      <a:cubicBezTo>
                        <a:pt x="163" y="145"/>
                        <a:pt x="166" y="147"/>
                        <a:pt x="168" y="147"/>
                      </a:cubicBezTo>
                      <a:cubicBezTo>
                        <a:pt x="170" y="147"/>
                        <a:pt x="172" y="147"/>
                        <a:pt x="172" y="145"/>
                      </a:cubicBezTo>
                      <a:cubicBezTo>
                        <a:pt x="173" y="144"/>
                        <a:pt x="173" y="143"/>
                        <a:pt x="173" y="142"/>
                      </a:cubicBezTo>
                      <a:cubicBezTo>
                        <a:pt x="174" y="141"/>
                        <a:pt x="174" y="141"/>
                        <a:pt x="174" y="140"/>
                      </a:cubicBezTo>
                      <a:cubicBezTo>
                        <a:pt x="175" y="140"/>
                        <a:pt x="176" y="140"/>
                        <a:pt x="176" y="140"/>
                      </a:cubicBezTo>
                      <a:cubicBezTo>
                        <a:pt x="178" y="139"/>
                        <a:pt x="180" y="138"/>
                        <a:pt x="181" y="137"/>
                      </a:cubicBezTo>
                      <a:cubicBezTo>
                        <a:pt x="184" y="133"/>
                        <a:pt x="182" y="130"/>
                        <a:pt x="181" y="12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9" name="Freeform 60">
                  <a:extLst>
                    <a:ext uri="{FF2B5EF4-FFF2-40B4-BE49-F238E27FC236}">
                      <a16:creationId xmlns:a16="http://schemas.microsoft.com/office/drawing/2014/main" id="{755D1C8B-DD6E-C242-8C76-64430D47603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472692" y="6625709"/>
                  <a:ext cx="1727573" cy="2221218"/>
                </a:xfrm>
                <a:custGeom>
                  <a:avLst/>
                  <a:gdLst>
                    <a:gd name="T0" fmla="*/ 309 w 317"/>
                    <a:gd name="T1" fmla="*/ 141 h 448"/>
                    <a:gd name="T2" fmla="*/ 303 w 317"/>
                    <a:gd name="T3" fmla="*/ 138 h 448"/>
                    <a:gd name="T4" fmla="*/ 291 w 317"/>
                    <a:gd name="T5" fmla="*/ 135 h 448"/>
                    <a:gd name="T6" fmla="*/ 282 w 317"/>
                    <a:gd name="T7" fmla="*/ 129 h 448"/>
                    <a:gd name="T8" fmla="*/ 261 w 317"/>
                    <a:gd name="T9" fmla="*/ 129 h 448"/>
                    <a:gd name="T10" fmla="*/ 240 w 317"/>
                    <a:gd name="T11" fmla="*/ 136 h 448"/>
                    <a:gd name="T12" fmla="*/ 241 w 317"/>
                    <a:gd name="T13" fmla="*/ 131 h 448"/>
                    <a:gd name="T14" fmla="*/ 240 w 317"/>
                    <a:gd name="T15" fmla="*/ 107 h 448"/>
                    <a:gd name="T16" fmla="*/ 239 w 317"/>
                    <a:gd name="T17" fmla="*/ 104 h 448"/>
                    <a:gd name="T18" fmla="*/ 237 w 317"/>
                    <a:gd name="T19" fmla="*/ 93 h 448"/>
                    <a:gd name="T20" fmla="*/ 234 w 317"/>
                    <a:gd name="T21" fmla="*/ 84 h 448"/>
                    <a:gd name="T22" fmla="*/ 234 w 317"/>
                    <a:gd name="T23" fmla="*/ 76 h 448"/>
                    <a:gd name="T24" fmla="*/ 225 w 317"/>
                    <a:gd name="T25" fmla="*/ 66 h 448"/>
                    <a:gd name="T26" fmla="*/ 216 w 317"/>
                    <a:gd name="T27" fmla="*/ 67 h 448"/>
                    <a:gd name="T28" fmla="*/ 203 w 317"/>
                    <a:gd name="T29" fmla="*/ 63 h 448"/>
                    <a:gd name="T30" fmla="*/ 201 w 317"/>
                    <a:gd name="T31" fmla="*/ 52 h 448"/>
                    <a:gd name="T32" fmla="*/ 204 w 317"/>
                    <a:gd name="T33" fmla="*/ 28 h 448"/>
                    <a:gd name="T34" fmla="*/ 64 w 317"/>
                    <a:gd name="T35" fmla="*/ 0 h 448"/>
                    <a:gd name="T36" fmla="*/ 51 w 317"/>
                    <a:gd name="T37" fmla="*/ 86 h 448"/>
                    <a:gd name="T38" fmla="*/ 50 w 317"/>
                    <a:gd name="T39" fmla="*/ 89 h 448"/>
                    <a:gd name="T40" fmla="*/ 0 w 317"/>
                    <a:gd name="T41" fmla="*/ 426 h 448"/>
                    <a:gd name="T42" fmla="*/ 101 w 317"/>
                    <a:gd name="T43" fmla="*/ 442 h 448"/>
                    <a:gd name="T44" fmla="*/ 136 w 317"/>
                    <a:gd name="T45" fmla="*/ 447 h 448"/>
                    <a:gd name="T46" fmla="*/ 156 w 317"/>
                    <a:gd name="T47" fmla="*/ 447 h 448"/>
                    <a:gd name="T48" fmla="*/ 315 w 317"/>
                    <a:gd name="T49" fmla="*/ 147 h 448"/>
                    <a:gd name="T50" fmla="*/ 132 w 317"/>
                    <a:gd name="T51" fmla="*/ 369 h 448"/>
                    <a:gd name="T52" fmla="*/ 121 w 317"/>
                    <a:gd name="T53" fmla="*/ 382 h 448"/>
                    <a:gd name="T54" fmla="*/ 123 w 317"/>
                    <a:gd name="T55" fmla="*/ 364 h 448"/>
                    <a:gd name="T56" fmla="*/ 124 w 317"/>
                    <a:gd name="T57" fmla="*/ 355 h 448"/>
                    <a:gd name="T58" fmla="*/ 126 w 317"/>
                    <a:gd name="T59" fmla="*/ 349 h 448"/>
                    <a:gd name="T60" fmla="*/ 131 w 317"/>
                    <a:gd name="T61" fmla="*/ 351 h 448"/>
                    <a:gd name="T62" fmla="*/ 133 w 317"/>
                    <a:gd name="T63" fmla="*/ 360 h 448"/>
                    <a:gd name="T64" fmla="*/ 62 w 317"/>
                    <a:gd name="T65" fmla="*/ 245 h 448"/>
                    <a:gd name="T66" fmla="*/ 58 w 317"/>
                    <a:gd name="T67" fmla="*/ 247 h 448"/>
                    <a:gd name="T68" fmla="*/ 58 w 317"/>
                    <a:gd name="T69" fmla="*/ 238 h 448"/>
                    <a:gd name="T70" fmla="*/ 64 w 317"/>
                    <a:gd name="T71" fmla="*/ 244 h 448"/>
                    <a:gd name="T72" fmla="*/ 58 w 317"/>
                    <a:gd name="T73" fmla="*/ 257 h 448"/>
                    <a:gd name="T74" fmla="*/ 60 w 317"/>
                    <a:gd name="T75" fmla="*/ 267 h 448"/>
                    <a:gd name="T76" fmla="*/ 64 w 317"/>
                    <a:gd name="T77" fmla="*/ 270 h 448"/>
                    <a:gd name="T78" fmla="*/ 50 w 317"/>
                    <a:gd name="T79" fmla="*/ 261 h 448"/>
                    <a:gd name="T80" fmla="*/ 49 w 317"/>
                    <a:gd name="T81" fmla="*/ 255 h 448"/>
                    <a:gd name="T82" fmla="*/ 98 w 317"/>
                    <a:gd name="T83" fmla="*/ 306 h 448"/>
                    <a:gd name="T84" fmla="*/ 86 w 317"/>
                    <a:gd name="T85" fmla="*/ 284 h 448"/>
                    <a:gd name="T86" fmla="*/ 90 w 317"/>
                    <a:gd name="T87" fmla="*/ 284 h 448"/>
                    <a:gd name="T88" fmla="*/ 96 w 317"/>
                    <a:gd name="T89" fmla="*/ 274 h 448"/>
                    <a:gd name="T90" fmla="*/ 85 w 317"/>
                    <a:gd name="T91" fmla="*/ 273 h 448"/>
                    <a:gd name="T92" fmla="*/ 82 w 317"/>
                    <a:gd name="T93" fmla="*/ 267 h 448"/>
                    <a:gd name="T94" fmla="*/ 93 w 317"/>
                    <a:gd name="T95" fmla="*/ 249 h 448"/>
                    <a:gd name="T96" fmla="*/ 119 w 317"/>
                    <a:gd name="T97" fmla="*/ 305 h 448"/>
                    <a:gd name="T98" fmla="*/ 124 w 317"/>
                    <a:gd name="T99" fmla="*/ 325 h 448"/>
                    <a:gd name="T100" fmla="*/ 121 w 317"/>
                    <a:gd name="T101" fmla="*/ 333 h 448"/>
                    <a:gd name="T102" fmla="*/ 108 w 317"/>
                    <a:gd name="T103" fmla="*/ 314 h 448"/>
                    <a:gd name="T104" fmla="*/ 98 w 317"/>
                    <a:gd name="T105" fmla="*/ 306 h 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17" h="448">
                      <a:moveTo>
                        <a:pt x="313" y="142"/>
                      </a:moveTo>
                      <a:cubicBezTo>
                        <a:pt x="313" y="141"/>
                        <a:pt x="313" y="141"/>
                        <a:pt x="312" y="141"/>
                      </a:cubicBezTo>
                      <a:cubicBezTo>
                        <a:pt x="311" y="141"/>
                        <a:pt x="310" y="141"/>
                        <a:pt x="309" y="141"/>
                      </a:cubicBezTo>
                      <a:cubicBezTo>
                        <a:pt x="309" y="141"/>
                        <a:pt x="308" y="141"/>
                        <a:pt x="308" y="140"/>
                      </a:cubicBezTo>
                      <a:cubicBezTo>
                        <a:pt x="306" y="140"/>
                        <a:pt x="305" y="139"/>
                        <a:pt x="304" y="139"/>
                      </a:cubicBezTo>
                      <a:cubicBezTo>
                        <a:pt x="303" y="138"/>
                        <a:pt x="303" y="138"/>
                        <a:pt x="303" y="138"/>
                      </a:cubicBezTo>
                      <a:cubicBezTo>
                        <a:pt x="301" y="137"/>
                        <a:pt x="299" y="136"/>
                        <a:pt x="297" y="136"/>
                      </a:cubicBezTo>
                      <a:cubicBezTo>
                        <a:pt x="296" y="136"/>
                        <a:pt x="295" y="136"/>
                        <a:pt x="294" y="136"/>
                      </a:cubicBezTo>
                      <a:cubicBezTo>
                        <a:pt x="292" y="136"/>
                        <a:pt x="292" y="136"/>
                        <a:pt x="291" y="135"/>
                      </a:cubicBezTo>
                      <a:cubicBezTo>
                        <a:pt x="291" y="135"/>
                        <a:pt x="290" y="134"/>
                        <a:pt x="290" y="134"/>
                      </a:cubicBezTo>
                      <a:cubicBezTo>
                        <a:pt x="289" y="133"/>
                        <a:pt x="288" y="132"/>
                        <a:pt x="286" y="131"/>
                      </a:cubicBezTo>
                      <a:cubicBezTo>
                        <a:pt x="285" y="130"/>
                        <a:pt x="284" y="130"/>
                        <a:pt x="282" y="129"/>
                      </a:cubicBezTo>
                      <a:cubicBezTo>
                        <a:pt x="281" y="129"/>
                        <a:pt x="280" y="128"/>
                        <a:pt x="279" y="128"/>
                      </a:cubicBezTo>
                      <a:cubicBezTo>
                        <a:pt x="277" y="127"/>
                        <a:pt x="274" y="127"/>
                        <a:pt x="272" y="127"/>
                      </a:cubicBezTo>
                      <a:cubicBezTo>
                        <a:pt x="268" y="127"/>
                        <a:pt x="265" y="127"/>
                        <a:pt x="261" y="129"/>
                      </a:cubicBezTo>
                      <a:cubicBezTo>
                        <a:pt x="260" y="129"/>
                        <a:pt x="258" y="130"/>
                        <a:pt x="256" y="131"/>
                      </a:cubicBezTo>
                      <a:cubicBezTo>
                        <a:pt x="251" y="134"/>
                        <a:pt x="245" y="137"/>
                        <a:pt x="242" y="137"/>
                      </a:cubicBezTo>
                      <a:cubicBezTo>
                        <a:pt x="241" y="137"/>
                        <a:pt x="240" y="137"/>
                        <a:pt x="240" y="136"/>
                      </a:cubicBezTo>
                      <a:cubicBezTo>
                        <a:pt x="239" y="136"/>
                        <a:pt x="239" y="136"/>
                        <a:pt x="239" y="136"/>
                      </a:cubicBezTo>
                      <a:cubicBezTo>
                        <a:pt x="239" y="136"/>
                        <a:pt x="240" y="134"/>
                        <a:pt x="240" y="133"/>
                      </a:cubicBezTo>
                      <a:cubicBezTo>
                        <a:pt x="241" y="132"/>
                        <a:pt x="241" y="132"/>
                        <a:pt x="241" y="131"/>
                      </a:cubicBezTo>
                      <a:cubicBezTo>
                        <a:pt x="244" y="126"/>
                        <a:pt x="244" y="122"/>
                        <a:pt x="243" y="117"/>
                      </a:cubicBezTo>
                      <a:cubicBezTo>
                        <a:pt x="243" y="114"/>
                        <a:pt x="242" y="111"/>
                        <a:pt x="240" y="108"/>
                      </a:cubicBezTo>
                      <a:cubicBezTo>
                        <a:pt x="240" y="108"/>
                        <a:pt x="240" y="108"/>
                        <a:pt x="240" y="107"/>
                      </a:cubicBezTo>
                      <a:cubicBezTo>
                        <a:pt x="239" y="107"/>
                        <a:pt x="239" y="107"/>
                        <a:pt x="239" y="107"/>
                      </a:cubicBezTo>
                      <a:cubicBezTo>
                        <a:pt x="239" y="107"/>
                        <a:pt x="239" y="106"/>
                        <a:pt x="239" y="105"/>
                      </a:cubicBezTo>
                      <a:cubicBezTo>
                        <a:pt x="239" y="105"/>
                        <a:pt x="239" y="104"/>
                        <a:pt x="239" y="104"/>
                      </a:cubicBezTo>
                      <a:cubicBezTo>
                        <a:pt x="239" y="103"/>
                        <a:pt x="239" y="102"/>
                        <a:pt x="239" y="102"/>
                      </a:cubicBezTo>
                      <a:cubicBezTo>
                        <a:pt x="238" y="100"/>
                        <a:pt x="238" y="99"/>
                        <a:pt x="238" y="97"/>
                      </a:cubicBezTo>
                      <a:cubicBezTo>
                        <a:pt x="237" y="96"/>
                        <a:pt x="237" y="95"/>
                        <a:pt x="237" y="93"/>
                      </a:cubicBezTo>
                      <a:cubicBezTo>
                        <a:pt x="237" y="92"/>
                        <a:pt x="236" y="91"/>
                        <a:pt x="236" y="90"/>
                      </a:cubicBezTo>
                      <a:cubicBezTo>
                        <a:pt x="236" y="89"/>
                        <a:pt x="236" y="88"/>
                        <a:pt x="235" y="87"/>
                      </a:cubicBezTo>
                      <a:cubicBezTo>
                        <a:pt x="235" y="86"/>
                        <a:pt x="234" y="85"/>
                        <a:pt x="234" y="84"/>
                      </a:cubicBezTo>
                      <a:cubicBezTo>
                        <a:pt x="234" y="83"/>
                        <a:pt x="234" y="81"/>
                        <a:pt x="234" y="80"/>
                      </a:cubicBezTo>
                      <a:cubicBezTo>
                        <a:pt x="234" y="79"/>
                        <a:pt x="234" y="78"/>
                        <a:pt x="234" y="77"/>
                      </a:cubicBezTo>
                      <a:cubicBezTo>
                        <a:pt x="234" y="76"/>
                        <a:pt x="234" y="76"/>
                        <a:pt x="234" y="76"/>
                      </a:cubicBezTo>
                      <a:cubicBezTo>
                        <a:pt x="234" y="74"/>
                        <a:pt x="234" y="72"/>
                        <a:pt x="233" y="70"/>
                      </a:cubicBezTo>
                      <a:cubicBezTo>
                        <a:pt x="231" y="68"/>
                        <a:pt x="229" y="66"/>
                        <a:pt x="226" y="66"/>
                      </a:cubicBezTo>
                      <a:cubicBezTo>
                        <a:pt x="225" y="66"/>
                        <a:pt x="225" y="66"/>
                        <a:pt x="225" y="66"/>
                      </a:cubicBezTo>
                      <a:cubicBezTo>
                        <a:pt x="224" y="66"/>
                        <a:pt x="223" y="66"/>
                        <a:pt x="222" y="66"/>
                      </a:cubicBezTo>
                      <a:cubicBezTo>
                        <a:pt x="222" y="66"/>
                        <a:pt x="221" y="66"/>
                        <a:pt x="220" y="66"/>
                      </a:cubicBezTo>
                      <a:cubicBezTo>
                        <a:pt x="219" y="66"/>
                        <a:pt x="217" y="66"/>
                        <a:pt x="216" y="67"/>
                      </a:cubicBezTo>
                      <a:cubicBezTo>
                        <a:pt x="214" y="67"/>
                        <a:pt x="212" y="67"/>
                        <a:pt x="211" y="67"/>
                      </a:cubicBezTo>
                      <a:cubicBezTo>
                        <a:pt x="210" y="67"/>
                        <a:pt x="209" y="67"/>
                        <a:pt x="208" y="67"/>
                      </a:cubicBezTo>
                      <a:cubicBezTo>
                        <a:pt x="206" y="66"/>
                        <a:pt x="204" y="65"/>
                        <a:pt x="203" y="63"/>
                      </a:cubicBezTo>
                      <a:cubicBezTo>
                        <a:pt x="202" y="63"/>
                        <a:pt x="202" y="62"/>
                        <a:pt x="202" y="61"/>
                      </a:cubicBezTo>
                      <a:cubicBezTo>
                        <a:pt x="202" y="60"/>
                        <a:pt x="202" y="60"/>
                        <a:pt x="202" y="59"/>
                      </a:cubicBezTo>
                      <a:cubicBezTo>
                        <a:pt x="201" y="57"/>
                        <a:pt x="201" y="54"/>
                        <a:pt x="201" y="52"/>
                      </a:cubicBezTo>
                      <a:cubicBezTo>
                        <a:pt x="202" y="51"/>
                        <a:pt x="202" y="50"/>
                        <a:pt x="202" y="49"/>
                      </a:cubicBezTo>
                      <a:cubicBezTo>
                        <a:pt x="203" y="47"/>
                        <a:pt x="203" y="45"/>
                        <a:pt x="203" y="43"/>
                      </a:cubicBezTo>
                      <a:cubicBezTo>
                        <a:pt x="204" y="38"/>
                        <a:pt x="204" y="33"/>
                        <a:pt x="204" y="28"/>
                      </a:cubicBezTo>
                      <a:cubicBezTo>
                        <a:pt x="204" y="26"/>
                        <a:pt x="204" y="23"/>
                        <a:pt x="204" y="21"/>
                      </a:cubicBezTo>
                      <a:cubicBezTo>
                        <a:pt x="204" y="19"/>
                        <a:pt x="204" y="19"/>
                        <a:pt x="204" y="19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0" y="28"/>
                        <a:pt x="56" y="55"/>
                        <a:pt x="51" y="82"/>
                      </a:cubicBezTo>
                      <a:cubicBezTo>
                        <a:pt x="51" y="86"/>
                        <a:pt x="51" y="86"/>
                        <a:pt x="51" y="86"/>
                      </a:cubicBezTo>
                      <a:cubicBezTo>
                        <a:pt x="53" y="86"/>
                        <a:pt x="53" y="86"/>
                        <a:pt x="53" y="86"/>
                      </a:cubicBezTo>
                      <a:cubicBezTo>
                        <a:pt x="52" y="87"/>
                        <a:pt x="52" y="87"/>
                        <a:pt x="51" y="88"/>
                      </a:cubicBezTo>
                      <a:cubicBezTo>
                        <a:pt x="50" y="89"/>
                        <a:pt x="50" y="89"/>
                        <a:pt x="50" y="89"/>
                      </a:cubicBezTo>
                      <a:cubicBezTo>
                        <a:pt x="50" y="90"/>
                        <a:pt x="50" y="90"/>
                        <a:pt x="50" y="90"/>
                      </a:cubicBezTo>
                      <a:cubicBezTo>
                        <a:pt x="31" y="213"/>
                        <a:pt x="10" y="357"/>
                        <a:pt x="1" y="423"/>
                      </a:cubicBezTo>
                      <a:cubicBezTo>
                        <a:pt x="0" y="426"/>
                        <a:pt x="0" y="426"/>
                        <a:pt x="0" y="426"/>
                      </a:cubicBezTo>
                      <a:cubicBezTo>
                        <a:pt x="3" y="426"/>
                        <a:pt x="3" y="426"/>
                        <a:pt x="3" y="426"/>
                      </a:cubicBezTo>
                      <a:cubicBezTo>
                        <a:pt x="36" y="432"/>
                        <a:pt x="68" y="437"/>
                        <a:pt x="100" y="442"/>
                      </a:cubicBezTo>
                      <a:cubicBezTo>
                        <a:pt x="101" y="442"/>
                        <a:pt x="101" y="442"/>
                        <a:pt x="101" y="442"/>
                      </a:cubicBezTo>
                      <a:cubicBezTo>
                        <a:pt x="104" y="442"/>
                        <a:pt x="107" y="443"/>
                        <a:pt x="111" y="443"/>
                      </a:cubicBezTo>
                      <a:cubicBezTo>
                        <a:pt x="118" y="445"/>
                        <a:pt x="125" y="446"/>
                        <a:pt x="133" y="447"/>
                      </a:cubicBezTo>
                      <a:cubicBezTo>
                        <a:pt x="134" y="447"/>
                        <a:pt x="135" y="447"/>
                        <a:pt x="136" y="447"/>
                      </a:cubicBezTo>
                      <a:cubicBezTo>
                        <a:pt x="139" y="447"/>
                        <a:pt x="144" y="448"/>
                        <a:pt x="148" y="448"/>
                      </a:cubicBezTo>
                      <a:cubicBezTo>
                        <a:pt x="148" y="448"/>
                        <a:pt x="148" y="448"/>
                        <a:pt x="148" y="448"/>
                      </a:cubicBezTo>
                      <a:cubicBezTo>
                        <a:pt x="151" y="448"/>
                        <a:pt x="154" y="447"/>
                        <a:pt x="156" y="447"/>
                      </a:cubicBezTo>
                      <a:cubicBezTo>
                        <a:pt x="158" y="446"/>
                        <a:pt x="158" y="446"/>
                        <a:pt x="158" y="446"/>
                      </a:cubicBezTo>
                      <a:cubicBezTo>
                        <a:pt x="170" y="296"/>
                        <a:pt x="170" y="296"/>
                        <a:pt x="170" y="296"/>
                      </a:cubicBezTo>
                      <a:cubicBezTo>
                        <a:pt x="192" y="282"/>
                        <a:pt x="286" y="178"/>
                        <a:pt x="315" y="147"/>
                      </a:cubicBezTo>
                      <a:cubicBezTo>
                        <a:pt x="317" y="143"/>
                        <a:pt x="317" y="143"/>
                        <a:pt x="317" y="143"/>
                      </a:cubicBezTo>
                      <a:lnTo>
                        <a:pt x="313" y="142"/>
                      </a:lnTo>
                      <a:close/>
                      <a:moveTo>
                        <a:pt x="132" y="369"/>
                      </a:moveTo>
                      <a:cubicBezTo>
                        <a:pt x="132" y="371"/>
                        <a:pt x="132" y="373"/>
                        <a:pt x="131" y="375"/>
                      </a:cubicBezTo>
                      <a:cubicBezTo>
                        <a:pt x="129" y="379"/>
                        <a:pt x="125" y="383"/>
                        <a:pt x="123" y="383"/>
                      </a:cubicBezTo>
                      <a:cubicBezTo>
                        <a:pt x="123" y="383"/>
                        <a:pt x="122" y="383"/>
                        <a:pt x="121" y="382"/>
                      </a:cubicBezTo>
                      <a:cubicBezTo>
                        <a:pt x="120" y="380"/>
                        <a:pt x="121" y="378"/>
                        <a:pt x="122" y="375"/>
                      </a:cubicBezTo>
                      <a:cubicBezTo>
                        <a:pt x="123" y="372"/>
                        <a:pt x="123" y="370"/>
                        <a:pt x="123" y="368"/>
                      </a:cubicBezTo>
                      <a:cubicBezTo>
                        <a:pt x="123" y="366"/>
                        <a:pt x="123" y="365"/>
                        <a:pt x="123" y="364"/>
                      </a:cubicBezTo>
                      <a:cubicBezTo>
                        <a:pt x="123" y="364"/>
                        <a:pt x="124" y="364"/>
                        <a:pt x="124" y="363"/>
                      </a:cubicBezTo>
                      <a:cubicBezTo>
                        <a:pt x="124" y="362"/>
                        <a:pt x="125" y="361"/>
                        <a:pt x="125" y="359"/>
                      </a:cubicBezTo>
                      <a:cubicBezTo>
                        <a:pt x="125" y="358"/>
                        <a:pt x="125" y="356"/>
                        <a:pt x="124" y="355"/>
                      </a:cubicBezTo>
                      <a:cubicBezTo>
                        <a:pt x="124" y="355"/>
                        <a:pt x="124" y="354"/>
                        <a:pt x="123" y="353"/>
                      </a:cubicBezTo>
                      <a:cubicBezTo>
                        <a:pt x="123" y="353"/>
                        <a:pt x="124" y="352"/>
                        <a:pt x="125" y="350"/>
                      </a:cubicBezTo>
                      <a:cubicBezTo>
                        <a:pt x="126" y="349"/>
                        <a:pt x="126" y="349"/>
                        <a:pt x="126" y="349"/>
                      </a:cubicBezTo>
                      <a:cubicBezTo>
                        <a:pt x="127" y="347"/>
                        <a:pt x="128" y="346"/>
                        <a:pt x="129" y="345"/>
                      </a:cubicBezTo>
                      <a:cubicBezTo>
                        <a:pt x="130" y="346"/>
                        <a:pt x="130" y="347"/>
                        <a:pt x="130" y="347"/>
                      </a:cubicBezTo>
                      <a:cubicBezTo>
                        <a:pt x="130" y="348"/>
                        <a:pt x="131" y="350"/>
                        <a:pt x="131" y="351"/>
                      </a:cubicBezTo>
                      <a:cubicBezTo>
                        <a:pt x="132" y="351"/>
                        <a:pt x="132" y="352"/>
                        <a:pt x="132" y="353"/>
                      </a:cubicBezTo>
                      <a:cubicBezTo>
                        <a:pt x="134" y="355"/>
                        <a:pt x="134" y="356"/>
                        <a:pt x="134" y="357"/>
                      </a:cubicBezTo>
                      <a:cubicBezTo>
                        <a:pt x="134" y="358"/>
                        <a:pt x="133" y="359"/>
                        <a:pt x="133" y="360"/>
                      </a:cubicBezTo>
                      <a:cubicBezTo>
                        <a:pt x="133" y="362"/>
                        <a:pt x="132" y="364"/>
                        <a:pt x="132" y="367"/>
                      </a:cubicBezTo>
                      <a:cubicBezTo>
                        <a:pt x="132" y="367"/>
                        <a:pt x="132" y="368"/>
                        <a:pt x="132" y="369"/>
                      </a:cubicBezTo>
                      <a:close/>
                      <a:moveTo>
                        <a:pt x="62" y="245"/>
                      </a:moveTo>
                      <a:cubicBezTo>
                        <a:pt x="61" y="246"/>
                        <a:pt x="59" y="246"/>
                        <a:pt x="58" y="248"/>
                      </a:cubicBezTo>
                      <a:cubicBezTo>
                        <a:pt x="57" y="248"/>
                        <a:pt x="57" y="249"/>
                        <a:pt x="57" y="249"/>
                      </a:cubicBezTo>
                      <a:cubicBezTo>
                        <a:pt x="57" y="248"/>
                        <a:pt x="58" y="248"/>
                        <a:pt x="58" y="247"/>
                      </a:cubicBezTo>
                      <a:cubicBezTo>
                        <a:pt x="59" y="245"/>
                        <a:pt x="58" y="242"/>
                        <a:pt x="58" y="241"/>
                      </a:cubicBezTo>
                      <a:cubicBezTo>
                        <a:pt x="57" y="240"/>
                        <a:pt x="57" y="239"/>
                        <a:pt x="57" y="239"/>
                      </a:cubicBezTo>
                      <a:cubicBezTo>
                        <a:pt x="58" y="239"/>
                        <a:pt x="58" y="238"/>
                        <a:pt x="58" y="238"/>
                      </a:cubicBezTo>
                      <a:cubicBezTo>
                        <a:pt x="58" y="239"/>
                        <a:pt x="58" y="241"/>
                        <a:pt x="59" y="242"/>
                      </a:cubicBezTo>
                      <a:cubicBezTo>
                        <a:pt x="60" y="244"/>
                        <a:pt x="62" y="244"/>
                        <a:pt x="64" y="244"/>
                      </a:cubicBezTo>
                      <a:cubicBezTo>
                        <a:pt x="64" y="244"/>
                        <a:pt x="64" y="244"/>
                        <a:pt x="64" y="244"/>
                      </a:cubicBezTo>
                      <a:cubicBezTo>
                        <a:pt x="64" y="244"/>
                        <a:pt x="63" y="245"/>
                        <a:pt x="62" y="245"/>
                      </a:cubicBezTo>
                      <a:close/>
                      <a:moveTo>
                        <a:pt x="57" y="249"/>
                      </a:moveTo>
                      <a:cubicBezTo>
                        <a:pt x="55" y="253"/>
                        <a:pt x="57" y="255"/>
                        <a:pt x="58" y="257"/>
                      </a:cubicBezTo>
                      <a:cubicBezTo>
                        <a:pt x="58" y="257"/>
                        <a:pt x="59" y="258"/>
                        <a:pt x="59" y="258"/>
                      </a:cubicBezTo>
                      <a:cubicBezTo>
                        <a:pt x="59" y="258"/>
                        <a:pt x="59" y="259"/>
                        <a:pt x="59" y="260"/>
                      </a:cubicBezTo>
                      <a:cubicBezTo>
                        <a:pt x="59" y="262"/>
                        <a:pt x="58" y="265"/>
                        <a:pt x="60" y="267"/>
                      </a:cubicBezTo>
                      <a:cubicBezTo>
                        <a:pt x="62" y="269"/>
                        <a:pt x="65" y="269"/>
                        <a:pt x="66" y="269"/>
                      </a:cubicBezTo>
                      <a:cubicBezTo>
                        <a:pt x="66" y="269"/>
                        <a:pt x="67" y="269"/>
                        <a:pt x="67" y="269"/>
                      </a:cubicBezTo>
                      <a:cubicBezTo>
                        <a:pt x="66" y="269"/>
                        <a:pt x="65" y="270"/>
                        <a:pt x="64" y="270"/>
                      </a:cubicBezTo>
                      <a:cubicBezTo>
                        <a:pt x="63" y="270"/>
                        <a:pt x="63" y="270"/>
                        <a:pt x="62" y="269"/>
                      </a:cubicBezTo>
                      <a:cubicBezTo>
                        <a:pt x="59" y="268"/>
                        <a:pt x="55" y="265"/>
                        <a:pt x="52" y="262"/>
                      </a:cubicBezTo>
                      <a:cubicBezTo>
                        <a:pt x="52" y="262"/>
                        <a:pt x="51" y="261"/>
                        <a:pt x="50" y="261"/>
                      </a:cubicBezTo>
                      <a:cubicBezTo>
                        <a:pt x="48" y="259"/>
                        <a:pt x="46" y="257"/>
                        <a:pt x="44" y="254"/>
                      </a:cubicBezTo>
                      <a:cubicBezTo>
                        <a:pt x="46" y="255"/>
                        <a:pt x="47" y="255"/>
                        <a:pt x="48" y="255"/>
                      </a:cubicBezTo>
                      <a:cubicBezTo>
                        <a:pt x="49" y="255"/>
                        <a:pt x="49" y="255"/>
                        <a:pt x="49" y="255"/>
                      </a:cubicBezTo>
                      <a:cubicBezTo>
                        <a:pt x="49" y="255"/>
                        <a:pt x="49" y="255"/>
                        <a:pt x="49" y="255"/>
                      </a:cubicBezTo>
                      <a:cubicBezTo>
                        <a:pt x="52" y="254"/>
                        <a:pt x="55" y="252"/>
                        <a:pt x="57" y="249"/>
                      </a:cubicBezTo>
                      <a:close/>
                      <a:moveTo>
                        <a:pt x="98" y="306"/>
                      </a:moveTo>
                      <a:cubicBezTo>
                        <a:pt x="97" y="304"/>
                        <a:pt x="96" y="303"/>
                        <a:pt x="95" y="301"/>
                      </a:cubicBezTo>
                      <a:cubicBezTo>
                        <a:pt x="93" y="297"/>
                        <a:pt x="91" y="293"/>
                        <a:pt x="88" y="289"/>
                      </a:cubicBezTo>
                      <a:cubicBezTo>
                        <a:pt x="86" y="286"/>
                        <a:pt x="86" y="284"/>
                        <a:pt x="86" y="284"/>
                      </a:cubicBezTo>
                      <a:cubicBezTo>
                        <a:pt x="86" y="284"/>
                        <a:pt x="87" y="283"/>
                        <a:pt x="87" y="283"/>
                      </a:cubicBezTo>
                      <a:cubicBezTo>
                        <a:pt x="88" y="283"/>
                        <a:pt x="88" y="284"/>
                        <a:pt x="89" y="284"/>
                      </a:cubicBezTo>
                      <a:cubicBezTo>
                        <a:pt x="89" y="284"/>
                        <a:pt x="90" y="284"/>
                        <a:pt x="90" y="284"/>
                      </a:cubicBezTo>
                      <a:cubicBezTo>
                        <a:pt x="91" y="284"/>
                        <a:pt x="93" y="284"/>
                        <a:pt x="94" y="282"/>
                      </a:cubicBezTo>
                      <a:cubicBezTo>
                        <a:pt x="96" y="280"/>
                        <a:pt x="96" y="278"/>
                        <a:pt x="96" y="277"/>
                      </a:cubicBezTo>
                      <a:cubicBezTo>
                        <a:pt x="96" y="274"/>
                        <a:pt x="96" y="274"/>
                        <a:pt x="96" y="274"/>
                      </a:cubicBezTo>
                      <a:cubicBezTo>
                        <a:pt x="93" y="274"/>
                        <a:pt x="93" y="274"/>
                        <a:pt x="93" y="274"/>
                      </a:cubicBezTo>
                      <a:cubicBezTo>
                        <a:pt x="92" y="274"/>
                        <a:pt x="91" y="274"/>
                        <a:pt x="90" y="274"/>
                      </a:cubicBezTo>
                      <a:cubicBezTo>
                        <a:pt x="88" y="274"/>
                        <a:pt x="86" y="274"/>
                        <a:pt x="85" y="273"/>
                      </a:cubicBezTo>
                      <a:cubicBezTo>
                        <a:pt x="84" y="273"/>
                        <a:pt x="83" y="272"/>
                        <a:pt x="82" y="271"/>
                      </a:cubicBezTo>
                      <a:cubicBezTo>
                        <a:pt x="81" y="271"/>
                        <a:pt x="81" y="270"/>
                        <a:pt x="80" y="269"/>
                      </a:cubicBezTo>
                      <a:cubicBezTo>
                        <a:pt x="81" y="269"/>
                        <a:pt x="82" y="268"/>
                        <a:pt x="82" y="267"/>
                      </a:cubicBezTo>
                      <a:cubicBezTo>
                        <a:pt x="85" y="264"/>
                        <a:pt x="86" y="260"/>
                        <a:pt x="88" y="256"/>
                      </a:cubicBezTo>
                      <a:cubicBezTo>
                        <a:pt x="88" y="254"/>
                        <a:pt x="88" y="254"/>
                        <a:pt x="88" y="254"/>
                      </a:cubicBezTo>
                      <a:cubicBezTo>
                        <a:pt x="90" y="251"/>
                        <a:pt x="91" y="249"/>
                        <a:pt x="93" y="249"/>
                      </a:cubicBezTo>
                      <a:cubicBezTo>
                        <a:pt x="93" y="249"/>
                        <a:pt x="93" y="249"/>
                        <a:pt x="94" y="249"/>
                      </a:cubicBezTo>
                      <a:cubicBezTo>
                        <a:pt x="99" y="249"/>
                        <a:pt x="107" y="255"/>
                        <a:pt x="109" y="259"/>
                      </a:cubicBezTo>
                      <a:cubicBezTo>
                        <a:pt x="115" y="273"/>
                        <a:pt x="118" y="290"/>
                        <a:pt x="119" y="305"/>
                      </a:cubicBezTo>
                      <a:cubicBezTo>
                        <a:pt x="120" y="309"/>
                        <a:pt x="120" y="309"/>
                        <a:pt x="120" y="309"/>
                      </a:cubicBezTo>
                      <a:cubicBezTo>
                        <a:pt x="121" y="314"/>
                        <a:pt x="122" y="318"/>
                        <a:pt x="123" y="321"/>
                      </a:cubicBezTo>
                      <a:cubicBezTo>
                        <a:pt x="123" y="322"/>
                        <a:pt x="123" y="323"/>
                        <a:pt x="124" y="325"/>
                      </a:cubicBezTo>
                      <a:cubicBezTo>
                        <a:pt x="124" y="326"/>
                        <a:pt x="125" y="330"/>
                        <a:pt x="125" y="331"/>
                      </a:cubicBezTo>
                      <a:cubicBezTo>
                        <a:pt x="125" y="331"/>
                        <a:pt x="124" y="331"/>
                        <a:pt x="124" y="332"/>
                      </a:cubicBezTo>
                      <a:cubicBezTo>
                        <a:pt x="123" y="332"/>
                        <a:pt x="122" y="332"/>
                        <a:pt x="121" y="333"/>
                      </a:cubicBezTo>
                      <a:cubicBezTo>
                        <a:pt x="121" y="330"/>
                        <a:pt x="120" y="324"/>
                        <a:pt x="119" y="321"/>
                      </a:cubicBezTo>
                      <a:cubicBezTo>
                        <a:pt x="117" y="317"/>
                        <a:pt x="114" y="315"/>
                        <a:pt x="110" y="314"/>
                      </a:cubicBezTo>
                      <a:cubicBezTo>
                        <a:pt x="109" y="314"/>
                        <a:pt x="108" y="314"/>
                        <a:pt x="108" y="314"/>
                      </a:cubicBezTo>
                      <a:cubicBezTo>
                        <a:pt x="103" y="314"/>
                        <a:pt x="102" y="317"/>
                        <a:pt x="102" y="319"/>
                      </a:cubicBezTo>
                      <a:cubicBezTo>
                        <a:pt x="101" y="316"/>
                        <a:pt x="100" y="313"/>
                        <a:pt x="100" y="311"/>
                      </a:cubicBezTo>
                      <a:cubicBezTo>
                        <a:pt x="99" y="308"/>
                        <a:pt x="98" y="307"/>
                        <a:pt x="98" y="30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0" name="Freeform 61">
                  <a:extLst>
                    <a:ext uri="{FF2B5EF4-FFF2-40B4-BE49-F238E27FC236}">
                      <a16:creationId xmlns:a16="http://schemas.microsoft.com/office/drawing/2014/main" id="{C42D6B61-29F5-AB48-B08E-3890FC55EA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17589" y="8350420"/>
                  <a:ext cx="266727" cy="313584"/>
                </a:xfrm>
                <a:custGeom>
                  <a:avLst/>
                  <a:gdLst>
                    <a:gd name="T0" fmla="*/ 47 w 49"/>
                    <a:gd name="T1" fmla="*/ 27 h 63"/>
                    <a:gd name="T2" fmla="*/ 42 w 49"/>
                    <a:gd name="T3" fmla="*/ 24 h 63"/>
                    <a:gd name="T4" fmla="*/ 41 w 49"/>
                    <a:gd name="T5" fmla="*/ 24 h 63"/>
                    <a:gd name="T6" fmla="*/ 40 w 49"/>
                    <a:gd name="T7" fmla="*/ 23 h 63"/>
                    <a:gd name="T8" fmla="*/ 37 w 49"/>
                    <a:gd name="T9" fmla="*/ 22 h 63"/>
                    <a:gd name="T10" fmla="*/ 34 w 49"/>
                    <a:gd name="T11" fmla="*/ 21 h 63"/>
                    <a:gd name="T12" fmla="*/ 26 w 49"/>
                    <a:gd name="T13" fmla="*/ 23 h 63"/>
                    <a:gd name="T14" fmla="*/ 26 w 49"/>
                    <a:gd name="T15" fmla="*/ 19 h 63"/>
                    <a:gd name="T16" fmla="*/ 25 w 49"/>
                    <a:gd name="T17" fmla="*/ 15 h 63"/>
                    <a:gd name="T18" fmla="*/ 23 w 49"/>
                    <a:gd name="T19" fmla="*/ 8 h 63"/>
                    <a:gd name="T20" fmla="*/ 18 w 49"/>
                    <a:gd name="T21" fmla="*/ 6 h 63"/>
                    <a:gd name="T22" fmla="*/ 18 w 49"/>
                    <a:gd name="T23" fmla="*/ 5 h 63"/>
                    <a:gd name="T24" fmla="*/ 18 w 49"/>
                    <a:gd name="T25" fmla="*/ 6 h 63"/>
                    <a:gd name="T26" fmla="*/ 18 w 49"/>
                    <a:gd name="T27" fmla="*/ 5 h 63"/>
                    <a:gd name="T28" fmla="*/ 17 w 49"/>
                    <a:gd name="T29" fmla="*/ 4 h 63"/>
                    <a:gd name="T30" fmla="*/ 12 w 49"/>
                    <a:gd name="T31" fmla="*/ 0 h 63"/>
                    <a:gd name="T32" fmla="*/ 8 w 49"/>
                    <a:gd name="T33" fmla="*/ 2 h 63"/>
                    <a:gd name="T34" fmla="*/ 5 w 49"/>
                    <a:gd name="T35" fmla="*/ 12 h 63"/>
                    <a:gd name="T36" fmla="*/ 5 w 49"/>
                    <a:gd name="T37" fmla="*/ 15 h 63"/>
                    <a:gd name="T38" fmla="*/ 3 w 49"/>
                    <a:gd name="T39" fmla="*/ 30 h 63"/>
                    <a:gd name="T40" fmla="*/ 2 w 49"/>
                    <a:gd name="T41" fmla="*/ 44 h 63"/>
                    <a:gd name="T42" fmla="*/ 7 w 49"/>
                    <a:gd name="T43" fmla="*/ 60 h 63"/>
                    <a:gd name="T44" fmla="*/ 14 w 49"/>
                    <a:gd name="T45" fmla="*/ 63 h 63"/>
                    <a:gd name="T46" fmla="*/ 20 w 49"/>
                    <a:gd name="T47" fmla="*/ 61 h 63"/>
                    <a:gd name="T48" fmla="*/ 23 w 49"/>
                    <a:gd name="T49" fmla="*/ 55 h 63"/>
                    <a:gd name="T50" fmla="*/ 24 w 49"/>
                    <a:gd name="T51" fmla="*/ 54 h 63"/>
                    <a:gd name="T52" fmla="*/ 27 w 49"/>
                    <a:gd name="T53" fmla="*/ 61 h 63"/>
                    <a:gd name="T54" fmla="*/ 30 w 49"/>
                    <a:gd name="T55" fmla="*/ 62 h 63"/>
                    <a:gd name="T56" fmla="*/ 30 w 49"/>
                    <a:gd name="T57" fmla="*/ 62 h 63"/>
                    <a:gd name="T58" fmla="*/ 41 w 49"/>
                    <a:gd name="T59" fmla="*/ 53 h 63"/>
                    <a:gd name="T60" fmla="*/ 41 w 49"/>
                    <a:gd name="T61" fmla="*/ 53 h 63"/>
                    <a:gd name="T62" fmla="*/ 47 w 49"/>
                    <a:gd name="T63" fmla="*/ 39 h 63"/>
                    <a:gd name="T64" fmla="*/ 48 w 49"/>
                    <a:gd name="T65" fmla="*/ 37 h 63"/>
                    <a:gd name="T66" fmla="*/ 47 w 49"/>
                    <a:gd name="T67" fmla="*/ 2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9" h="63">
                      <a:moveTo>
                        <a:pt x="47" y="27"/>
                      </a:moveTo>
                      <a:cubicBezTo>
                        <a:pt x="46" y="25"/>
                        <a:pt x="44" y="24"/>
                        <a:pt x="42" y="24"/>
                      </a:cubicBezTo>
                      <a:cubicBezTo>
                        <a:pt x="42" y="24"/>
                        <a:pt x="41" y="24"/>
                        <a:pt x="41" y="24"/>
                      </a:cubicBezTo>
                      <a:cubicBezTo>
                        <a:pt x="41" y="24"/>
                        <a:pt x="40" y="23"/>
                        <a:pt x="40" y="23"/>
                      </a:cubicBezTo>
                      <a:cubicBezTo>
                        <a:pt x="39" y="23"/>
                        <a:pt x="38" y="22"/>
                        <a:pt x="37" y="22"/>
                      </a:cubicBezTo>
                      <a:cubicBezTo>
                        <a:pt x="36" y="22"/>
                        <a:pt x="35" y="21"/>
                        <a:pt x="34" y="21"/>
                      </a:cubicBezTo>
                      <a:cubicBezTo>
                        <a:pt x="31" y="21"/>
                        <a:pt x="28" y="22"/>
                        <a:pt x="26" y="23"/>
                      </a:cubicBezTo>
                      <a:cubicBezTo>
                        <a:pt x="26" y="22"/>
                        <a:pt x="26" y="20"/>
                        <a:pt x="26" y="19"/>
                      </a:cubicBezTo>
                      <a:cubicBezTo>
                        <a:pt x="25" y="17"/>
                        <a:pt x="25" y="16"/>
                        <a:pt x="25" y="15"/>
                      </a:cubicBezTo>
                      <a:cubicBezTo>
                        <a:pt x="25" y="13"/>
                        <a:pt x="24" y="10"/>
                        <a:pt x="23" y="8"/>
                      </a:cubicBezTo>
                      <a:cubicBezTo>
                        <a:pt x="21" y="6"/>
                        <a:pt x="19" y="6"/>
                        <a:pt x="18" y="6"/>
                      </a:cubicBezTo>
                      <a:cubicBezTo>
                        <a:pt x="18" y="6"/>
                        <a:pt x="18" y="5"/>
                        <a:pt x="18" y="5"/>
                      </a:cubicBezTo>
                      <a:cubicBezTo>
                        <a:pt x="18" y="5"/>
                        <a:pt x="18" y="6"/>
                        <a:pt x="18" y="6"/>
                      </a:cubicBezTo>
                      <a:cubicBezTo>
                        <a:pt x="18" y="5"/>
                        <a:pt x="18" y="5"/>
                        <a:pt x="18" y="5"/>
                      </a:cubicBezTo>
                      <a:cubicBezTo>
                        <a:pt x="18" y="5"/>
                        <a:pt x="17" y="4"/>
                        <a:pt x="17" y="4"/>
                      </a:cubicBezTo>
                      <a:cubicBezTo>
                        <a:pt x="16" y="2"/>
                        <a:pt x="15" y="0"/>
                        <a:pt x="12" y="0"/>
                      </a:cubicBezTo>
                      <a:cubicBezTo>
                        <a:pt x="10" y="0"/>
                        <a:pt x="9" y="1"/>
                        <a:pt x="8" y="2"/>
                      </a:cubicBezTo>
                      <a:cubicBezTo>
                        <a:pt x="4" y="4"/>
                        <a:pt x="5" y="9"/>
                        <a:pt x="5" y="12"/>
                      </a:cubicBezTo>
                      <a:cubicBezTo>
                        <a:pt x="5" y="13"/>
                        <a:pt x="5" y="14"/>
                        <a:pt x="5" y="15"/>
                      </a:cubicBezTo>
                      <a:cubicBezTo>
                        <a:pt x="3" y="20"/>
                        <a:pt x="3" y="25"/>
                        <a:pt x="3" y="30"/>
                      </a:cubicBezTo>
                      <a:cubicBezTo>
                        <a:pt x="4" y="35"/>
                        <a:pt x="3" y="39"/>
                        <a:pt x="2" y="44"/>
                      </a:cubicBezTo>
                      <a:cubicBezTo>
                        <a:pt x="0" y="51"/>
                        <a:pt x="2" y="57"/>
                        <a:pt x="7" y="60"/>
                      </a:cubicBezTo>
                      <a:cubicBezTo>
                        <a:pt x="9" y="62"/>
                        <a:pt x="12" y="63"/>
                        <a:pt x="14" y="63"/>
                      </a:cubicBezTo>
                      <a:cubicBezTo>
                        <a:pt x="16" y="63"/>
                        <a:pt x="18" y="62"/>
                        <a:pt x="20" y="61"/>
                      </a:cubicBezTo>
                      <a:cubicBezTo>
                        <a:pt x="22" y="59"/>
                        <a:pt x="23" y="57"/>
                        <a:pt x="23" y="55"/>
                      </a:cubicBezTo>
                      <a:cubicBezTo>
                        <a:pt x="23" y="55"/>
                        <a:pt x="23" y="55"/>
                        <a:pt x="24" y="54"/>
                      </a:cubicBezTo>
                      <a:cubicBezTo>
                        <a:pt x="23" y="57"/>
                        <a:pt x="24" y="59"/>
                        <a:pt x="27" y="61"/>
                      </a:cubicBezTo>
                      <a:cubicBezTo>
                        <a:pt x="28" y="61"/>
                        <a:pt x="29" y="62"/>
                        <a:pt x="30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4" y="62"/>
                        <a:pt x="38" y="57"/>
                        <a:pt x="41" y="53"/>
                      </a:cubicBezTo>
                      <a:cubicBezTo>
                        <a:pt x="41" y="53"/>
                        <a:pt x="41" y="53"/>
                        <a:pt x="41" y="53"/>
                      </a:cubicBezTo>
                      <a:cubicBezTo>
                        <a:pt x="44" y="49"/>
                        <a:pt x="47" y="45"/>
                        <a:pt x="47" y="39"/>
                      </a:cubicBezTo>
                      <a:cubicBezTo>
                        <a:pt x="47" y="39"/>
                        <a:pt x="47" y="38"/>
                        <a:pt x="48" y="37"/>
                      </a:cubicBezTo>
                      <a:cubicBezTo>
                        <a:pt x="48" y="34"/>
                        <a:pt x="49" y="30"/>
                        <a:pt x="47" y="2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1" name="Freeform 62">
                  <a:extLst>
                    <a:ext uri="{FF2B5EF4-FFF2-40B4-BE49-F238E27FC236}">
                      <a16:creationId xmlns:a16="http://schemas.microsoft.com/office/drawing/2014/main" id="{96760F6E-4F0B-CB47-88A6-4EE21C7A46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7425" y="8003238"/>
                  <a:ext cx="451385" cy="130660"/>
                </a:xfrm>
                <a:custGeom>
                  <a:avLst/>
                  <a:gdLst>
                    <a:gd name="T0" fmla="*/ 82 w 83"/>
                    <a:gd name="T1" fmla="*/ 10 h 26"/>
                    <a:gd name="T2" fmla="*/ 71 w 83"/>
                    <a:gd name="T3" fmla="*/ 3 h 26"/>
                    <a:gd name="T4" fmla="*/ 66 w 83"/>
                    <a:gd name="T5" fmla="*/ 3 h 26"/>
                    <a:gd name="T6" fmla="*/ 61 w 83"/>
                    <a:gd name="T7" fmla="*/ 4 h 26"/>
                    <a:gd name="T8" fmla="*/ 59 w 83"/>
                    <a:gd name="T9" fmla="*/ 3 h 26"/>
                    <a:gd name="T10" fmla="*/ 52 w 83"/>
                    <a:gd name="T11" fmla="*/ 2 h 26"/>
                    <a:gd name="T12" fmla="*/ 39 w 83"/>
                    <a:gd name="T13" fmla="*/ 0 h 26"/>
                    <a:gd name="T14" fmla="*/ 33 w 83"/>
                    <a:gd name="T15" fmla="*/ 1 h 26"/>
                    <a:gd name="T16" fmla="*/ 30 w 83"/>
                    <a:gd name="T17" fmla="*/ 1 h 26"/>
                    <a:gd name="T18" fmla="*/ 15 w 83"/>
                    <a:gd name="T19" fmla="*/ 4 h 26"/>
                    <a:gd name="T20" fmla="*/ 1 w 83"/>
                    <a:gd name="T21" fmla="*/ 11 h 26"/>
                    <a:gd name="T22" fmla="*/ 2 w 83"/>
                    <a:gd name="T23" fmla="*/ 16 h 26"/>
                    <a:gd name="T24" fmla="*/ 11 w 83"/>
                    <a:gd name="T25" fmla="*/ 19 h 26"/>
                    <a:gd name="T26" fmla="*/ 13 w 83"/>
                    <a:gd name="T27" fmla="*/ 19 h 26"/>
                    <a:gd name="T28" fmla="*/ 16 w 83"/>
                    <a:gd name="T29" fmla="*/ 19 h 26"/>
                    <a:gd name="T30" fmla="*/ 23 w 83"/>
                    <a:gd name="T31" fmla="*/ 20 h 26"/>
                    <a:gd name="T32" fmla="*/ 24 w 83"/>
                    <a:gd name="T33" fmla="*/ 22 h 26"/>
                    <a:gd name="T34" fmla="*/ 28 w 83"/>
                    <a:gd name="T35" fmla="*/ 24 h 26"/>
                    <a:gd name="T36" fmla="*/ 35 w 83"/>
                    <a:gd name="T37" fmla="*/ 25 h 26"/>
                    <a:gd name="T38" fmla="*/ 37 w 83"/>
                    <a:gd name="T39" fmla="*/ 25 h 26"/>
                    <a:gd name="T40" fmla="*/ 40 w 83"/>
                    <a:gd name="T41" fmla="*/ 25 h 26"/>
                    <a:gd name="T42" fmla="*/ 42 w 83"/>
                    <a:gd name="T43" fmla="*/ 26 h 26"/>
                    <a:gd name="T44" fmla="*/ 46 w 83"/>
                    <a:gd name="T45" fmla="*/ 26 h 26"/>
                    <a:gd name="T46" fmla="*/ 48 w 83"/>
                    <a:gd name="T47" fmla="*/ 26 h 26"/>
                    <a:gd name="T48" fmla="*/ 55 w 83"/>
                    <a:gd name="T49" fmla="*/ 25 h 26"/>
                    <a:gd name="T50" fmla="*/ 64 w 83"/>
                    <a:gd name="T51" fmla="*/ 24 h 26"/>
                    <a:gd name="T52" fmla="*/ 76 w 83"/>
                    <a:gd name="T53" fmla="*/ 20 h 26"/>
                    <a:gd name="T54" fmla="*/ 77 w 83"/>
                    <a:gd name="T55" fmla="*/ 19 h 26"/>
                    <a:gd name="T56" fmla="*/ 82 w 83"/>
                    <a:gd name="T57" fmla="*/ 1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3" h="26">
                      <a:moveTo>
                        <a:pt x="82" y="10"/>
                      </a:moveTo>
                      <a:cubicBezTo>
                        <a:pt x="81" y="5"/>
                        <a:pt x="74" y="3"/>
                        <a:pt x="71" y="3"/>
                      </a:cubicBezTo>
                      <a:cubicBezTo>
                        <a:pt x="69" y="3"/>
                        <a:pt x="67" y="3"/>
                        <a:pt x="66" y="3"/>
                      </a:cubicBezTo>
                      <a:cubicBezTo>
                        <a:pt x="64" y="4"/>
                        <a:pt x="63" y="4"/>
                        <a:pt x="61" y="4"/>
                      </a:cubicBezTo>
                      <a:cubicBezTo>
                        <a:pt x="60" y="4"/>
                        <a:pt x="59" y="4"/>
                        <a:pt x="59" y="3"/>
                      </a:cubicBezTo>
                      <a:cubicBezTo>
                        <a:pt x="56" y="3"/>
                        <a:pt x="54" y="3"/>
                        <a:pt x="52" y="2"/>
                      </a:cubicBezTo>
                      <a:cubicBezTo>
                        <a:pt x="48" y="1"/>
                        <a:pt x="43" y="0"/>
                        <a:pt x="39" y="0"/>
                      </a:cubicBezTo>
                      <a:cubicBezTo>
                        <a:pt x="37" y="0"/>
                        <a:pt x="35" y="0"/>
                        <a:pt x="33" y="1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25" y="3"/>
                        <a:pt x="20" y="4"/>
                        <a:pt x="15" y="4"/>
                      </a:cubicBezTo>
                      <a:cubicBezTo>
                        <a:pt x="11" y="5"/>
                        <a:pt x="3" y="5"/>
                        <a:pt x="1" y="11"/>
                      </a:cubicBezTo>
                      <a:cubicBezTo>
                        <a:pt x="0" y="13"/>
                        <a:pt x="1" y="15"/>
                        <a:pt x="2" y="16"/>
                      </a:cubicBezTo>
                      <a:cubicBezTo>
                        <a:pt x="4" y="19"/>
                        <a:pt x="8" y="19"/>
                        <a:pt x="11" y="19"/>
                      </a:cubicBezTo>
                      <a:cubicBezTo>
                        <a:pt x="12" y="19"/>
                        <a:pt x="12" y="19"/>
                        <a:pt x="13" y="19"/>
                      </a:cubicBezTo>
                      <a:cubicBezTo>
                        <a:pt x="13" y="19"/>
                        <a:pt x="15" y="19"/>
                        <a:pt x="16" y="19"/>
                      </a:cubicBezTo>
                      <a:cubicBezTo>
                        <a:pt x="18" y="19"/>
                        <a:pt x="21" y="19"/>
                        <a:pt x="23" y="20"/>
                      </a:cubicBezTo>
                      <a:cubicBezTo>
                        <a:pt x="23" y="20"/>
                        <a:pt x="23" y="21"/>
                        <a:pt x="24" y="22"/>
                      </a:cubicBezTo>
                      <a:cubicBezTo>
                        <a:pt x="25" y="23"/>
                        <a:pt x="27" y="24"/>
                        <a:pt x="28" y="24"/>
                      </a:cubicBezTo>
                      <a:cubicBezTo>
                        <a:pt x="30" y="25"/>
                        <a:pt x="33" y="25"/>
                        <a:pt x="35" y="25"/>
                      </a:cubicBezTo>
                      <a:cubicBezTo>
                        <a:pt x="37" y="25"/>
                        <a:pt x="37" y="25"/>
                        <a:pt x="37" y="25"/>
                      </a:cubicBezTo>
                      <a:cubicBezTo>
                        <a:pt x="38" y="25"/>
                        <a:pt x="39" y="25"/>
                        <a:pt x="40" y="25"/>
                      </a:cubicBezTo>
                      <a:cubicBezTo>
                        <a:pt x="40" y="25"/>
                        <a:pt x="41" y="26"/>
                        <a:pt x="42" y="26"/>
                      </a:cubicBezTo>
                      <a:cubicBezTo>
                        <a:pt x="43" y="26"/>
                        <a:pt x="45" y="26"/>
                        <a:pt x="46" y="26"/>
                      </a:cubicBezTo>
                      <a:cubicBezTo>
                        <a:pt x="47" y="26"/>
                        <a:pt x="47" y="26"/>
                        <a:pt x="48" y="26"/>
                      </a:cubicBezTo>
                      <a:cubicBezTo>
                        <a:pt x="50" y="26"/>
                        <a:pt x="53" y="26"/>
                        <a:pt x="55" y="25"/>
                      </a:cubicBezTo>
                      <a:cubicBezTo>
                        <a:pt x="58" y="25"/>
                        <a:pt x="61" y="24"/>
                        <a:pt x="64" y="24"/>
                      </a:cubicBezTo>
                      <a:cubicBezTo>
                        <a:pt x="68" y="24"/>
                        <a:pt x="72" y="23"/>
                        <a:pt x="76" y="20"/>
                      </a:cubicBezTo>
                      <a:cubicBezTo>
                        <a:pt x="76" y="19"/>
                        <a:pt x="77" y="19"/>
                        <a:pt x="77" y="19"/>
                      </a:cubicBezTo>
                      <a:cubicBezTo>
                        <a:pt x="79" y="17"/>
                        <a:pt x="83" y="14"/>
                        <a:pt x="82" y="1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2" name="Freeform 63">
                  <a:extLst>
                    <a:ext uri="{FF2B5EF4-FFF2-40B4-BE49-F238E27FC236}">
                      <a16:creationId xmlns:a16="http://schemas.microsoft.com/office/drawing/2014/main" id="{2EAABDD5-5B01-DB4A-97D6-6335AE86830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482495" y="3868786"/>
                  <a:ext cx="2496979" cy="2756924"/>
                </a:xfrm>
                <a:custGeom>
                  <a:avLst/>
                  <a:gdLst>
                    <a:gd name="T0" fmla="*/ 230 w 458"/>
                    <a:gd name="T1" fmla="*/ 169 h 556"/>
                    <a:gd name="T2" fmla="*/ 248 w 458"/>
                    <a:gd name="T3" fmla="*/ 90 h 556"/>
                    <a:gd name="T4" fmla="*/ 223 w 458"/>
                    <a:gd name="T5" fmla="*/ 97 h 556"/>
                    <a:gd name="T6" fmla="*/ 230 w 458"/>
                    <a:gd name="T7" fmla="*/ 67 h 556"/>
                    <a:gd name="T8" fmla="*/ 212 w 458"/>
                    <a:gd name="T9" fmla="*/ 74 h 556"/>
                    <a:gd name="T10" fmla="*/ 200 w 458"/>
                    <a:gd name="T11" fmla="*/ 71 h 556"/>
                    <a:gd name="T12" fmla="*/ 202 w 458"/>
                    <a:gd name="T13" fmla="*/ 59 h 556"/>
                    <a:gd name="T14" fmla="*/ 203 w 458"/>
                    <a:gd name="T15" fmla="*/ 29 h 556"/>
                    <a:gd name="T16" fmla="*/ 183 w 458"/>
                    <a:gd name="T17" fmla="*/ 42 h 556"/>
                    <a:gd name="T18" fmla="*/ 173 w 458"/>
                    <a:gd name="T19" fmla="*/ 44 h 556"/>
                    <a:gd name="T20" fmla="*/ 176 w 458"/>
                    <a:gd name="T21" fmla="*/ 30 h 556"/>
                    <a:gd name="T22" fmla="*/ 167 w 458"/>
                    <a:gd name="T23" fmla="*/ 23 h 556"/>
                    <a:gd name="T24" fmla="*/ 147 w 458"/>
                    <a:gd name="T25" fmla="*/ 21 h 556"/>
                    <a:gd name="T26" fmla="*/ 124 w 458"/>
                    <a:gd name="T27" fmla="*/ 20 h 556"/>
                    <a:gd name="T28" fmla="*/ 107 w 458"/>
                    <a:gd name="T29" fmla="*/ 5 h 556"/>
                    <a:gd name="T30" fmla="*/ 93 w 458"/>
                    <a:gd name="T31" fmla="*/ 5 h 556"/>
                    <a:gd name="T32" fmla="*/ 80 w 458"/>
                    <a:gd name="T33" fmla="*/ 7 h 556"/>
                    <a:gd name="T34" fmla="*/ 69 w 458"/>
                    <a:gd name="T35" fmla="*/ 13 h 556"/>
                    <a:gd name="T36" fmla="*/ 42 w 458"/>
                    <a:gd name="T37" fmla="*/ 49 h 556"/>
                    <a:gd name="T38" fmla="*/ 51 w 458"/>
                    <a:gd name="T39" fmla="*/ 86 h 556"/>
                    <a:gd name="T40" fmla="*/ 25 w 458"/>
                    <a:gd name="T41" fmla="*/ 155 h 556"/>
                    <a:gd name="T42" fmla="*/ 22 w 458"/>
                    <a:gd name="T43" fmla="*/ 203 h 556"/>
                    <a:gd name="T44" fmla="*/ 14 w 458"/>
                    <a:gd name="T45" fmla="*/ 243 h 556"/>
                    <a:gd name="T46" fmla="*/ 3 w 458"/>
                    <a:gd name="T47" fmla="*/ 288 h 556"/>
                    <a:gd name="T48" fmla="*/ 13 w 458"/>
                    <a:gd name="T49" fmla="*/ 341 h 556"/>
                    <a:gd name="T50" fmla="*/ 30 w 458"/>
                    <a:gd name="T51" fmla="*/ 367 h 556"/>
                    <a:gd name="T52" fmla="*/ 40 w 458"/>
                    <a:gd name="T53" fmla="*/ 382 h 556"/>
                    <a:gd name="T54" fmla="*/ 39 w 458"/>
                    <a:gd name="T55" fmla="*/ 407 h 556"/>
                    <a:gd name="T56" fmla="*/ 457 w 458"/>
                    <a:gd name="T57" fmla="*/ 403 h 556"/>
                    <a:gd name="T58" fmla="*/ 111 w 458"/>
                    <a:gd name="T59" fmla="*/ 37 h 556"/>
                    <a:gd name="T60" fmla="*/ 232 w 458"/>
                    <a:gd name="T61" fmla="*/ 212 h 556"/>
                    <a:gd name="T62" fmla="*/ 208 w 458"/>
                    <a:gd name="T63" fmla="*/ 222 h 556"/>
                    <a:gd name="T64" fmla="*/ 226 w 458"/>
                    <a:gd name="T65" fmla="*/ 238 h 556"/>
                    <a:gd name="T66" fmla="*/ 243 w 458"/>
                    <a:gd name="T67" fmla="*/ 243 h 556"/>
                    <a:gd name="T68" fmla="*/ 226 w 458"/>
                    <a:gd name="T69" fmla="*/ 258 h 556"/>
                    <a:gd name="T70" fmla="*/ 200 w 458"/>
                    <a:gd name="T71" fmla="*/ 259 h 556"/>
                    <a:gd name="T72" fmla="*/ 185 w 458"/>
                    <a:gd name="T73" fmla="*/ 265 h 556"/>
                    <a:gd name="T74" fmla="*/ 179 w 458"/>
                    <a:gd name="T75" fmla="*/ 245 h 556"/>
                    <a:gd name="T76" fmla="*/ 152 w 458"/>
                    <a:gd name="T77" fmla="*/ 246 h 556"/>
                    <a:gd name="T78" fmla="*/ 169 w 458"/>
                    <a:gd name="T79" fmla="*/ 236 h 556"/>
                    <a:gd name="T80" fmla="*/ 194 w 458"/>
                    <a:gd name="T81" fmla="*/ 233 h 556"/>
                    <a:gd name="T82" fmla="*/ 171 w 458"/>
                    <a:gd name="T83" fmla="*/ 207 h 556"/>
                    <a:gd name="T84" fmla="*/ 157 w 458"/>
                    <a:gd name="T85" fmla="*/ 199 h 556"/>
                    <a:gd name="T86" fmla="*/ 169 w 458"/>
                    <a:gd name="T87" fmla="*/ 199 h 556"/>
                    <a:gd name="T88" fmla="*/ 202 w 458"/>
                    <a:gd name="T89" fmla="*/ 208 h 556"/>
                    <a:gd name="T90" fmla="*/ 144 w 458"/>
                    <a:gd name="T91" fmla="*/ 195 h 556"/>
                    <a:gd name="T92" fmla="*/ 151 w 458"/>
                    <a:gd name="T93" fmla="*/ 197 h 556"/>
                    <a:gd name="T94" fmla="*/ 146 w 458"/>
                    <a:gd name="T95" fmla="*/ 42 h 556"/>
                    <a:gd name="T96" fmla="*/ 144 w 458"/>
                    <a:gd name="T97" fmla="*/ 36 h 556"/>
                    <a:gd name="T98" fmla="*/ 310 w 458"/>
                    <a:gd name="T99" fmla="*/ 417 h 556"/>
                    <a:gd name="T100" fmla="*/ 291 w 458"/>
                    <a:gd name="T101" fmla="*/ 423 h 556"/>
                    <a:gd name="T102" fmla="*/ 240 w 458"/>
                    <a:gd name="T103" fmla="*/ 442 h 556"/>
                    <a:gd name="T104" fmla="*/ 223 w 458"/>
                    <a:gd name="T105" fmla="*/ 452 h 556"/>
                    <a:gd name="T106" fmla="*/ 196 w 458"/>
                    <a:gd name="T107" fmla="*/ 448 h 556"/>
                    <a:gd name="T108" fmla="*/ 192 w 458"/>
                    <a:gd name="T109" fmla="*/ 435 h 556"/>
                    <a:gd name="T110" fmla="*/ 221 w 458"/>
                    <a:gd name="T111" fmla="*/ 425 h 556"/>
                    <a:gd name="T112" fmla="*/ 218 w 458"/>
                    <a:gd name="T113" fmla="*/ 383 h 556"/>
                    <a:gd name="T114" fmla="*/ 260 w 458"/>
                    <a:gd name="T115" fmla="*/ 431 h 556"/>
                    <a:gd name="T116" fmla="*/ 283 w 458"/>
                    <a:gd name="T117" fmla="*/ 421 h 556"/>
                    <a:gd name="T118" fmla="*/ 313 w 458"/>
                    <a:gd name="T119" fmla="*/ 412 h 556"/>
                    <a:gd name="T120" fmla="*/ 311 w 458"/>
                    <a:gd name="T121" fmla="*/ 415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58" h="556">
                      <a:moveTo>
                        <a:pt x="345" y="346"/>
                      </a:moveTo>
                      <a:cubicBezTo>
                        <a:pt x="332" y="315"/>
                        <a:pt x="332" y="315"/>
                        <a:pt x="332" y="315"/>
                      </a:cubicBezTo>
                      <a:cubicBezTo>
                        <a:pt x="331" y="315"/>
                        <a:pt x="331" y="315"/>
                        <a:pt x="331" y="315"/>
                      </a:cubicBezTo>
                      <a:cubicBezTo>
                        <a:pt x="324" y="314"/>
                        <a:pt x="303" y="310"/>
                        <a:pt x="293" y="284"/>
                      </a:cubicBezTo>
                      <a:cubicBezTo>
                        <a:pt x="293" y="284"/>
                        <a:pt x="293" y="284"/>
                        <a:pt x="293" y="284"/>
                      </a:cubicBezTo>
                      <a:cubicBezTo>
                        <a:pt x="230" y="169"/>
                        <a:pt x="230" y="169"/>
                        <a:pt x="230" y="169"/>
                      </a:cubicBezTo>
                      <a:cubicBezTo>
                        <a:pt x="261" y="108"/>
                        <a:pt x="261" y="108"/>
                        <a:pt x="261" y="108"/>
                      </a:cubicBezTo>
                      <a:cubicBezTo>
                        <a:pt x="262" y="106"/>
                        <a:pt x="262" y="106"/>
                        <a:pt x="262" y="106"/>
                      </a:cubicBezTo>
                      <a:cubicBezTo>
                        <a:pt x="262" y="105"/>
                        <a:pt x="262" y="105"/>
                        <a:pt x="262" y="105"/>
                      </a:cubicBezTo>
                      <a:cubicBezTo>
                        <a:pt x="262" y="104"/>
                        <a:pt x="261" y="103"/>
                        <a:pt x="261" y="101"/>
                      </a:cubicBezTo>
                      <a:cubicBezTo>
                        <a:pt x="259" y="97"/>
                        <a:pt x="256" y="95"/>
                        <a:pt x="253" y="93"/>
                      </a:cubicBezTo>
                      <a:cubicBezTo>
                        <a:pt x="251" y="92"/>
                        <a:pt x="250" y="91"/>
                        <a:pt x="248" y="90"/>
                      </a:cubicBezTo>
                      <a:cubicBezTo>
                        <a:pt x="247" y="88"/>
                        <a:pt x="244" y="86"/>
                        <a:pt x="241" y="86"/>
                      </a:cubicBezTo>
                      <a:cubicBezTo>
                        <a:pt x="238" y="86"/>
                        <a:pt x="236" y="89"/>
                        <a:pt x="234" y="90"/>
                      </a:cubicBezTo>
                      <a:cubicBezTo>
                        <a:pt x="234" y="90"/>
                        <a:pt x="234" y="91"/>
                        <a:pt x="233" y="91"/>
                      </a:cubicBezTo>
                      <a:cubicBezTo>
                        <a:pt x="233" y="92"/>
                        <a:pt x="232" y="92"/>
                        <a:pt x="231" y="93"/>
                      </a:cubicBezTo>
                      <a:cubicBezTo>
                        <a:pt x="229" y="94"/>
                        <a:pt x="229" y="94"/>
                        <a:pt x="229" y="94"/>
                      </a:cubicBezTo>
                      <a:cubicBezTo>
                        <a:pt x="228" y="95"/>
                        <a:pt x="225" y="97"/>
                        <a:pt x="223" y="97"/>
                      </a:cubicBezTo>
                      <a:cubicBezTo>
                        <a:pt x="223" y="95"/>
                        <a:pt x="224" y="90"/>
                        <a:pt x="224" y="88"/>
                      </a:cubicBezTo>
                      <a:cubicBezTo>
                        <a:pt x="225" y="86"/>
                        <a:pt x="225" y="85"/>
                        <a:pt x="225" y="84"/>
                      </a:cubicBezTo>
                      <a:cubicBezTo>
                        <a:pt x="225" y="82"/>
                        <a:pt x="226" y="80"/>
                        <a:pt x="227" y="78"/>
                      </a:cubicBezTo>
                      <a:cubicBezTo>
                        <a:pt x="227" y="77"/>
                        <a:pt x="227" y="77"/>
                        <a:pt x="227" y="76"/>
                      </a:cubicBezTo>
                      <a:cubicBezTo>
                        <a:pt x="227" y="76"/>
                        <a:pt x="228" y="75"/>
                        <a:pt x="228" y="75"/>
                      </a:cubicBezTo>
                      <a:cubicBezTo>
                        <a:pt x="230" y="73"/>
                        <a:pt x="232" y="70"/>
                        <a:pt x="230" y="67"/>
                      </a:cubicBezTo>
                      <a:cubicBezTo>
                        <a:pt x="229" y="65"/>
                        <a:pt x="228" y="64"/>
                        <a:pt x="226" y="64"/>
                      </a:cubicBezTo>
                      <a:cubicBezTo>
                        <a:pt x="224" y="64"/>
                        <a:pt x="222" y="65"/>
                        <a:pt x="221" y="66"/>
                      </a:cubicBezTo>
                      <a:cubicBezTo>
                        <a:pt x="221" y="67"/>
                        <a:pt x="221" y="67"/>
                        <a:pt x="221" y="67"/>
                      </a:cubicBezTo>
                      <a:cubicBezTo>
                        <a:pt x="220" y="67"/>
                        <a:pt x="219" y="68"/>
                        <a:pt x="219" y="68"/>
                      </a:cubicBezTo>
                      <a:cubicBezTo>
                        <a:pt x="218" y="69"/>
                        <a:pt x="217" y="69"/>
                        <a:pt x="215" y="70"/>
                      </a:cubicBezTo>
                      <a:cubicBezTo>
                        <a:pt x="214" y="71"/>
                        <a:pt x="213" y="72"/>
                        <a:pt x="212" y="74"/>
                      </a:cubicBezTo>
                      <a:cubicBezTo>
                        <a:pt x="211" y="75"/>
                        <a:pt x="211" y="75"/>
                        <a:pt x="211" y="75"/>
                      </a:cubicBezTo>
                      <a:cubicBezTo>
                        <a:pt x="208" y="77"/>
                        <a:pt x="205" y="80"/>
                        <a:pt x="201" y="80"/>
                      </a:cubicBezTo>
                      <a:cubicBezTo>
                        <a:pt x="201" y="80"/>
                        <a:pt x="201" y="80"/>
                        <a:pt x="201" y="80"/>
                      </a:cubicBezTo>
                      <a:cubicBezTo>
                        <a:pt x="201" y="80"/>
                        <a:pt x="200" y="78"/>
                        <a:pt x="200" y="78"/>
                      </a:cubicBezTo>
                      <a:cubicBezTo>
                        <a:pt x="200" y="77"/>
                        <a:pt x="200" y="76"/>
                        <a:pt x="200" y="75"/>
                      </a:cubicBezTo>
                      <a:cubicBezTo>
                        <a:pt x="200" y="74"/>
                        <a:pt x="200" y="73"/>
                        <a:pt x="200" y="71"/>
                      </a:cubicBezTo>
                      <a:cubicBezTo>
                        <a:pt x="200" y="70"/>
                        <a:pt x="200" y="69"/>
                        <a:pt x="200" y="67"/>
                      </a:cubicBezTo>
                      <a:cubicBezTo>
                        <a:pt x="200" y="66"/>
                        <a:pt x="200" y="65"/>
                        <a:pt x="200" y="64"/>
                      </a:cubicBezTo>
                      <a:cubicBezTo>
                        <a:pt x="200" y="64"/>
                        <a:pt x="200" y="64"/>
                        <a:pt x="200" y="64"/>
                      </a:cubicBezTo>
                      <a:cubicBezTo>
                        <a:pt x="200" y="64"/>
                        <a:pt x="200" y="64"/>
                        <a:pt x="200" y="64"/>
                      </a:cubicBezTo>
                      <a:cubicBezTo>
                        <a:pt x="200" y="63"/>
                        <a:pt x="201" y="63"/>
                        <a:pt x="201" y="62"/>
                      </a:cubicBezTo>
                      <a:cubicBezTo>
                        <a:pt x="201" y="61"/>
                        <a:pt x="202" y="60"/>
                        <a:pt x="202" y="59"/>
                      </a:cubicBezTo>
                      <a:cubicBezTo>
                        <a:pt x="202" y="58"/>
                        <a:pt x="202" y="58"/>
                        <a:pt x="203" y="57"/>
                      </a:cubicBezTo>
                      <a:cubicBezTo>
                        <a:pt x="203" y="56"/>
                        <a:pt x="203" y="54"/>
                        <a:pt x="203" y="53"/>
                      </a:cubicBezTo>
                      <a:cubicBezTo>
                        <a:pt x="203" y="53"/>
                        <a:pt x="204" y="52"/>
                        <a:pt x="204" y="52"/>
                      </a:cubicBezTo>
                      <a:cubicBezTo>
                        <a:pt x="204" y="50"/>
                        <a:pt x="204" y="49"/>
                        <a:pt x="205" y="48"/>
                      </a:cubicBezTo>
                      <a:cubicBezTo>
                        <a:pt x="206" y="44"/>
                        <a:pt x="207" y="41"/>
                        <a:pt x="206" y="37"/>
                      </a:cubicBezTo>
                      <a:cubicBezTo>
                        <a:pt x="206" y="34"/>
                        <a:pt x="205" y="31"/>
                        <a:pt x="203" y="29"/>
                      </a:cubicBezTo>
                      <a:cubicBezTo>
                        <a:pt x="201" y="27"/>
                        <a:pt x="200" y="26"/>
                        <a:pt x="198" y="26"/>
                      </a:cubicBezTo>
                      <a:cubicBezTo>
                        <a:pt x="197" y="26"/>
                        <a:pt x="195" y="26"/>
                        <a:pt x="193" y="29"/>
                      </a:cubicBezTo>
                      <a:cubicBezTo>
                        <a:pt x="192" y="31"/>
                        <a:pt x="191" y="35"/>
                        <a:pt x="191" y="39"/>
                      </a:cubicBezTo>
                      <a:cubicBezTo>
                        <a:pt x="191" y="39"/>
                        <a:pt x="191" y="39"/>
                        <a:pt x="191" y="39"/>
                      </a:cubicBezTo>
                      <a:cubicBezTo>
                        <a:pt x="190" y="39"/>
                        <a:pt x="189" y="39"/>
                        <a:pt x="188" y="39"/>
                      </a:cubicBezTo>
                      <a:cubicBezTo>
                        <a:pt x="187" y="39"/>
                        <a:pt x="185" y="40"/>
                        <a:pt x="183" y="42"/>
                      </a:cubicBezTo>
                      <a:cubicBezTo>
                        <a:pt x="182" y="42"/>
                        <a:pt x="182" y="43"/>
                        <a:pt x="181" y="43"/>
                      </a:cubicBezTo>
                      <a:cubicBezTo>
                        <a:pt x="179" y="44"/>
                        <a:pt x="179" y="44"/>
                        <a:pt x="179" y="44"/>
                      </a:cubicBezTo>
                      <a:cubicBezTo>
                        <a:pt x="179" y="44"/>
                        <a:pt x="179" y="44"/>
                        <a:pt x="178" y="45"/>
                      </a:cubicBezTo>
                      <a:cubicBezTo>
                        <a:pt x="177" y="45"/>
                        <a:pt x="175" y="46"/>
                        <a:pt x="175" y="46"/>
                      </a:cubicBezTo>
                      <a:cubicBezTo>
                        <a:pt x="174" y="46"/>
                        <a:pt x="174" y="46"/>
                        <a:pt x="174" y="45"/>
                      </a:cubicBezTo>
                      <a:cubicBezTo>
                        <a:pt x="173" y="45"/>
                        <a:pt x="173" y="44"/>
                        <a:pt x="173" y="44"/>
                      </a:cubicBezTo>
                      <a:cubicBezTo>
                        <a:pt x="173" y="43"/>
                        <a:pt x="172" y="41"/>
                        <a:pt x="171" y="40"/>
                      </a:cubicBezTo>
                      <a:cubicBezTo>
                        <a:pt x="169" y="39"/>
                        <a:pt x="167" y="38"/>
                        <a:pt x="165" y="38"/>
                      </a:cubicBezTo>
                      <a:cubicBezTo>
                        <a:pt x="166" y="38"/>
                        <a:pt x="167" y="38"/>
                        <a:pt x="168" y="37"/>
                      </a:cubicBezTo>
                      <a:cubicBezTo>
                        <a:pt x="168" y="37"/>
                        <a:pt x="169" y="37"/>
                        <a:pt x="169" y="37"/>
                      </a:cubicBezTo>
                      <a:cubicBezTo>
                        <a:pt x="170" y="37"/>
                        <a:pt x="171" y="37"/>
                        <a:pt x="172" y="37"/>
                      </a:cubicBezTo>
                      <a:cubicBezTo>
                        <a:pt x="176" y="36"/>
                        <a:pt x="176" y="31"/>
                        <a:pt x="176" y="30"/>
                      </a:cubicBezTo>
                      <a:cubicBezTo>
                        <a:pt x="176" y="28"/>
                        <a:pt x="175" y="25"/>
                        <a:pt x="170" y="25"/>
                      </a:cubicBezTo>
                      <a:cubicBezTo>
                        <a:pt x="170" y="25"/>
                        <a:pt x="170" y="25"/>
                        <a:pt x="170" y="25"/>
                      </a:cubicBezTo>
                      <a:cubicBezTo>
                        <a:pt x="169" y="25"/>
                        <a:pt x="169" y="25"/>
                        <a:pt x="168" y="26"/>
                      </a:cubicBezTo>
                      <a:cubicBezTo>
                        <a:pt x="168" y="26"/>
                        <a:pt x="168" y="26"/>
                        <a:pt x="168" y="26"/>
                      </a:cubicBezTo>
                      <a:cubicBezTo>
                        <a:pt x="168" y="26"/>
                        <a:pt x="168" y="26"/>
                        <a:pt x="168" y="26"/>
                      </a:cubicBezTo>
                      <a:cubicBezTo>
                        <a:pt x="168" y="25"/>
                        <a:pt x="167" y="24"/>
                        <a:pt x="167" y="23"/>
                      </a:cubicBezTo>
                      <a:cubicBezTo>
                        <a:pt x="165" y="21"/>
                        <a:pt x="162" y="20"/>
                        <a:pt x="158" y="20"/>
                      </a:cubicBezTo>
                      <a:cubicBezTo>
                        <a:pt x="157" y="20"/>
                        <a:pt x="156" y="20"/>
                        <a:pt x="155" y="21"/>
                      </a:cubicBezTo>
                      <a:cubicBezTo>
                        <a:pt x="153" y="21"/>
                        <a:pt x="153" y="22"/>
                        <a:pt x="152" y="22"/>
                      </a:cubicBezTo>
                      <a:cubicBezTo>
                        <a:pt x="151" y="23"/>
                        <a:pt x="151" y="23"/>
                        <a:pt x="151" y="23"/>
                      </a:cubicBezTo>
                      <a:cubicBezTo>
                        <a:pt x="151" y="23"/>
                        <a:pt x="151" y="23"/>
                        <a:pt x="150" y="23"/>
                      </a:cubicBezTo>
                      <a:cubicBezTo>
                        <a:pt x="150" y="22"/>
                        <a:pt x="149" y="21"/>
                        <a:pt x="147" y="21"/>
                      </a:cubicBezTo>
                      <a:cubicBezTo>
                        <a:pt x="146" y="20"/>
                        <a:pt x="144" y="20"/>
                        <a:pt x="143" y="20"/>
                      </a:cubicBezTo>
                      <a:cubicBezTo>
                        <a:pt x="141" y="20"/>
                        <a:pt x="140" y="20"/>
                        <a:pt x="139" y="20"/>
                      </a:cubicBezTo>
                      <a:cubicBezTo>
                        <a:pt x="138" y="20"/>
                        <a:pt x="137" y="20"/>
                        <a:pt x="137" y="20"/>
                      </a:cubicBezTo>
                      <a:cubicBezTo>
                        <a:pt x="135" y="20"/>
                        <a:pt x="134" y="20"/>
                        <a:pt x="133" y="20"/>
                      </a:cubicBezTo>
                      <a:cubicBezTo>
                        <a:pt x="126" y="20"/>
                        <a:pt x="126" y="20"/>
                        <a:pt x="126" y="20"/>
                      </a:cubicBezTo>
                      <a:cubicBezTo>
                        <a:pt x="125" y="20"/>
                        <a:pt x="125" y="20"/>
                        <a:pt x="124" y="20"/>
                      </a:cubicBezTo>
                      <a:cubicBezTo>
                        <a:pt x="123" y="20"/>
                        <a:pt x="122" y="21"/>
                        <a:pt x="121" y="21"/>
                      </a:cubicBezTo>
                      <a:cubicBezTo>
                        <a:pt x="117" y="21"/>
                        <a:pt x="115" y="20"/>
                        <a:pt x="114" y="19"/>
                      </a:cubicBezTo>
                      <a:cubicBezTo>
                        <a:pt x="114" y="18"/>
                        <a:pt x="114" y="18"/>
                        <a:pt x="115" y="17"/>
                      </a:cubicBezTo>
                      <a:cubicBezTo>
                        <a:pt x="115" y="16"/>
                        <a:pt x="116" y="14"/>
                        <a:pt x="116" y="12"/>
                      </a:cubicBezTo>
                      <a:cubicBezTo>
                        <a:pt x="116" y="8"/>
                        <a:pt x="113" y="5"/>
                        <a:pt x="108" y="5"/>
                      </a:cubicBezTo>
                      <a:cubicBezTo>
                        <a:pt x="108" y="5"/>
                        <a:pt x="108" y="5"/>
                        <a:pt x="107" y="5"/>
                      </a:cubicBezTo>
                      <a:cubicBezTo>
                        <a:pt x="107" y="5"/>
                        <a:pt x="106" y="5"/>
                        <a:pt x="106" y="6"/>
                      </a:cubicBezTo>
                      <a:cubicBezTo>
                        <a:pt x="106" y="5"/>
                        <a:pt x="106" y="5"/>
                        <a:pt x="105" y="5"/>
                      </a:cubicBezTo>
                      <a:cubicBezTo>
                        <a:pt x="105" y="5"/>
                        <a:pt x="105" y="5"/>
                        <a:pt x="104" y="4"/>
                      </a:cubicBezTo>
                      <a:cubicBezTo>
                        <a:pt x="103" y="3"/>
                        <a:pt x="102" y="2"/>
                        <a:pt x="99" y="2"/>
                      </a:cubicBezTo>
                      <a:cubicBezTo>
                        <a:pt x="99" y="2"/>
                        <a:pt x="98" y="2"/>
                        <a:pt x="97" y="2"/>
                      </a:cubicBezTo>
                      <a:cubicBezTo>
                        <a:pt x="95" y="3"/>
                        <a:pt x="94" y="4"/>
                        <a:pt x="93" y="5"/>
                      </a:cubicBezTo>
                      <a:cubicBezTo>
                        <a:pt x="93" y="5"/>
                        <a:pt x="93" y="5"/>
                        <a:pt x="93" y="5"/>
                      </a:cubicBezTo>
                      <a:cubicBezTo>
                        <a:pt x="93" y="5"/>
                        <a:pt x="93" y="5"/>
                        <a:pt x="93" y="5"/>
                      </a:cubicBezTo>
                      <a:cubicBezTo>
                        <a:pt x="92" y="3"/>
                        <a:pt x="91" y="0"/>
                        <a:pt x="87" y="0"/>
                      </a:cubicBezTo>
                      <a:cubicBezTo>
                        <a:pt x="87" y="0"/>
                        <a:pt x="86" y="1"/>
                        <a:pt x="85" y="1"/>
                      </a:cubicBezTo>
                      <a:cubicBezTo>
                        <a:pt x="82" y="2"/>
                        <a:pt x="81" y="4"/>
                        <a:pt x="81" y="6"/>
                      </a:cubicBezTo>
                      <a:cubicBezTo>
                        <a:pt x="80" y="6"/>
                        <a:pt x="80" y="7"/>
                        <a:pt x="80" y="7"/>
                      </a:cubicBezTo>
                      <a:cubicBezTo>
                        <a:pt x="80" y="8"/>
                        <a:pt x="80" y="8"/>
                        <a:pt x="79" y="8"/>
                      </a:cubicBezTo>
                      <a:cubicBezTo>
                        <a:pt x="78" y="9"/>
                        <a:pt x="77" y="11"/>
                        <a:pt x="77" y="14"/>
                      </a:cubicBezTo>
                      <a:cubicBezTo>
                        <a:pt x="77" y="14"/>
                        <a:pt x="77" y="14"/>
                        <a:pt x="77" y="14"/>
                      </a:cubicBezTo>
                      <a:cubicBezTo>
                        <a:pt x="76" y="14"/>
                        <a:pt x="73" y="7"/>
                        <a:pt x="73" y="7"/>
                      </a:cubicBezTo>
                      <a:cubicBezTo>
                        <a:pt x="70" y="11"/>
                        <a:pt x="70" y="11"/>
                        <a:pt x="70" y="11"/>
                      </a:cubicBezTo>
                      <a:cubicBezTo>
                        <a:pt x="70" y="12"/>
                        <a:pt x="70" y="13"/>
                        <a:pt x="69" y="13"/>
                      </a:cubicBezTo>
                      <a:cubicBezTo>
                        <a:pt x="68" y="15"/>
                        <a:pt x="67" y="17"/>
                        <a:pt x="65" y="19"/>
                      </a:cubicBezTo>
                      <a:cubicBezTo>
                        <a:pt x="64" y="22"/>
                        <a:pt x="62" y="25"/>
                        <a:pt x="59" y="27"/>
                      </a:cubicBezTo>
                      <a:cubicBezTo>
                        <a:pt x="58" y="28"/>
                        <a:pt x="56" y="29"/>
                        <a:pt x="54" y="30"/>
                      </a:cubicBezTo>
                      <a:cubicBezTo>
                        <a:pt x="51" y="32"/>
                        <a:pt x="48" y="33"/>
                        <a:pt x="47" y="36"/>
                      </a:cubicBezTo>
                      <a:cubicBezTo>
                        <a:pt x="45" y="38"/>
                        <a:pt x="45" y="40"/>
                        <a:pt x="44" y="43"/>
                      </a:cubicBezTo>
                      <a:cubicBezTo>
                        <a:pt x="44" y="45"/>
                        <a:pt x="43" y="47"/>
                        <a:pt x="42" y="49"/>
                      </a:cubicBezTo>
                      <a:cubicBezTo>
                        <a:pt x="39" y="54"/>
                        <a:pt x="36" y="57"/>
                        <a:pt x="31" y="61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29" y="63"/>
                        <a:pt x="27" y="66"/>
                        <a:pt x="27" y="68"/>
                      </a:cubicBezTo>
                      <a:cubicBezTo>
                        <a:pt x="27" y="70"/>
                        <a:pt x="28" y="73"/>
                        <a:pt x="31" y="75"/>
                      </a:cubicBezTo>
                      <a:cubicBezTo>
                        <a:pt x="33" y="77"/>
                        <a:pt x="37" y="78"/>
                        <a:pt x="41" y="80"/>
                      </a:cubicBezTo>
                      <a:cubicBezTo>
                        <a:pt x="45" y="81"/>
                        <a:pt x="50" y="83"/>
                        <a:pt x="51" y="86"/>
                      </a:cubicBezTo>
                      <a:cubicBezTo>
                        <a:pt x="52" y="89"/>
                        <a:pt x="52" y="92"/>
                        <a:pt x="50" y="96"/>
                      </a:cubicBezTo>
                      <a:cubicBezTo>
                        <a:pt x="49" y="99"/>
                        <a:pt x="45" y="102"/>
                        <a:pt x="41" y="105"/>
                      </a:cubicBezTo>
                      <a:cubicBezTo>
                        <a:pt x="35" y="111"/>
                        <a:pt x="28" y="117"/>
                        <a:pt x="31" y="123"/>
                      </a:cubicBezTo>
                      <a:cubicBezTo>
                        <a:pt x="32" y="125"/>
                        <a:pt x="34" y="127"/>
                        <a:pt x="36" y="129"/>
                      </a:cubicBezTo>
                      <a:cubicBezTo>
                        <a:pt x="41" y="132"/>
                        <a:pt x="44" y="135"/>
                        <a:pt x="41" y="140"/>
                      </a:cubicBezTo>
                      <a:cubicBezTo>
                        <a:pt x="38" y="146"/>
                        <a:pt x="31" y="151"/>
                        <a:pt x="25" y="155"/>
                      </a:cubicBezTo>
                      <a:cubicBezTo>
                        <a:pt x="23" y="157"/>
                        <a:pt x="23" y="157"/>
                        <a:pt x="23" y="157"/>
                      </a:cubicBezTo>
                      <a:cubicBezTo>
                        <a:pt x="15" y="162"/>
                        <a:pt x="16" y="170"/>
                        <a:pt x="16" y="178"/>
                      </a:cubicBezTo>
                      <a:cubicBezTo>
                        <a:pt x="17" y="180"/>
                        <a:pt x="17" y="180"/>
                        <a:pt x="17" y="180"/>
                      </a:cubicBezTo>
                      <a:cubicBezTo>
                        <a:pt x="17" y="184"/>
                        <a:pt x="18" y="186"/>
                        <a:pt x="20" y="189"/>
                      </a:cubicBezTo>
                      <a:cubicBezTo>
                        <a:pt x="20" y="190"/>
                        <a:pt x="21" y="191"/>
                        <a:pt x="22" y="192"/>
                      </a:cubicBezTo>
                      <a:cubicBezTo>
                        <a:pt x="23" y="195"/>
                        <a:pt x="23" y="199"/>
                        <a:pt x="22" y="203"/>
                      </a:cubicBezTo>
                      <a:cubicBezTo>
                        <a:pt x="22" y="204"/>
                        <a:pt x="22" y="205"/>
                        <a:pt x="22" y="206"/>
                      </a:cubicBezTo>
                      <a:cubicBezTo>
                        <a:pt x="22" y="208"/>
                        <a:pt x="22" y="208"/>
                        <a:pt x="22" y="208"/>
                      </a:cubicBezTo>
                      <a:cubicBezTo>
                        <a:pt x="21" y="212"/>
                        <a:pt x="21" y="217"/>
                        <a:pt x="21" y="222"/>
                      </a:cubicBezTo>
                      <a:cubicBezTo>
                        <a:pt x="21" y="222"/>
                        <a:pt x="22" y="223"/>
                        <a:pt x="22" y="224"/>
                      </a:cubicBezTo>
                      <a:cubicBezTo>
                        <a:pt x="22" y="227"/>
                        <a:pt x="23" y="230"/>
                        <a:pt x="21" y="234"/>
                      </a:cubicBezTo>
                      <a:cubicBezTo>
                        <a:pt x="20" y="238"/>
                        <a:pt x="17" y="240"/>
                        <a:pt x="14" y="243"/>
                      </a:cubicBezTo>
                      <a:cubicBezTo>
                        <a:pt x="12" y="245"/>
                        <a:pt x="10" y="246"/>
                        <a:pt x="9" y="249"/>
                      </a:cubicBezTo>
                      <a:cubicBezTo>
                        <a:pt x="7" y="252"/>
                        <a:pt x="7" y="256"/>
                        <a:pt x="8" y="261"/>
                      </a:cubicBezTo>
                      <a:cubicBezTo>
                        <a:pt x="8" y="262"/>
                        <a:pt x="8" y="264"/>
                        <a:pt x="8" y="265"/>
                      </a:cubicBezTo>
                      <a:cubicBezTo>
                        <a:pt x="9" y="270"/>
                        <a:pt x="7" y="273"/>
                        <a:pt x="4" y="276"/>
                      </a:cubicBezTo>
                      <a:cubicBezTo>
                        <a:pt x="4" y="277"/>
                        <a:pt x="3" y="278"/>
                        <a:pt x="2" y="280"/>
                      </a:cubicBezTo>
                      <a:cubicBezTo>
                        <a:pt x="0" y="284"/>
                        <a:pt x="1" y="285"/>
                        <a:pt x="3" y="288"/>
                      </a:cubicBezTo>
                      <a:cubicBezTo>
                        <a:pt x="4" y="289"/>
                        <a:pt x="5" y="290"/>
                        <a:pt x="6" y="291"/>
                      </a:cubicBezTo>
                      <a:cubicBezTo>
                        <a:pt x="8" y="296"/>
                        <a:pt x="8" y="301"/>
                        <a:pt x="8" y="307"/>
                      </a:cubicBezTo>
                      <a:cubicBezTo>
                        <a:pt x="8" y="311"/>
                        <a:pt x="8" y="315"/>
                        <a:pt x="9" y="319"/>
                      </a:cubicBezTo>
                      <a:cubicBezTo>
                        <a:pt x="10" y="321"/>
                        <a:pt x="11" y="322"/>
                        <a:pt x="12" y="324"/>
                      </a:cubicBezTo>
                      <a:cubicBezTo>
                        <a:pt x="14" y="326"/>
                        <a:pt x="15" y="328"/>
                        <a:pt x="15" y="330"/>
                      </a:cubicBezTo>
                      <a:cubicBezTo>
                        <a:pt x="16" y="335"/>
                        <a:pt x="14" y="338"/>
                        <a:pt x="13" y="341"/>
                      </a:cubicBezTo>
                      <a:cubicBezTo>
                        <a:pt x="11" y="343"/>
                        <a:pt x="10" y="345"/>
                        <a:pt x="10" y="348"/>
                      </a:cubicBezTo>
                      <a:cubicBezTo>
                        <a:pt x="9" y="352"/>
                        <a:pt x="11" y="356"/>
                        <a:pt x="14" y="358"/>
                      </a:cubicBezTo>
                      <a:cubicBezTo>
                        <a:pt x="16" y="359"/>
                        <a:pt x="18" y="360"/>
                        <a:pt x="20" y="360"/>
                      </a:cubicBezTo>
                      <a:cubicBezTo>
                        <a:pt x="22" y="360"/>
                        <a:pt x="24" y="361"/>
                        <a:pt x="26" y="362"/>
                      </a:cubicBezTo>
                      <a:cubicBezTo>
                        <a:pt x="27" y="363"/>
                        <a:pt x="27" y="363"/>
                        <a:pt x="28" y="364"/>
                      </a:cubicBezTo>
                      <a:cubicBezTo>
                        <a:pt x="29" y="365"/>
                        <a:pt x="29" y="366"/>
                        <a:pt x="30" y="367"/>
                      </a:cubicBezTo>
                      <a:cubicBezTo>
                        <a:pt x="32" y="368"/>
                        <a:pt x="33" y="368"/>
                        <a:pt x="35" y="368"/>
                      </a:cubicBezTo>
                      <a:cubicBezTo>
                        <a:pt x="35" y="368"/>
                        <a:pt x="36" y="368"/>
                        <a:pt x="37" y="368"/>
                      </a:cubicBezTo>
                      <a:cubicBezTo>
                        <a:pt x="38" y="368"/>
                        <a:pt x="38" y="368"/>
                        <a:pt x="39" y="368"/>
                      </a:cubicBezTo>
                      <a:cubicBezTo>
                        <a:pt x="42" y="368"/>
                        <a:pt x="44" y="368"/>
                        <a:pt x="45" y="370"/>
                      </a:cubicBezTo>
                      <a:cubicBezTo>
                        <a:pt x="47" y="373"/>
                        <a:pt x="46" y="375"/>
                        <a:pt x="42" y="379"/>
                      </a:cubicBezTo>
                      <a:cubicBezTo>
                        <a:pt x="41" y="380"/>
                        <a:pt x="41" y="381"/>
                        <a:pt x="40" y="382"/>
                      </a:cubicBezTo>
                      <a:cubicBezTo>
                        <a:pt x="38" y="385"/>
                        <a:pt x="39" y="388"/>
                        <a:pt x="39" y="392"/>
                      </a:cubicBezTo>
                      <a:cubicBezTo>
                        <a:pt x="40" y="394"/>
                        <a:pt x="40" y="396"/>
                        <a:pt x="40" y="399"/>
                      </a:cubicBezTo>
                      <a:cubicBezTo>
                        <a:pt x="39" y="401"/>
                        <a:pt x="39" y="402"/>
                        <a:pt x="39" y="402"/>
                      </a:cubicBezTo>
                      <a:cubicBezTo>
                        <a:pt x="38" y="403"/>
                        <a:pt x="38" y="403"/>
                        <a:pt x="38" y="404"/>
                      </a:cubicBezTo>
                      <a:cubicBezTo>
                        <a:pt x="37" y="406"/>
                        <a:pt x="37" y="406"/>
                        <a:pt x="37" y="406"/>
                      </a:cubicBezTo>
                      <a:cubicBezTo>
                        <a:pt x="39" y="407"/>
                        <a:pt x="39" y="407"/>
                        <a:pt x="39" y="407"/>
                      </a:cubicBezTo>
                      <a:cubicBezTo>
                        <a:pt x="60" y="420"/>
                        <a:pt x="82" y="432"/>
                        <a:pt x="103" y="444"/>
                      </a:cubicBezTo>
                      <a:cubicBezTo>
                        <a:pt x="103" y="444"/>
                        <a:pt x="103" y="444"/>
                        <a:pt x="103" y="444"/>
                      </a:cubicBezTo>
                      <a:cubicBezTo>
                        <a:pt x="268" y="530"/>
                        <a:pt x="401" y="552"/>
                        <a:pt x="426" y="556"/>
                      </a:cubicBezTo>
                      <a:cubicBezTo>
                        <a:pt x="429" y="556"/>
                        <a:pt x="429" y="556"/>
                        <a:pt x="429" y="556"/>
                      </a:cubicBezTo>
                      <a:cubicBezTo>
                        <a:pt x="430" y="553"/>
                        <a:pt x="430" y="553"/>
                        <a:pt x="430" y="553"/>
                      </a:cubicBezTo>
                      <a:cubicBezTo>
                        <a:pt x="443" y="468"/>
                        <a:pt x="453" y="418"/>
                        <a:pt x="457" y="403"/>
                      </a:cubicBezTo>
                      <a:cubicBezTo>
                        <a:pt x="458" y="401"/>
                        <a:pt x="458" y="401"/>
                        <a:pt x="458" y="401"/>
                      </a:cubicBezTo>
                      <a:lnTo>
                        <a:pt x="345" y="346"/>
                      </a:lnTo>
                      <a:close/>
                      <a:moveTo>
                        <a:pt x="106" y="44"/>
                      </a:moveTo>
                      <a:cubicBezTo>
                        <a:pt x="106" y="44"/>
                        <a:pt x="105" y="44"/>
                        <a:pt x="105" y="43"/>
                      </a:cubicBezTo>
                      <a:cubicBezTo>
                        <a:pt x="104" y="43"/>
                        <a:pt x="104" y="42"/>
                        <a:pt x="104" y="41"/>
                      </a:cubicBezTo>
                      <a:cubicBezTo>
                        <a:pt x="104" y="39"/>
                        <a:pt x="106" y="38"/>
                        <a:pt x="111" y="37"/>
                      </a:cubicBezTo>
                      <a:cubicBezTo>
                        <a:pt x="111" y="37"/>
                        <a:pt x="112" y="37"/>
                        <a:pt x="112" y="37"/>
                      </a:cubicBezTo>
                      <a:cubicBezTo>
                        <a:pt x="112" y="38"/>
                        <a:pt x="111" y="38"/>
                        <a:pt x="111" y="39"/>
                      </a:cubicBezTo>
                      <a:cubicBezTo>
                        <a:pt x="111" y="40"/>
                        <a:pt x="110" y="40"/>
                        <a:pt x="110" y="40"/>
                      </a:cubicBezTo>
                      <a:cubicBezTo>
                        <a:pt x="109" y="42"/>
                        <a:pt x="109" y="43"/>
                        <a:pt x="107" y="44"/>
                      </a:cubicBezTo>
                      <a:cubicBezTo>
                        <a:pt x="107" y="44"/>
                        <a:pt x="107" y="44"/>
                        <a:pt x="106" y="44"/>
                      </a:cubicBezTo>
                      <a:close/>
                      <a:moveTo>
                        <a:pt x="232" y="212"/>
                      </a:moveTo>
                      <a:cubicBezTo>
                        <a:pt x="231" y="212"/>
                        <a:pt x="230" y="212"/>
                        <a:pt x="229" y="212"/>
                      </a:cubicBezTo>
                      <a:cubicBezTo>
                        <a:pt x="229" y="212"/>
                        <a:pt x="229" y="212"/>
                        <a:pt x="229" y="212"/>
                      </a:cubicBezTo>
                      <a:cubicBezTo>
                        <a:pt x="228" y="212"/>
                        <a:pt x="227" y="212"/>
                        <a:pt x="226" y="212"/>
                      </a:cubicBezTo>
                      <a:cubicBezTo>
                        <a:pt x="225" y="212"/>
                        <a:pt x="224" y="212"/>
                        <a:pt x="222" y="212"/>
                      </a:cubicBezTo>
                      <a:cubicBezTo>
                        <a:pt x="220" y="212"/>
                        <a:pt x="217" y="212"/>
                        <a:pt x="214" y="214"/>
                      </a:cubicBezTo>
                      <a:cubicBezTo>
                        <a:pt x="212" y="216"/>
                        <a:pt x="208" y="218"/>
                        <a:pt x="208" y="222"/>
                      </a:cubicBezTo>
                      <a:cubicBezTo>
                        <a:pt x="208" y="225"/>
                        <a:pt x="211" y="227"/>
                        <a:pt x="213" y="228"/>
                      </a:cubicBezTo>
                      <a:cubicBezTo>
                        <a:pt x="213" y="228"/>
                        <a:pt x="213" y="228"/>
                        <a:pt x="213" y="228"/>
                      </a:cubicBezTo>
                      <a:cubicBezTo>
                        <a:pt x="217" y="230"/>
                        <a:pt x="220" y="232"/>
                        <a:pt x="222" y="235"/>
                      </a:cubicBezTo>
                      <a:cubicBezTo>
                        <a:pt x="222" y="236"/>
                        <a:pt x="222" y="236"/>
                        <a:pt x="222" y="236"/>
                      </a:cubicBezTo>
                      <a:cubicBezTo>
                        <a:pt x="223" y="236"/>
                        <a:pt x="223" y="236"/>
                        <a:pt x="223" y="236"/>
                      </a:cubicBezTo>
                      <a:cubicBezTo>
                        <a:pt x="224" y="237"/>
                        <a:pt x="225" y="237"/>
                        <a:pt x="226" y="238"/>
                      </a:cubicBezTo>
                      <a:cubicBezTo>
                        <a:pt x="228" y="239"/>
                        <a:pt x="230" y="240"/>
                        <a:pt x="233" y="240"/>
                      </a:cubicBezTo>
                      <a:cubicBezTo>
                        <a:pt x="233" y="240"/>
                        <a:pt x="234" y="240"/>
                        <a:pt x="234" y="240"/>
                      </a:cubicBezTo>
                      <a:cubicBezTo>
                        <a:pt x="237" y="240"/>
                        <a:pt x="239" y="239"/>
                        <a:pt x="241" y="238"/>
                      </a:cubicBezTo>
                      <a:cubicBezTo>
                        <a:pt x="242" y="237"/>
                        <a:pt x="243" y="237"/>
                        <a:pt x="244" y="236"/>
                      </a:cubicBezTo>
                      <a:cubicBezTo>
                        <a:pt x="244" y="236"/>
                        <a:pt x="245" y="236"/>
                        <a:pt x="244" y="236"/>
                      </a:cubicBezTo>
                      <a:cubicBezTo>
                        <a:pt x="245" y="237"/>
                        <a:pt x="244" y="241"/>
                        <a:pt x="243" y="243"/>
                      </a:cubicBezTo>
                      <a:cubicBezTo>
                        <a:pt x="242" y="244"/>
                        <a:pt x="240" y="245"/>
                        <a:pt x="238" y="246"/>
                      </a:cubicBezTo>
                      <a:cubicBezTo>
                        <a:pt x="235" y="248"/>
                        <a:pt x="231" y="250"/>
                        <a:pt x="230" y="255"/>
                      </a:cubicBezTo>
                      <a:cubicBezTo>
                        <a:pt x="230" y="255"/>
                        <a:pt x="230" y="256"/>
                        <a:pt x="230" y="257"/>
                      </a:cubicBezTo>
                      <a:cubicBezTo>
                        <a:pt x="230" y="258"/>
                        <a:pt x="230" y="259"/>
                        <a:pt x="230" y="259"/>
                      </a:cubicBezTo>
                      <a:cubicBezTo>
                        <a:pt x="230" y="259"/>
                        <a:pt x="229" y="259"/>
                        <a:pt x="229" y="259"/>
                      </a:cubicBezTo>
                      <a:cubicBezTo>
                        <a:pt x="228" y="259"/>
                        <a:pt x="226" y="259"/>
                        <a:pt x="226" y="258"/>
                      </a:cubicBezTo>
                      <a:cubicBezTo>
                        <a:pt x="225" y="258"/>
                        <a:pt x="225" y="257"/>
                        <a:pt x="224" y="256"/>
                      </a:cubicBezTo>
                      <a:cubicBezTo>
                        <a:pt x="223" y="254"/>
                        <a:pt x="223" y="253"/>
                        <a:pt x="221" y="252"/>
                      </a:cubicBezTo>
                      <a:cubicBezTo>
                        <a:pt x="219" y="249"/>
                        <a:pt x="214" y="248"/>
                        <a:pt x="212" y="247"/>
                      </a:cubicBezTo>
                      <a:cubicBezTo>
                        <a:pt x="211" y="247"/>
                        <a:pt x="211" y="247"/>
                        <a:pt x="210" y="247"/>
                      </a:cubicBezTo>
                      <a:cubicBezTo>
                        <a:pt x="207" y="247"/>
                        <a:pt x="202" y="249"/>
                        <a:pt x="200" y="252"/>
                      </a:cubicBezTo>
                      <a:cubicBezTo>
                        <a:pt x="199" y="254"/>
                        <a:pt x="199" y="257"/>
                        <a:pt x="200" y="259"/>
                      </a:cubicBezTo>
                      <a:cubicBezTo>
                        <a:pt x="200" y="260"/>
                        <a:pt x="201" y="261"/>
                        <a:pt x="201" y="261"/>
                      </a:cubicBezTo>
                      <a:cubicBezTo>
                        <a:pt x="201" y="261"/>
                        <a:pt x="200" y="261"/>
                        <a:pt x="199" y="261"/>
                      </a:cubicBezTo>
                      <a:cubicBezTo>
                        <a:pt x="198" y="261"/>
                        <a:pt x="197" y="261"/>
                        <a:pt x="196" y="262"/>
                      </a:cubicBezTo>
                      <a:cubicBezTo>
                        <a:pt x="195" y="262"/>
                        <a:pt x="194" y="262"/>
                        <a:pt x="193" y="263"/>
                      </a:cubicBezTo>
                      <a:cubicBezTo>
                        <a:pt x="192" y="263"/>
                        <a:pt x="191" y="263"/>
                        <a:pt x="190" y="263"/>
                      </a:cubicBezTo>
                      <a:cubicBezTo>
                        <a:pt x="189" y="264"/>
                        <a:pt x="187" y="264"/>
                        <a:pt x="185" y="265"/>
                      </a:cubicBezTo>
                      <a:cubicBezTo>
                        <a:pt x="186" y="264"/>
                        <a:pt x="187" y="264"/>
                        <a:pt x="188" y="264"/>
                      </a:cubicBezTo>
                      <a:cubicBezTo>
                        <a:pt x="192" y="262"/>
                        <a:pt x="195" y="259"/>
                        <a:pt x="197" y="256"/>
                      </a:cubicBezTo>
                      <a:cubicBezTo>
                        <a:pt x="198" y="252"/>
                        <a:pt x="198" y="249"/>
                        <a:pt x="196" y="245"/>
                      </a:cubicBezTo>
                      <a:cubicBezTo>
                        <a:pt x="195" y="243"/>
                        <a:pt x="195" y="243"/>
                        <a:pt x="195" y="243"/>
                      </a:cubicBezTo>
                      <a:cubicBezTo>
                        <a:pt x="193" y="243"/>
                        <a:pt x="193" y="243"/>
                        <a:pt x="193" y="243"/>
                      </a:cubicBezTo>
                      <a:cubicBezTo>
                        <a:pt x="189" y="243"/>
                        <a:pt x="184" y="244"/>
                        <a:pt x="179" y="245"/>
                      </a:cubicBezTo>
                      <a:cubicBezTo>
                        <a:pt x="175" y="246"/>
                        <a:pt x="173" y="249"/>
                        <a:pt x="170" y="251"/>
                      </a:cubicBezTo>
                      <a:cubicBezTo>
                        <a:pt x="169" y="252"/>
                        <a:pt x="167" y="253"/>
                        <a:pt x="166" y="254"/>
                      </a:cubicBezTo>
                      <a:cubicBezTo>
                        <a:pt x="165" y="255"/>
                        <a:pt x="164" y="255"/>
                        <a:pt x="163" y="255"/>
                      </a:cubicBezTo>
                      <a:cubicBezTo>
                        <a:pt x="161" y="255"/>
                        <a:pt x="159" y="252"/>
                        <a:pt x="156" y="250"/>
                      </a:cubicBezTo>
                      <a:cubicBezTo>
                        <a:pt x="155" y="249"/>
                        <a:pt x="154" y="248"/>
                        <a:pt x="154" y="247"/>
                      </a:cubicBezTo>
                      <a:cubicBezTo>
                        <a:pt x="153" y="247"/>
                        <a:pt x="152" y="246"/>
                        <a:pt x="152" y="246"/>
                      </a:cubicBezTo>
                      <a:cubicBezTo>
                        <a:pt x="151" y="246"/>
                        <a:pt x="151" y="245"/>
                        <a:pt x="151" y="245"/>
                      </a:cubicBezTo>
                      <a:cubicBezTo>
                        <a:pt x="152" y="245"/>
                        <a:pt x="153" y="246"/>
                        <a:pt x="154" y="246"/>
                      </a:cubicBezTo>
                      <a:cubicBezTo>
                        <a:pt x="155" y="246"/>
                        <a:pt x="156" y="245"/>
                        <a:pt x="157" y="245"/>
                      </a:cubicBezTo>
                      <a:cubicBezTo>
                        <a:pt x="161" y="243"/>
                        <a:pt x="163" y="239"/>
                        <a:pt x="164" y="236"/>
                      </a:cubicBezTo>
                      <a:cubicBezTo>
                        <a:pt x="165" y="236"/>
                        <a:pt x="165" y="236"/>
                        <a:pt x="166" y="236"/>
                      </a:cubicBezTo>
                      <a:cubicBezTo>
                        <a:pt x="167" y="236"/>
                        <a:pt x="168" y="236"/>
                        <a:pt x="169" y="236"/>
                      </a:cubicBezTo>
                      <a:cubicBezTo>
                        <a:pt x="170" y="236"/>
                        <a:pt x="173" y="236"/>
                        <a:pt x="176" y="233"/>
                      </a:cubicBezTo>
                      <a:cubicBezTo>
                        <a:pt x="177" y="231"/>
                        <a:pt x="178" y="230"/>
                        <a:pt x="178" y="228"/>
                      </a:cubicBezTo>
                      <a:cubicBezTo>
                        <a:pt x="178" y="228"/>
                        <a:pt x="178" y="229"/>
                        <a:pt x="178" y="229"/>
                      </a:cubicBezTo>
                      <a:cubicBezTo>
                        <a:pt x="182" y="232"/>
                        <a:pt x="184" y="234"/>
                        <a:pt x="189" y="234"/>
                      </a:cubicBezTo>
                      <a:cubicBezTo>
                        <a:pt x="189" y="234"/>
                        <a:pt x="190" y="234"/>
                        <a:pt x="191" y="234"/>
                      </a:cubicBezTo>
                      <a:cubicBezTo>
                        <a:pt x="194" y="233"/>
                        <a:pt x="194" y="233"/>
                        <a:pt x="194" y="233"/>
                      </a:cubicBezTo>
                      <a:cubicBezTo>
                        <a:pt x="194" y="231"/>
                        <a:pt x="194" y="231"/>
                        <a:pt x="194" y="231"/>
                      </a:cubicBezTo>
                      <a:cubicBezTo>
                        <a:pt x="194" y="221"/>
                        <a:pt x="190" y="217"/>
                        <a:pt x="184" y="211"/>
                      </a:cubicBezTo>
                      <a:cubicBezTo>
                        <a:pt x="183" y="211"/>
                        <a:pt x="183" y="211"/>
                        <a:pt x="182" y="210"/>
                      </a:cubicBezTo>
                      <a:cubicBezTo>
                        <a:pt x="181" y="209"/>
                        <a:pt x="178" y="207"/>
                        <a:pt x="175" y="206"/>
                      </a:cubicBezTo>
                      <a:cubicBezTo>
                        <a:pt x="174" y="206"/>
                        <a:pt x="174" y="206"/>
                        <a:pt x="174" y="206"/>
                      </a:cubicBezTo>
                      <a:cubicBezTo>
                        <a:pt x="173" y="206"/>
                        <a:pt x="172" y="207"/>
                        <a:pt x="171" y="207"/>
                      </a:cubicBezTo>
                      <a:cubicBezTo>
                        <a:pt x="171" y="207"/>
                        <a:pt x="171" y="207"/>
                        <a:pt x="171" y="207"/>
                      </a:cubicBezTo>
                      <a:cubicBezTo>
                        <a:pt x="170" y="207"/>
                        <a:pt x="169" y="206"/>
                        <a:pt x="168" y="205"/>
                      </a:cubicBezTo>
                      <a:cubicBezTo>
                        <a:pt x="168" y="205"/>
                        <a:pt x="168" y="205"/>
                        <a:pt x="168" y="205"/>
                      </a:cubicBezTo>
                      <a:cubicBezTo>
                        <a:pt x="166" y="203"/>
                        <a:pt x="165" y="203"/>
                        <a:pt x="162" y="202"/>
                      </a:cubicBezTo>
                      <a:cubicBezTo>
                        <a:pt x="161" y="201"/>
                        <a:pt x="161" y="201"/>
                        <a:pt x="160" y="200"/>
                      </a:cubicBezTo>
                      <a:cubicBezTo>
                        <a:pt x="159" y="200"/>
                        <a:pt x="158" y="199"/>
                        <a:pt x="157" y="199"/>
                      </a:cubicBezTo>
                      <a:cubicBezTo>
                        <a:pt x="157" y="199"/>
                        <a:pt x="157" y="199"/>
                        <a:pt x="156" y="198"/>
                      </a:cubicBezTo>
                      <a:cubicBezTo>
                        <a:pt x="157" y="199"/>
                        <a:pt x="157" y="199"/>
                        <a:pt x="158" y="199"/>
                      </a:cubicBezTo>
                      <a:cubicBezTo>
                        <a:pt x="159" y="200"/>
                        <a:pt x="161" y="200"/>
                        <a:pt x="163" y="200"/>
                      </a:cubicBezTo>
                      <a:cubicBezTo>
                        <a:pt x="163" y="200"/>
                        <a:pt x="163" y="200"/>
                        <a:pt x="164" y="200"/>
                      </a:cubicBezTo>
                      <a:cubicBezTo>
                        <a:pt x="165" y="200"/>
                        <a:pt x="166" y="200"/>
                        <a:pt x="167" y="199"/>
                      </a:cubicBezTo>
                      <a:cubicBezTo>
                        <a:pt x="167" y="199"/>
                        <a:pt x="168" y="199"/>
                        <a:pt x="169" y="199"/>
                      </a:cubicBezTo>
                      <a:cubicBezTo>
                        <a:pt x="169" y="199"/>
                        <a:pt x="169" y="199"/>
                        <a:pt x="170" y="199"/>
                      </a:cubicBezTo>
                      <a:cubicBezTo>
                        <a:pt x="171" y="199"/>
                        <a:pt x="171" y="200"/>
                        <a:pt x="172" y="200"/>
                      </a:cubicBezTo>
                      <a:cubicBezTo>
                        <a:pt x="174" y="201"/>
                        <a:pt x="175" y="201"/>
                        <a:pt x="176" y="201"/>
                      </a:cubicBezTo>
                      <a:cubicBezTo>
                        <a:pt x="179" y="202"/>
                        <a:pt x="182" y="203"/>
                        <a:pt x="185" y="204"/>
                      </a:cubicBezTo>
                      <a:cubicBezTo>
                        <a:pt x="190" y="206"/>
                        <a:pt x="194" y="208"/>
                        <a:pt x="200" y="208"/>
                      </a:cubicBezTo>
                      <a:cubicBezTo>
                        <a:pt x="201" y="208"/>
                        <a:pt x="201" y="208"/>
                        <a:pt x="202" y="208"/>
                      </a:cubicBezTo>
                      <a:cubicBezTo>
                        <a:pt x="205" y="207"/>
                        <a:pt x="207" y="207"/>
                        <a:pt x="209" y="206"/>
                      </a:cubicBezTo>
                      <a:cubicBezTo>
                        <a:pt x="212" y="206"/>
                        <a:pt x="214" y="205"/>
                        <a:pt x="217" y="205"/>
                      </a:cubicBezTo>
                      <a:cubicBezTo>
                        <a:pt x="217" y="205"/>
                        <a:pt x="218" y="205"/>
                        <a:pt x="218" y="205"/>
                      </a:cubicBezTo>
                      <a:cubicBezTo>
                        <a:pt x="222" y="205"/>
                        <a:pt x="227" y="208"/>
                        <a:pt x="231" y="211"/>
                      </a:cubicBezTo>
                      <a:cubicBezTo>
                        <a:pt x="231" y="211"/>
                        <a:pt x="232" y="212"/>
                        <a:pt x="232" y="212"/>
                      </a:cubicBezTo>
                      <a:close/>
                      <a:moveTo>
                        <a:pt x="144" y="195"/>
                      </a:moveTo>
                      <a:cubicBezTo>
                        <a:pt x="144" y="195"/>
                        <a:pt x="145" y="195"/>
                        <a:pt x="146" y="195"/>
                      </a:cubicBezTo>
                      <a:cubicBezTo>
                        <a:pt x="146" y="195"/>
                        <a:pt x="146" y="195"/>
                        <a:pt x="146" y="195"/>
                      </a:cubicBezTo>
                      <a:cubicBezTo>
                        <a:pt x="147" y="195"/>
                        <a:pt x="147" y="195"/>
                        <a:pt x="148" y="196"/>
                      </a:cubicBezTo>
                      <a:cubicBezTo>
                        <a:pt x="149" y="196"/>
                        <a:pt x="149" y="196"/>
                        <a:pt x="150" y="197"/>
                      </a:cubicBezTo>
                      <a:cubicBezTo>
                        <a:pt x="150" y="197"/>
                        <a:pt x="151" y="197"/>
                        <a:pt x="152" y="197"/>
                      </a:cubicBezTo>
                      <a:cubicBezTo>
                        <a:pt x="152" y="197"/>
                        <a:pt x="151" y="197"/>
                        <a:pt x="151" y="197"/>
                      </a:cubicBezTo>
                      <a:cubicBezTo>
                        <a:pt x="149" y="197"/>
                        <a:pt x="147" y="198"/>
                        <a:pt x="145" y="199"/>
                      </a:cubicBezTo>
                      <a:cubicBezTo>
                        <a:pt x="144" y="199"/>
                        <a:pt x="143" y="199"/>
                        <a:pt x="143" y="199"/>
                      </a:cubicBezTo>
                      <a:cubicBezTo>
                        <a:pt x="143" y="199"/>
                        <a:pt x="143" y="199"/>
                        <a:pt x="143" y="198"/>
                      </a:cubicBezTo>
                      <a:cubicBezTo>
                        <a:pt x="143" y="197"/>
                        <a:pt x="143" y="196"/>
                        <a:pt x="144" y="195"/>
                      </a:cubicBezTo>
                      <a:close/>
                      <a:moveTo>
                        <a:pt x="154" y="38"/>
                      </a:moveTo>
                      <a:cubicBezTo>
                        <a:pt x="151" y="38"/>
                        <a:pt x="148" y="41"/>
                        <a:pt x="146" y="42"/>
                      </a:cubicBezTo>
                      <a:cubicBezTo>
                        <a:pt x="146" y="43"/>
                        <a:pt x="145" y="43"/>
                        <a:pt x="144" y="44"/>
                      </a:cubicBezTo>
                      <a:cubicBezTo>
                        <a:pt x="144" y="44"/>
                        <a:pt x="144" y="44"/>
                        <a:pt x="144" y="44"/>
                      </a:cubicBezTo>
                      <a:cubicBezTo>
                        <a:pt x="143" y="41"/>
                        <a:pt x="141" y="40"/>
                        <a:pt x="138" y="38"/>
                      </a:cubicBezTo>
                      <a:cubicBezTo>
                        <a:pt x="135" y="36"/>
                        <a:pt x="131" y="34"/>
                        <a:pt x="126" y="34"/>
                      </a:cubicBezTo>
                      <a:cubicBezTo>
                        <a:pt x="128" y="33"/>
                        <a:pt x="129" y="33"/>
                        <a:pt x="131" y="33"/>
                      </a:cubicBezTo>
                      <a:cubicBezTo>
                        <a:pt x="135" y="33"/>
                        <a:pt x="140" y="34"/>
                        <a:pt x="144" y="36"/>
                      </a:cubicBezTo>
                      <a:cubicBezTo>
                        <a:pt x="147" y="36"/>
                        <a:pt x="150" y="37"/>
                        <a:pt x="153" y="38"/>
                      </a:cubicBezTo>
                      <a:cubicBezTo>
                        <a:pt x="154" y="38"/>
                        <a:pt x="154" y="38"/>
                        <a:pt x="155" y="38"/>
                      </a:cubicBezTo>
                      <a:cubicBezTo>
                        <a:pt x="155" y="38"/>
                        <a:pt x="155" y="38"/>
                        <a:pt x="154" y="38"/>
                      </a:cubicBezTo>
                      <a:close/>
                      <a:moveTo>
                        <a:pt x="311" y="415"/>
                      </a:moveTo>
                      <a:cubicBezTo>
                        <a:pt x="311" y="415"/>
                        <a:pt x="311" y="415"/>
                        <a:pt x="311" y="415"/>
                      </a:cubicBezTo>
                      <a:cubicBezTo>
                        <a:pt x="310" y="417"/>
                        <a:pt x="310" y="417"/>
                        <a:pt x="310" y="417"/>
                      </a:cubicBezTo>
                      <a:cubicBezTo>
                        <a:pt x="309" y="417"/>
                        <a:pt x="309" y="417"/>
                        <a:pt x="309" y="417"/>
                      </a:cubicBezTo>
                      <a:cubicBezTo>
                        <a:pt x="310" y="418"/>
                        <a:pt x="310" y="422"/>
                        <a:pt x="310" y="423"/>
                      </a:cubicBezTo>
                      <a:cubicBezTo>
                        <a:pt x="310" y="424"/>
                        <a:pt x="309" y="426"/>
                        <a:pt x="305" y="426"/>
                      </a:cubicBezTo>
                      <a:cubicBezTo>
                        <a:pt x="302" y="426"/>
                        <a:pt x="299" y="425"/>
                        <a:pt x="297" y="424"/>
                      </a:cubicBezTo>
                      <a:cubicBezTo>
                        <a:pt x="296" y="424"/>
                        <a:pt x="296" y="424"/>
                        <a:pt x="296" y="424"/>
                      </a:cubicBezTo>
                      <a:cubicBezTo>
                        <a:pt x="294" y="423"/>
                        <a:pt x="292" y="423"/>
                        <a:pt x="291" y="423"/>
                      </a:cubicBezTo>
                      <a:cubicBezTo>
                        <a:pt x="285" y="423"/>
                        <a:pt x="281" y="426"/>
                        <a:pt x="277" y="430"/>
                      </a:cubicBezTo>
                      <a:cubicBezTo>
                        <a:pt x="276" y="431"/>
                        <a:pt x="276" y="431"/>
                        <a:pt x="276" y="431"/>
                      </a:cubicBezTo>
                      <a:cubicBezTo>
                        <a:pt x="270" y="437"/>
                        <a:pt x="261" y="445"/>
                        <a:pt x="253" y="445"/>
                      </a:cubicBezTo>
                      <a:cubicBezTo>
                        <a:pt x="252" y="445"/>
                        <a:pt x="250" y="445"/>
                        <a:pt x="248" y="444"/>
                      </a:cubicBezTo>
                      <a:cubicBezTo>
                        <a:pt x="247" y="443"/>
                        <a:pt x="245" y="442"/>
                        <a:pt x="243" y="442"/>
                      </a:cubicBezTo>
                      <a:cubicBezTo>
                        <a:pt x="242" y="442"/>
                        <a:pt x="241" y="442"/>
                        <a:pt x="240" y="442"/>
                      </a:cubicBezTo>
                      <a:cubicBezTo>
                        <a:pt x="238" y="443"/>
                        <a:pt x="237" y="443"/>
                        <a:pt x="236" y="444"/>
                      </a:cubicBezTo>
                      <a:cubicBezTo>
                        <a:pt x="235" y="444"/>
                        <a:pt x="235" y="445"/>
                        <a:pt x="234" y="445"/>
                      </a:cubicBezTo>
                      <a:cubicBezTo>
                        <a:pt x="233" y="445"/>
                        <a:pt x="233" y="446"/>
                        <a:pt x="232" y="446"/>
                      </a:cubicBezTo>
                      <a:cubicBezTo>
                        <a:pt x="230" y="446"/>
                        <a:pt x="229" y="447"/>
                        <a:pt x="227" y="449"/>
                      </a:cubicBezTo>
                      <a:cubicBezTo>
                        <a:pt x="226" y="449"/>
                        <a:pt x="226" y="450"/>
                        <a:pt x="225" y="450"/>
                      </a:cubicBezTo>
                      <a:cubicBezTo>
                        <a:pt x="224" y="451"/>
                        <a:pt x="223" y="452"/>
                        <a:pt x="223" y="452"/>
                      </a:cubicBezTo>
                      <a:cubicBezTo>
                        <a:pt x="222" y="453"/>
                        <a:pt x="220" y="453"/>
                        <a:pt x="219" y="453"/>
                      </a:cubicBezTo>
                      <a:cubicBezTo>
                        <a:pt x="217" y="453"/>
                        <a:pt x="215" y="453"/>
                        <a:pt x="214" y="453"/>
                      </a:cubicBezTo>
                      <a:cubicBezTo>
                        <a:pt x="213" y="453"/>
                        <a:pt x="211" y="453"/>
                        <a:pt x="210" y="452"/>
                      </a:cubicBezTo>
                      <a:cubicBezTo>
                        <a:pt x="208" y="452"/>
                        <a:pt x="206" y="452"/>
                        <a:pt x="204" y="450"/>
                      </a:cubicBezTo>
                      <a:cubicBezTo>
                        <a:pt x="203" y="450"/>
                        <a:pt x="202" y="449"/>
                        <a:pt x="200" y="449"/>
                      </a:cubicBezTo>
                      <a:cubicBezTo>
                        <a:pt x="199" y="448"/>
                        <a:pt x="197" y="448"/>
                        <a:pt x="196" y="448"/>
                      </a:cubicBezTo>
                      <a:cubicBezTo>
                        <a:pt x="194" y="447"/>
                        <a:pt x="192" y="447"/>
                        <a:pt x="191" y="446"/>
                      </a:cubicBezTo>
                      <a:cubicBezTo>
                        <a:pt x="186" y="443"/>
                        <a:pt x="180" y="437"/>
                        <a:pt x="179" y="432"/>
                      </a:cubicBezTo>
                      <a:cubicBezTo>
                        <a:pt x="179" y="431"/>
                        <a:pt x="179" y="431"/>
                        <a:pt x="179" y="430"/>
                      </a:cubicBezTo>
                      <a:cubicBezTo>
                        <a:pt x="180" y="430"/>
                        <a:pt x="182" y="431"/>
                        <a:pt x="183" y="432"/>
                      </a:cubicBezTo>
                      <a:cubicBezTo>
                        <a:pt x="184" y="432"/>
                        <a:pt x="185" y="433"/>
                        <a:pt x="186" y="433"/>
                      </a:cubicBezTo>
                      <a:cubicBezTo>
                        <a:pt x="188" y="434"/>
                        <a:pt x="190" y="435"/>
                        <a:pt x="192" y="435"/>
                      </a:cubicBezTo>
                      <a:cubicBezTo>
                        <a:pt x="197" y="435"/>
                        <a:pt x="200" y="431"/>
                        <a:pt x="201" y="429"/>
                      </a:cubicBezTo>
                      <a:cubicBezTo>
                        <a:pt x="203" y="427"/>
                        <a:pt x="204" y="425"/>
                        <a:pt x="206" y="423"/>
                      </a:cubicBezTo>
                      <a:cubicBezTo>
                        <a:pt x="207" y="423"/>
                        <a:pt x="207" y="423"/>
                        <a:pt x="208" y="423"/>
                      </a:cubicBezTo>
                      <a:cubicBezTo>
                        <a:pt x="208" y="423"/>
                        <a:pt x="210" y="424"/>
                        <a:pt x="211" y="424"/>
                      </a:cubicBezTo>
                      <a:cubicBezTo>
                        <a:pt x="213" y="425"/>
                        <a:pt x="215" y="426"/>
                        <a:pt x="217" y="426"/>
                      </a:cubicBezTo>
                      <a:cubicBezTo>
                        <a:pt x="219" y="426"/>
                        <a:pt x="220" y="426"/>
                        <a:pt x="221" y="425"/>
                      </a:cubicBezTo>
                      <a:cubicBezTo>
                        <a:pt x="229" y="421"/>
                        <a:pt x="225" y="414"/>
                        <a:pt x="223" y="409"/>
                      </a:cubicBezTo>
                      <a:cubicBezTo>
                        <a:pt x="223" y="407"/>
                        <a:pt x="222" y="406"/>
                        <a:pt x="222" y="405"/>
                      </a:cubicBezTo>
                      <a:cubicBezTo>
                        <a:pt x="222" y="403"/>
                        <a:pt x="222" y="401"/>
                        <a:pt x="222" y="400"/>
                      </a:cubicBezTo>
                      <a:cubicBezTo>
                        <a:pt x="222" y="396"/>
                        <a:pt x="223" y="391"/>
                        <a:pt x="217" y="388"/>
                      </a:cubicBezTo>
                      <a:cubicBezTo>
                        <a:pt x="217" y="386"/>
                        <a:pt x="217" y="383"/>
                        <a:pt x="217" y="382"/>
                      </a:cubicBezTo>
                      <a:cubicBezTo>
                        <a:pt x="217" y="382"/>
                        <a:pt x="217" y="382"/>
                        <a:pt x="218" y="383"/>
                      </a:cubicBezTo>
                      <a:cubicBezTo>
                        <a:pt x="219" y="383"/>
                        <a:pt x="220" y="385"/>
                        <a:pt x="221" y="387"/>
                      </a:cubicBezTo>
                      <a:cubicBezTo>
                        <a:pt x="222" y="389"/>
                        <a:pt x="223" y="391"/>
                        <a:pt x="225" y="393"/>
                      </a:cubicBezTo>
                      <a:cubicBezTo>
                        <a:pt x="231" y="398"/>
                        <a:pt x="233" y="404"/>
                        <a:pt x="236" y="412"/>
                      </a:cubicBezTo>
                      <a:cubicBezTo>
                        <a:pt x="236" y="412"/>
                        <a:pt x="236" y="412"/>
                        <a:pt x="236" y="412"/>
                      </a:cubicBezTo>
                      <a:cubicBezTo>
                        <a:pt x="239" y="422"/>
                        <a:pt x="247" y="429"/>
                        <a:pt x="256" y="430"/>
                      </a:cubicBezTo>
                      <a:cubicBezTo>
                        <a:pt x="258" y="431"/>
                        <a:pt x="259" y="431"/>
                        <a:pt x="260" y="431"/>
                      </a:cubicBezTo>
                      <a:cubicBezTo>
                        <a:pt x="263" y="431"/>
                        <a:pt x="267" y="430"/>
                        <a:pt x="269" y="428"/>
                      </a:cubicBezTo>
                      <a:cubicBezTo>
                        <a:pt x="270" y="428"/>
                        <a:pt x="271" y="427"/>
                        <a:pt x="271" y="427"/>
                      </a:cubicBezTo>
                      <a:cubicBezTo>
                        <a:pt x="272" y="426"/>
                        <a:pt x="272" y="426"/>
                        <a:pt x="273" y="426"/>
                      </a:cubicBezTo>
                      <a:cubicBezTo>
                        <a:pt x="273" y="426"/>
                        <a:pt x="274" y="426"/>
                        <a:pt x="275" y="425"/>
                      </a:cubicBezTo>
                      <a:cubicBezTo>
                        <a:pt x="276" y="425"/>
                        <a:pt x="277" y="425"/>
                        <a:pt x="279" y="424"/>
                      </a:cubicBezTo>
                      <a:cubicBezTo>
                        <a:pt x="280" y="423"/>
                        <a:pt x="282" y="422"/>
                        <a:pt x="283" y="421"/>
                      </a:cubicBezTo>
                      <a:cubicBezTo>
                        <a:pt x="284" y="421"/>
                        <a:pt x="285" y="420"/>
                        <a:pt x="286" y="419"/>
                      </a:cubicBezTo>
                      <a:cubicBezTo>
                        <a:pt x="288" y="418"/>
                        <a:pt x="290" y="416"/>
                        <a:pt x="291" y="415"/>
                      </a:cubicBezTo>
                      <a:cubicBezTo>
                        <a:pt x="293" y="413"/>
                        <a:pt x="295" y="411"/>
                        <a:pt x="296" y="411"/>
                      </a:cubicBezTo>
                      <a:cubicBezTo>
                        <a:pt x="299" y="410"/>
                        <a:pt x="301" y="410"/>
                        <a:pt x="304" y="410"/>
                      </a:cubicBezTo>
                      <a:cubicBezTo>
                        <a:pt x="307" y="410"/>
                        <a:pt x="310" y="411"/>
                        <a:pt x="313" y="412"/>
                      </a:cubicBezTo>
                      <a:cubicBezTo>
                        <a:pt x="313" y="412"/>
                        <a:pt x="313" y="412"/>
                        <a:pt x="313" y="412"/>
                      </a:cubicBezTo>
                      <a:cubicBezTo>
                        <a:pt x="313" y="412"/>
                        <a:pt x="313" y="412"/>
                        <a:pt x="312" y="412"/>
                      </a:cubicBezTo>
                      <a:cubicBezTo>
                        <a:pt x="312" y="412"/>
                        <a:pt x="312" y="412"/>
                        <a:pt x="312" y="412"/>
                      </a:cubicBezTo>
                      <a:cubicBezTo>
                        <a:pt x="310" y="412"/>
                        <a:pt x="310" y="412"/>
                        <a:pt x="310" y="412"/>
                      </a:cubicBezTo>
                      <a:cubicBezTo>
                        <a:pt x="310" y="412"/>
                        <a:pt x="310" y="412"/>
                        <a:pt x="310" y="412"/>
                      </a:cubicBezTo>
                      <a:cubicBezTo>
                        <a:pt x="311" y="415"/>
                        <a:pt x="311" y="415"/>
                        <a:pt x="311" y="415"/>
                      </a:cubicBezTo>
                      <a:cubicBezTo>
                        <a:pt x="311" y="415"/>
                        <a:pt x="311" y="415"/>
                        <a:pt x="311" y="415"/>
                      </a:cubicBezTo>
                      <a:close/>
                      <a:moveTo>
                        <a:pt x="320" y="416"/>
                      </a:moveTo>
                      <a:cubicBezTo>
                        <a:pt x="319" y="416"/>
                        <a:pt x="319" y="416"/>
                        <a:pt x="319" y="416"/>
                      </a:cubicBezTo>
                      <a:cubicBezTo>
                        <a:pt x="318" y="416"/>
                        <a:pt x="318" y="415"/>
                        <a:pt x="317" y="415"/>
                      </a:cubicBezTo>
                      <a:cubicBezTo>
                        <a:pt x="316" y="414"/>
                        <a:pt x="314" y="413"/>
                        <a:pt x="313" y="412"/>
                      </a:cubicBezTo>
                      <a:cubicBezTo>
                        <a:pt x="315" y="413"/>
                        <a:pt x="318" y="415"/>
                        <a:pt x="320" y="41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3" name="Freeform 64">
                  <a:extLst>
                    <a:ext uri="{FF2B5EF4-FFF2-40B4-BE49-F238E27FC236}">
                      <a16:creationId xmlns:a16="http://schemas.microsoft.com/office/drawing/2014/main" id="{D786CB85-4E8C-5049-A39D-D0676B287C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82517" y="9382633"/>
                  <a:ext cx="266727" cy="113861"/>
                </a:xfrm>
                <a:custGeom>
                  <a:avLst/>
                  <a:gdLst>
                    <a:gd name="T0" fmla="*/ 41 w 49"/>
                    <a:gd name="T1" fmla="*/ 4 h 23"/>
                    <a:gd name="T2" fmla="*/ 41 w 49"/>
                    <a:gd name="T3" fmla="*/ 4 h 23"/>
                    <a:gd name="T4" fmla="*/ 36 w 49"/>
                    <a:gd name="T5" fmla="*/ 0 h 23"/>
                    <a:gd name="T6" fmla="*/ 35 w 49"/>
                    <a:gd name="T7" fmla="*/ 0 h 23"/>
                    <a:gd name="T8" fmla="*/ 30 w 49"/>
                    <a:gd name="T9" fmla="*/ 2 h 23"/>
                    <a:gd name="T10" fmla="*/ 30 w 49"/>
                    <a:gd name="T11" fmla="*/ 2 h 23"/>
                    <a:gd name="T12" fmla="*/ 25 w 49"/>
                    <a:gd name="T13" fmla="*/ 0 h 23"/>
                    <a:gd name="T14" fmla="*/ 19 w 49"/>
                    <a:gd name="T15" fmla="*/ 3 h 23"/>
                    <a:gd name="T16" fmla="*/ 18 w 49"/>
                    <a:gd name="T17" fmla="*/ 6 h 23"/>
                    <a:gd name="T18" fmla="*/ 18 w 49"/>
                    <a:gd name="T19" fmla="*/ 7 h 23"/>
                    <a:gd name="T20" fmla="*/ 18 w 49"/>
                    <a:gd name="T21" fmla="*/ 7 h 23"/>
                    <a:gd name="T22" fmla="*/ 17 w 49"/>
                    <a:gd name="T23" fmla="*/ 7 h 23"/>
                    <a:gd name="T24" fmla="*/ 17 w 49"/>
                    <a:gd name="T25" fmla="*/ 7 h 23"/>
                    <a:gd name="T26" fmla="*/ 14 w 49"/>
                    <a:gd name="T27" fmla="*/ 3 h 23"/>
                    <a:gd name="T28" fmla="*/ 9 w 49"/>
                    <a:gd name="T29" fmla="*/ 2 h 23"/>
                    <a:gd name="T30" fmla="*/ 5 w 49"/>
                    <a:gd name="T31" fmla="*/ 3 h 23"/>
                    <a:gd name="T32" fmla="*/ 0 w 49"/>
                    <a:gd name="T33" fmla="*/ 8 h 23"/>
                    <a:gd name="T34" fmla="*/ 2 w 49"/>
                    <a:gd name="T35" fmla="*/ 13 h 23"/>
                    <a:gd name="T36" fmla="*/ 10 w 49"/>
                    <a:gd name="T37" fmla="*/ 15 h 23"/>
                    <a:gd name="T38" fmla="*/ 15 w 49"/>
                    <a:gd name="T39" fmla="*/ 14 h 23"/>
                    <a:gd name="T40" fmla="*/ 15 w 49"/>
                    <a:gd name="T41" fmla="*/ 14 h 23"/>
                    <a:gd name="T42" fmla="*/ 21 w 49"/>
                    <a:gd name="T43" fmla="*/ 18 h 23"/>
                    <a:gd name="T44" fmla="*/ 29 w 49"/>
                    <a:gd name="T45" fmla="*/ 21 h 23"/>
                    <a:gd name="T46" fmla="*/ 36 w 49"/>
                    <a:gd name="T47" fmla="*/ 23 h 23"/>
                    <a:gd name="T48" fmla="*/ 42 w 49"/>
                    <a:gd name="T49" fmla="*/ 21 h 23"/>
                    <a:gd name="T50" fmla="*/ 49 w 49"/>
                    <a:gd name="T51" fmla="*/ 10 h 23"/>
                    <a:gd name="T52" fmla="*/ 41 w 49"/>
                    <a:gd name="T53" fmla="*/ 4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9" h="23">
                      <a:moveTo>
                        <a:pt x="41" y="4"/>
                      </a:moveTo>
                      <a:cubicBezTo>
                        <a:pt x="41" y="4"/>
                        <a:pt x="41" y="4"/>
                        <a:pt x="41" y="4"/>
                      </a:cubicBezTo>
                      <a:cubicBezTo>
                        <a:pt x="41" y="2"/>
                        <a:pt x="40" y="0"/>
                        <a:pt x="36" y="0"/>
                      </a:cubicBezTo>
                      <a:cubicBezTo>
                        <a:pt x="36" y="0"/>
                        <a:pt x="35" y="0"/>
                        <a:pt x="35" y="0"/>
                      </a:cubicBezTo>
                      <a:cubicBezTo>
                        <a:pt x="32" y="0"/>
                        <a:pt x="31" y="1"/>
                        <a:pt x="30" y="2"/>
                      </a:cubicBezTo>
                      <a:cubicBezTo>
                        <a:pt x="30" y="2"/>
                        <a:pt x="30" y="2"/>
                        <a:pt x="30" y="2"/>
                      </a:cubicBezTo>
                      <a:cubicBezTo>
                        <a:pt x="28" y="1"/>
                        <a:pt x="27" y="0"/>
                        <a:pt x="25" y="0"/>
                      </a:cubicBezTo>
                      <a:cubicBezTo>
                        <a:pt x="23" y="0"/>
                        <a:pt x="21" y="1"/>
                        <a:pt x="19" y="3"/>
                      </a:cubicBezTo>
                      <a:cubicBezTo>
                        <a:pt x="18" y="4"/>
                        <a:pt x="18" y="5"/>
                        <a:pt x="18" y="6"/>
                      </a:cubicBezTo>
                      <a:cubicBezTo>
                        <a:pt x="18" y="6"/>
                        <a:pt x="18" y="7"/>
                        <a:pt x="18" y="7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8" y="7"/>
                        <a:pt x="17" y="7"/>
                        <a:pt x="17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6"/>
                        <a:pt x="15" y="4"/>
                        <a:pt x="14" y="3"/>
                      </a:cubicBezTo>
                      <a:cubicBezTo>
                        <a:pt x="12" y="2"/>
                        <a:pt x="11" y="2"/>
                        <a:pt x="9" y="2"/>
                      </a:cubicBezTo>
                      <a:cubicBezTo>
                        <a:pt x="8" y="2"/>
                        <a:pt x="7" y="2"/>
                        <a:pt x="5" y="3"/>
                      </a:cubicBezTo>
                      <a:cubicBezTo>
                        <a:pt x="3" y="3"/>
                        <a:pt x="1" y="5"/>
                        <a:pt x="0" y="8"/>
                      </a:cubicBezTo>
                      <a:cubicBezTo>
                        <a:pt x="0" y="10"/>
                        <a:pt x="1" y="11"/>
                        <a:pt x="2" y="13"/>
                      </a:cubicBezTo>
                      <a:cubicBezTo>
                        <a:pt x="4" y="14"/>
                        <a:pt x="8" y="15"/>
                        <a:pt x="10" y="15"/>
                      </a:cubicBezTo>
                      <a:cubicBezTo>
                        <a:pt x="12" y="15"/>
                        <a:pt x="14" y="14"/>
                        <a:pt x="15" y="14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6" y="17"/>
                        <a:pt x="19" y="18"/>
                        <a:pt x="21" y="18"/>
                      </a:cubicBezTo>
                      <a:cubicBezTo>
                        <a:pt x="24" y="19"/>
                        <a:pt x="26" y="20"/>
                        <a:pt x="29" y="21"/>
                      </a:cubicBezTo>
                      <a:cubicBezTo>
                        <a:pt x="32" y="22"/>
                        <a:pt x="34" y="23"/>
                        <a:pt x="36" y="23"/>
                      </a:cubicBezTo>
                      <a:cubicBezTo>
                        <a:pt x="38" y="23"/>
                        <a:pt x="40" y="22"/>
                        <a:pt x="42" y="21"/>
                      </a:cubicBezTo>
                      <a:cubicBezTo>
                        <a:pt x="45" y="19"/>
                        <a:pt x="49" y="15"/>
                        <a:pt x="49" y="10"/>
                      </a:cubicBezTo>
                      <a:cubicBezTo>
                        <a:pt x="49" y="9"/>
                        <a:pt x="48" y="4"/>
                        <a:pt x="41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4" name="Freeform 65">
                  <a:extLst>
                    <a:ext uri="{FF2B5EF4-FFF2-40B4-BE49-F238E27FC236}">
                      <a16:creationId xmlns:a16="http://schemas.microsoft.com/office/drawing/2014/main" id="{342CCB99-D6E3-104B-AF19-1E1AAE9F56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57998" y="8544543"/>
                  <a:ext cx="387781" cy="158658"/>
                </a:xfrm>
                <a:custGeom>
                  <a:avLst/>
                  <a:gdLst>
                    <a:gd name="T0" fmla="*/ 71 w 71"/>
                    <a:gd name="T1" fmla="*/ 6 h 32"/>
                    <a:gd name="T2" fmla="*/ 70 w 71"/>
                    <a:gd name="T3" fmla="*/ 1 h 32"/>
                    <a:gd name="T4" fmla="*/ 66 w 71"/>
                    <a:gd name="T5" fmla="*/ 0 h 32"/>
                    <a:gd name="T6" fmla="*/ 56 w 71"/>
                    <a:gd name="T7" fmla="*/ 5 h 32"/>
                    <a:gd name="T8" fmla="*/ 46 w 71"/>
                    <a:gd name="T9" fmla="*/ 13 h 32"/>
                    <a:gd name="T10" fmla="*/ 41 w 71"/>
                    <a:gd name="T11" fmla="*/ 15 h 32"/>
                    <a:gd name="T12" fmla="*/ 36 w 71"/>
                    <a:gd name="T13" fmla="*/ 17 h 32"/>
                    <a:gd name="T14" fmla="*/ 34 w 71"/>
                    <a:gd name="T15" fmla="*/ 16 h 32"/>
                    <a:gd name="T16" fmla="*/ 33 w 71"/>
                    <a:gd name="T17" fmla="*/ 16 h 32"/>
                    <a:gd name="T18" fmla="*/ 29 w 71"/>
                    <a:gd name="T19" fmla="*/ 14 h 32"/>
                    <a:gd name="T20" fmla="*/ 24 w 71"/>
                    <a:gd name="T21" fmla="*/ 16 h 32"/>
                    <a:gd name="T22" fmla="*/ 23 w 71"/>
                    <a:gd name="T23" fmla="*/ 18 h 32"/>
                    <a:gd name="T24" fmla="*/ 23 w 71"/>
                    <a:gd name="T25" fmla="*/ 18 h 32"/>
                    <a:gd name="T26" fmla="*/ 19 w 71"/>
                    <a:gd name="T27" fmla="*/ 14 h 32"/>
                    <a:gd name="T28" fmla="*/ 16 w 71"/>
                    <a:gd name="T29" fmla="*/ 12 h 32"/>
                    <a:gd name="T30" fmla="*/ 14 w 71"/>
                    <a:gd name="T31" fmla="*/ 11 h 32"/>
                    <a:gd name="T32" fmla="*/ 15 w 71"/>
                    <a:gd name="T33" fmla="*/ 10 h 32"/>
                    <a:gd name="T34" fmla="*/ 14 w 71"/>
                    <a:gd name="T35" fmla="*/ 5 h 32"/>
                    <a:gd name="T36" fmla="*/ 10 w 71"/>
                    <a:gd name="T37" fmla="*/ 2 h 32"/>
                    <a:gd name="T38" fmla="*/ 5 w 71"/>
                    <a:gd name="T39" fmla="*/ 5 h 32"/>
                    <a:gd name="T40" fmla="*/ 2 w 71"/>
                    <a:gd name="T41" fmla="*/ 12 h 32"/>
                    <a:gd name="T42" fmla="*/ 3 w 71"/>
                    <a:gd name="T43" fmla="*/ 22 h 32"/>
                    <a:gd name="T44" fmla="*/ 8 w 71"/>
                    <a:gd name="T45" fmla="*/ 25 h 32"/>
                    <a:gd name="T46" fmla="*/ 10 w 71"/>
                    <a:gd name="T47" fmla="*/ 25 h 32"/>
                    <a:gd name="T48" fmla="*/ 11 w 71"/>
                    <a:gd name="T49" fmla="*/ 25 h 32"/>
                    <a:gd name="T50" fmla="*/ 11 w 71"/>
                    <a:gd name="T51" fmla="*/ 25 h 32"/>
                    <a:gd name="T52" fmla="*/ 12 w 71"/>
                    <a:gd name="T53" fmla="*/ 26 h 32"/>
                    <a:gd name="T54" fmla="*/ 15 w 71"/>
                    <a:gd name="T55" fmla="*/ 30 h 32"/>
                    <a:gd name="T56" fmla="*/ 18 w 71"/>
                    <a:gd name="T57" fmla="*/ 30 h 32"/>
                    <a:gd name="T58" fmla="*/ 22 w 71"/>
                    <a:gd name="T59" fmla="*/ 28 h 32"/>
                    <a:gd name="T60" fmla="*/ 25 w 71"/>
                    <a:gd name="T61" fmla="*/ 28 h 32"/>
                    <a:gd name="T62" fmla="*/ 27 w 71"/>
                    <a:gd name="T63" fmla="*/ 28 h 32"/>
                    <a:gd name="T64" fmla="*/ 31 w 71"/>
                    <a:gd name="T65" fmla="*/ 29 h 32"/>
                    <a:gd name="T66" fmla="*/ 33 w 71"/>
                    <a:gd name="T67" fmla="*/ 28 h 32"/>
                    <a:gd name="T68" fmla="*/ 34 w 71"/>
                    <a:gd name="T69" fmla="*/ 28 h 32"/>
                    <a:gd name="T70" fmla="*/ 37 w 71"/>
                    <a:gd name="T71" fmla="*/ 28 h 32"/>
                    <a:gd name="T72" fmla="*/ 38 w 71"/>
                    <a:gd name="T73" fmla="*/ 28 h 32"/>
                    <a:gd name="T74" fmla="*/ 40 w 71"/>
                    <a:gd name="T75" fmla="*/ 28 h 32"/>
                    <a:gd name="T76" fmla="*/ 44 w 71"/>
                    <a:gd name="T77" fmla="*/ 28 h 32"/>
                    <a:gd name="T78" fmla="*/ 47 w 71"/>
                    <a:gd name="T79" fmla="*/ 27 h 32"/>
                    <a:gd name="T80" fmla="*/ 51 w 71"/>
                    <a:gd name="T81" fmla="*/ 29 h 32"/>
                    <a:gd name="T82" fmla="*/ 58 w 71"/>
                    <a:gd name="T83" fmla="*/ 32 h 32"/>
                    <a:gd name="T84" fmla="*/ 63 w 71"/>
                    <a:gd name="T85" fmla="*/ 27 h 32"/>
                    <a:gd name="T86" fmla="*/ 66 w 71"/>
                    <a:gd name="T87" fmla="*/ 25 h 32"/>
                    <a:gd name="T88" fmla="*/ 66 w 71"/>
                    <a:gd name="T89" fmla="*/ 19 h 32"/>
                    <a:gd name="T90" fmla="*/ 63 w 71"/>
                    <a:gd name="T91" fmla="*/ 16 h 32"/>
                    <a:gd name="T92" fmla="*/ 71 w 71"/>
                    <a:gd name="T93" fmla="*/ 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32">
                      <a:moveTo>
                        <a:pt x="71" y="6"/>
                      </a:moveTo>
                      <a:cubicBezTo>
                        <a:pt x="71" y="4"/>
                        <a:pt x="71" y="2"/>
                        <a:pt x="70" y="1"/>
                      </a:cubicBezTo>
                      <a:cubicBezTo>
                        <a:pt x="69" y="0"/>
                        <a:pt x="68" y="0"/>
                        <a:pt x="66" y="0"/>
                      </a:cubicBezTo>
                      <a:cubicBezTo>
                        <a:pt x="62" y="0"/>
                        <a:pt x="56" y="5"/>
                        <a:pt x="56" y="5"/>
                      </a:cubicBezTo>
                      <a:cubicBezTo>
                        <a:pt x="53" y="8"/>
                        <a:pt x="50" y="11"/>
                        <a:pt x="46" y="13"/>
                      </a:cubicBezTo>
                      <a:cubicBezTo>
                        <a:pt x="44" y="13"/>
                        <a:pt x="42" y="14"/>
                        <a:pt x="41" y="15"/>
                      </a:cubicBezTo>
                      <a:cubicBezTo>
                        <a:pt x="39" y="16"/>
                        <a:pt x="37" y="17"/>
                        <a:pt x="36" y="17"/>
                      </a:cubicBezTo>
                      <a:cubicBezTo>
                        <a:pt x="35" y="17"/>
                        <a:pt x="35" y="17"/>
                        <a:pt x="34" y="16"/>
                      </a:cubicBezTo>
                      <a:cubicBezTo>
                        <a:pt x="34" y="16"/>
                        <a:pt x="33" y="16"/>
                        <a:pt x="33" y="16"/>
                      </a:cubicBezTo>
                      <a:cubicBezTo>
                        <a:pt x="32" y="15"/>
                        <a:pt x="30" y="14"/>
                        <a:pt x="29" y="14"/>
                      </a:cubicBezTo>
                      <a:cubicBezTo>
                        <a:pt x="27" y="14"/>
                        <a:pt x="26" y="15"/>
                        <a:pt x="24" y="16"/>
                      </a:cubicBezTo>
                      <a:cubicBezTo>
                        <a:pt x="24" y="17"/>
                        <a:pt x="23" y="17"/>
                        <a:pt x="23" y="18"/>
                      </a:cubicBezTo>
                      <a:cubicBezTo>
                        <a:pt x="23" y="18"/>
                        <a:pt x="23" y="18"/>
                        <a:pt x="23" y="18"/>
                      </a:cubicBezTo>
                      <a:cubicBezTo>
                        <a:pt x="22" y="16"/>
                        <a:pt x="21" y="15"/>
                        <a:pt x="19" y="14"/>
                      </a:cubicBezTo>
                      <a:cubicBezTo>
                        <a:pt x="18" y="13"/>
                        <a:pt x="17" y="13"/>
                        <a:pt x="16" y="12"/>
                      </a:cubicBezTo>
                      <a:cubicBezTo>
                        <a:pt x="16" y="12"/>
                        <a:pt x="15" y="11"/>
                        <a:pt x="14" y="11"/>
                      </a:cubicBezTo>
                      <a:cubicBezTo>
                        <a:pt x="14" y="11"/>
                        <a:pt x="14" y="10"/>
                        <a:pt x="15" y="10"/>
                      </a:cubicBezTo>
                      <a:cubicBezTo>
                        <a:pt x="15" y="9"/>
                        <a:pt x="15" y="7"/>
                        <a:pt x="14" y="5"/>
                      </a:cubicBezTo>
                      <a:cubicBezTo>
                        <a:pt x="14" y="3"/>
                        <a:pt x="12" y="2"/>
                        <a:pt x="10" y="2"/>
                      </a:cubicBezTo>
                      <a:cubicBezTo>
                        <a:pt x="8" y="2"/>
                        <a:pt x="7" y="3"/>
                        <a:pt x="5" y="5"/>
                      </a:cubicBezTo>
                      <a:cubicBezTo>
                        <a:pt x="4" y="7"/>
                        <a:pt x="3" y="9"/>
                        <a:pt x="2" y="12"/>
                      </a:cubicBezTo>
                      <a:cubicBezTo>
                        <a:pt x="2" y="13"/>
                        <a:pt x="0" y="18"/>
                        <a:pt x="3" y="22"/>
                      </a:cubicBezTo>
                      <a:cubicBezTo>
                        <a:pt x="4" y="24"/>
                        <a:pt x="6" y="25"/>
                        <a:pt x="8" y="25"/>
                      </a:cubicBezTo>
                      <a:cubicBezTo>
                        <a:pt x="8" y="25"/>
                        <a:pt x="9" y="25"/>
                        <a:pt x="10" y="25"/>
                      </a:cubicBezTo>
                      <a:cubicBezTo>
                        <a:pt x="10" y="25"/>
                        <a:pt x="10" y="25"/>
                        <a:pt x="11" y="25"/>
                      </a:cubicBez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11" y="25"/>
                        <a:pt x="12" y="25"/>
                        <a:pt x="12" y="26"/>
                      </a:cubicBezTo>
                      <a:cubicBezTo>
                        <a:pt x="12" y="27"/>
                        <a:pt x="13" y="29"/>
                        <a:pt x="15" y="30"/>
                      </a:cubicBezTo>
                      <a:cubicBezTo>
                        <a:pt x="16" y="30"/>
                        <a:pt x="17" y="30"/>
                        <a:pt x="18" y="30"/>
                      </a:cubicBezTo>
                      <a:cubicBezTo>
                        <a:pt x="19" y="30"/>
                        <a:pt x="21" y="29"/>
                        <a:pt x="22" y="28"/>
                      </a:cubicBezTo>
                      <a:cubicBezTo>
                        <a:pt x="23" y="28"/>
                        <a:pt x="24" y="28"/>
                        <a:pt x="25" y="28"/>
                      </a:cubicBezTo>
                      <a:cubicBezTo>
                        <a:pt x="25" y="28"/>
                        <a:pt x="26" y="28"/>
                        <a:pt x="27" y="28"/>
                      </a:cubicBezTo>
                      <a:cubicBezTo>
                        <a:pt x="28" y="28"/>
                        <a:pt x="29" y="29"/>
                        <a:pt x="31" y="29"/>
                      </a:cubicBezTo>
                      <a:cubicBezTo>
                        <a:pt x="32" y="29"/>
                        <a:pt x="32" y="29"/>
                        <a:pt x="33" y="28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35" y="28"/>
                        <a:pt x="36" y="28"/>
                        <a:pt x="37" y="28"/>
                      </a:cubicBezTo>
                      <a:cubicBezTo>
                        <a:pt x="37" y="28"/>
                        <a:pt x="38" y="28"/>
                        <a:pt x="38" y="28"/>
                      </a:cubicBezTo>
                      <a:cubicBezTo>
                        <a:pt x="39" y="28"/>
                        <a:pt x="40" y="28"/>
                        <a:pt x="40" y="28"/>
                      </a:cubicBezTo>
                      <a:cubicBezTo>
                        <a:pt x="42" y="28"/>
                        <a:pt x="43" y="28"/>
                        <a:pt x="44" y="28"/>
                      </a:cubicBezTo>
                      <a:cubicBezTo>
                        <a:pt x="45" y="28"/>
                        <a:pt x="46" y="27"/>
                        <a:pt x="47" y="27"/>
                      </a:cubicBezTo>
                      <a:cubicBezTo>
                        <a:pt x="48" y="27"/>
                        <a:pt x="50" y="28"/>
                        <a:pt x="51" y="29"/>
                      </a:cubicBezTo>
                      <a:cubicBezTo>
                        <a:pt x="53" y="30"/>
                        <a:pt x="56" y="32"/>
                        <a:pt x="58" y="32"/>
                      </a:cubicBezTo>
                      <a:cubicBezTo>
                        <a:pt x="59" y="32"/>
                        <a:pt x="62" y="31"/>
                        <a:pt x="63" y="27"/>
                      </a:cubicBezTo>
                      <a:cubicBezTo>
                        <a:pt x="64" y="27"/>
                        <a:pt x="65" y="26"/>
                        <a:pt x="66" y="25"/>
                      </a:cubicBezTo>
                      <a:cubicBezTo>
                        <a:pt x="67" y="23"/>
                        <a:pt x="67" y="21"/>
                        <a:pt x="66" y="19"/>
                      </a:cubicBezTo>
                      <a:cubicBezTo>
                        <a:pt x="65" y="18"/>
                        <a:pt x="64" y="17"/>
                        <a:pt x="63" y="16"/>
                      </a:cubicBezTo>
                      <a:cubicBezTo>
                        <a:pt x="67" y="13"/>
                        <a:pt x="71" y="9"/>
                        <a:pt x="71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5" name="Freeform 66">
                  <a:extLst>
                    <a:ext uri="{FF2B5EF4-FFF2-40B4-BE49-F238E27FC236}">
                      <a16:creationId xmlns:a16="http://schemas.microsoft.com/office/drawing/2014/main" id="{E83D008E-B815-E84D-81BD-917A68AF7D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38530" y="7338739"/>
                  <a:ext cx="3106348" cy="2881984"/>
                </a:xfrm>
                <a:custGeom>
                  <a:avLst/>
                  <a:gdLst>
                    <a:gd name="T0" fmla="*/ 559 w 570"/>
                    <a:gd name="T1" fmla="*/ 394 h 581"/>
                    <a:gd name="T2" fmla="*/ 526 w 570"/>
                    <a:gd name="T3" fmla="*/ 405 h 581"/>
                    <a:gd name="T4" fmla="*/ 491 w 570"/>
                    <a:gd name="T5" fmla="*/ 395 h 581"/>
                    <a:gd name="T6" fmla="*/ 440 w 570"/>
                    <a:gd name="T7" fmla="*/ 385 h 581"/>
                    <a:gd name="T8" fmla="*/ 410 w 570"/>
                    <a:gd name="T9" fmla="*/ 340 h 581"/>
                    <a:gd name="T10" fmla="*/ 384 w 570"/>
                    <a:gd name="T11" fmla="*/ 194 h 581"/>
                    <a:gd name="T12" fmla="*/ 380 w 570"/>
                    <a:gd name="T13" fmla="*/ 198 h 581"/>
                    <a:gd name="T14" fmla="*/ 354 w 570"/>
                    <a:gd name="T15" fmla="*/ 176 h 581"/>
                    <a:gd name="T16" fmla="*/ 337 w 570"/>
                    <a:gd name="T17" fmla="*/ 165 h 581"/>
                    <a:gd name="T18" fmla="*/ 318 w 570"/>
                    <a:gd name="T19" fmla="*/ 142 h 581"/>
                    <a:gd name="T20" fmla="*/ 316 w 570"/>
                    <a:gd name="T21" fmla="*/ 132 h 581"/>
                    <a:gd name="T22" fmla="*/ 315 w 570"/>
                    <a:gd name="T23" fmla="*/ 115 h 581"/>
                    <a:gd name="T24" fmla="*/ 310 w 570"/>
                    <a:gd name="T25" fmla="*/ 95 h 581"/>
                    <a:gd name="T26" fmla="*/ 309 w 570"/>
                    <a:gd name="T27" fmla="*/ 73 h 581"/>
                    <a:gd name="T28" fmla="*/ 296 w 570"/>
                    <a:gd name="T29" fmla="*/ 54 h 581"/>
                    <a:gd name="T30" fmla="*/ 282 w 570"/>
                    <a:gd name="T31" fmla="*/ 54 h 581"/>
                    <a:gd name="T32" fmla="*/ 269 w 570"/>
                    <a:gd name="T33" fmla="*/ 51 h 581"/>
                    <a:gd name="T34" fmla="*/ 246 w 570"/>
                    <a:gd name="T35" fmla="*/ 56 h 581"/>
                    <a:gd name="T36" fmla="*/ 238 w 570"/>
                    <a:gd name="T37" fmla="*/ 51 h 581"/>
                    <a:gd name="T38" fmla="*/ 226 w 570"/>
                    <a:gd name="T39" fmla="*/ 42 h 581"/>
                    <a:gd name="T40" fmla="*/ 208 w 570"/>
                    <a:gd name="T41" fmla="*/ 36 h 581"/>
                    <a:gd name="T42" fmla="*/ 193 w 570"/>
                    <a:gd name="T43" fmla="*/ 30 h 581"/>
                    <a:gd name="T44" fmla="*/ 177 w 570"/>
                    <a:gd name="T45" fmla="*/ 13 h 581"/>
                    <a:gd name="T46" fmla="*/ 161 w 570"/>
                    <a:gd name="T47" fmla="*/ 1 h 581"/>
                    <a:gd name="T48" fmla="*/ 0 w 570"/>
                    <a:gd name="T49" fmla="*/ 288 h 581"/>
                    <a:gd name="T50" fmla="*/ 6 w 570"/>
                    <a:gd name="T51" fmla="*/ 297 h 581"/>
                    <a:gd name="T52" fmla="*/ 47 w 570"/>
                    <a:gd name="T53" fmla="*/ 322 h 581"/>
                    <a:gd name="T54" fmla="*/ 69 w 570"/>
                    <a:gd name="T55" fmla="*/ 337 h 581"/>
                    <a:gd name="T56" fmla="*/ 87 w 570"/>
                    <a:gd name="T57" fmla="*/ 346 h 581"/>
                    <a:gd name="T58" fmla="*/ 121 w 570"/>
                    <a:gd name="T59" fmla="*/ 345 h 581"/>
                    <a:gd name="T60" fmla="*/ 160 w 570"/>
                    <a:gd name="T61" fmla="*/ 332 h 581"/>
                    <a:gd name="T62" fmla="*/ 182 w 570"/>
                    <a:gd name="T63" fmla="*/ 310 h 581"/>
                    <a:gd name="T64" fmla="*/ 208 w 570"/>
                    <a:gd name="T65" fmla="*/ 316 h 581"/>
                    <a:gd name="T66" fmla="*/ 227 w 570"/>
                    <a:gd name="T67" fmla="*/ 325 h 581"/>
                    <a:gd name="T68" fmla="*/ 243 w 570"/>
                    <a:gd name="T69" fmla="*/ 348 h 581"/>
                    <a:gd name="T70" fmla="*/ 266 w 570"/>
                    <a:gd name="T71" fmla="*/ 346 h 581"/>
                    <a:gd name="T72" fmla="*/ 275 w 570"/>
                    <a:gd name="T73" fmla="*/ 370 h 581"/>
                    <a:gd name="T74" fmla="*/ 282 w 570"/>
                    <a:gd name="T75" fmla="*/ 389 h 581"/>
                    <a:gd name="T76" fmla="*/ 327 w 570"/>
                    <a:gd name="T77" fmla="*/ 413 h 581"/>
                    <a:gd name="T78" fmla="*/ 385 w 570"/>
                    <a:gd name="T79" fmla="*/ 418 h 581"/>
                    <a:gd name="T80" fmla="*/ 393 w 570"/>
                    <a:gd name="T81" fmla="*/ 421 h 581"/>
                    <a:gd name="T82" fmla="*/ 415 w 570"/>
                    <a:gd name="T83" fmla="*/ 448 h 581"/>
                    <a:gd name="T84" fmla="*/ 414 w 570"/>
                    <a:gd name="T85" fmla="*/ 460 h 581"/>
                    <a:gd name="T86" fmla="*/ 398 w 570"/>
                    <a:gd name="T87" fmla="*/ 458 h 581"/>
                    <a:gd name="T88" fmla="*/ 384 w 570"/>
                    <a:gd name="T89" fmla="*/ 447 h 581"/>
                    <a:gd name="T90" fmla="*/ 365 w 570"/>
                    <a:gd name="T91" fmla="*/ 441 h 581"/>
                    <a:gd name="T92" fmla="*/ 374 w 570"/>
                    <a:gd name="T93" fmla="*/ 471 h 581"/>
                    <a:gd name="T94" fmla="*/ 370 w 570"/>
                    <a:gd name="T95" fmla="*/ 495 h 581"/>
                    <a:gd name="T96" fmla="*/ 360 w 570"/>
                    <a:gd name="T97" fmla="*/ 530 h 581"/>
                    <a:gd name="T98" fmla="*/ 363 w 570"/>
                    <a:gd name="T99" fmla="*/ 551 h 581"/>
                    <a:gd name="T100" fmla="*/ 340 w 570"/>
                    <a:gd name="T101" fmla="*/ 577 h 581"/>
                    <a:gd name="T102" fmla="*/ 386 w 570"/>
                    <a:gd name="T103" fmla="*/ 555 h 581"/>
                    <a:gd name="T104" fmla="*/ 409 w 570"/>
                    <a:gd name="T105" fmla="*/ 547 h 581"/>
                    <a:gd name="T106" fmla="*/ 439 w 570"/>
                    <a:gd name="T107" fmla="*/ 535 h 581"/>
                    <a:gd name="T108" fmla="*/ 457 w 570"/>
                    <a:gd name="T109" fmla="*/ 512 h 581"/>
                    <a:gd name="T110" fmla="*/ 441 w 570"/>
                    <a:gd name="T111" fmla="*/ 502 h 581"/>
                    <a:gd name="T112" fmla="*/ 492 w 570"/>
                    <a:gd name="T113" fmla="*/ 477 h 581"/>
                    <a:gd name="T114" fmla="*/ 521 w 570"/>
                    <a:gd name="T115" fmla="*/ 460 h 581"/>
                    <a:gd name="T116" fmla="*/ 570 w 570"/>
                    <a:gd name="T117" fmla="*/ 416 h 5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70" h="581">
                      <a:moveTo>
                        <a:pt x="569" y="413"/>
                      </a:moveTo>
                      <a:cubicBezTo>
                        <a:pt x="568" y="411"/>
                        <a:pt x="568" y="410"/>
                        <a:pt x="567" y="408"/>
                      </a:cubicBezTo>
                      <a:cubicBezTo>
                        <a:pt x="567" y="408"/>
                        <a:pt x="566" y="405"/>
                        <a:pt x="566" y="404"/>
                      </a:cubicBezTo>
                      <a:cubicBezTo>
                        <a:pt x="565" y="399"/>
                        <a:pt x="563" y="396"/>
                        <a:pt x="561" y="395"/>
                      </a:cubicBezTo>
                      <a:cubicBezTo>
                        <a:pt x="560" y="394"/>
                        <a:pt x="560" y="394"/>
                        <a:pt x="559" y="394"/>
                      </a:cubicBezTo>
                      <a:cubicBezTo>
                        <a:pt x="556" y="394"/>
                        <a:pt x="553" y="395"/>
                        <a:pt x="550" y="397"/>
                      </a:cubicBezTo>
                      <a:cubicBezTo>
                        <a:pt x="547" y="397"/>
                        <a:pt x="544" y="398"/>
                        <a:pt x="542" y="399"/>
                      </a:cubicBezTo>
                      <a:cubicBezTo>
                        <a:pt x="537" y="400"/>
                        <a:pt x="533" y="401"/>
                        <a:pt x="529" y="403"/>
                      </a:cubicBezTo>
                      <a:cubicBezTo>
                        <a:pt x="528" y="404"/>
                        <a:pt x="527" y="405"/>
                        <a:pt x="526" y="405"/>
                      </a:cubicBezTo>
                      <a:cubicBezTo>
                        <a:pt x="526" y="405"/>
                        <a:pt x="526" y="405"/>
                        <a:pt x="526" y="405"/>
                      </a:cubicBezTo>
                      <a:cubicBezTo>
                        <a:pt x="523" y="407"/>
                        <a:pt x="521" y="408"/>
                        <a:pt x="518" y="408"/>
                      </a:cubicBezTo>
                      <a:cubicBezTo>
                        <a:pt x="516" y="408"/>
                        <a:pt x="514" y="407"/>
                        <a:pt x="511" y="406"/>
                      </a:cubicBezTo>
                      <a:cubicBezTo>
                        <a:pt x="508" y="405"/>
                        <a:pt x="506" y="403"/>
                        <a:pt x="504" y="401"/>
                      </a:cubicBezTo>
                      <a:cubicBezTo>
                        <a:pt x="500" y="398"/>
                        <a:pt x="496" y="395"/>
                        <a:pt x="492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87" y="395"/>
                        <a:pt x="481" y="397"/>
                        <a:pt x="476" y="398"/>
                      </a:cubicBezTo>
                      <a:cubicBezTo>
                        <a:pt x="473" y="398"/>
                        <a:pt x="470" y="399"/>
                        <a:pt x="468" y="399"/>
                      </a:cubicBezTo>
                      <a:cubicBezTo>
                        <a:pt x="466" y="400"/>
                        <a:pt x="464" y="400"/>
                        <a:pt x="462" y="400"/>
                      </a:cubicBezTo>
                      <a:cubicBezTo>
                        <a:pt x="451" y="400"/>
                        <a:pt x="447" y="394"/>
                        <a:pt x="441" y="386"/>
                      </a:cubicBezTo>
                      <a:cubicBezTo>
                        <a:pt x="440" y="385"/>
                        <a:pt x="440" y="385"/>
                        <a:pt x="440" y="385"/>
                      </a:cubicBezTo>
                      <a:cubicBezTo>
                        <a:pt x="439" y="383"/>
                        <a:pt x="438" y="382"/>
                        <a:pt x="436" y="380"/>
                      </a:cubicBezTo>
                      <a:cubicBezTo>
                        <a:pt x="434" y="377"/>
                        <a:pt x="432" y="375"/>
                        <a:pt x="430" y="373"/>
                      </a:cubicBezTo>
                      <a:cubicBezTo>
                        <a:pt x="427" y="371"/>
                        <a:pt x="425" y="369"/>
                        <a:pt x="423" y="366"/>
                      </a:cubicBezTo>
                      <a:cubicBezTo>
                        <a:pt x="422" y="365"/>
                        <a:pt x="421" y="364"/>
                        <a:pt x="420" y="363"/>
                      </a:cubicBezTo>
                      <a:cubicBezTo>
                        <a:pt x="415" y="355"/>
                        <a:pt x="411" y="351"/>
                        <a:pt x="410" y="340"/>
                      </a:cubicBezTo>
                      <a:cubicBezTo>
                        <a:pt x="410" y="336"/>
                        <a:pt x="410" y="332"/>
                        <a:pt x="409" y="328"/>
                      </a:cubicBezTo>
                      <a:cubicBezTo>
                        <a:pt x="409" y="327"/>
                        <a:pt x="408" y="325"/>
                        <a:pt x="408" y="324"/>
                      </a:cubicBezTo>
                      <a:cubicBezTo>
                        <a:pt x="401" y="278"/>
                        <a:pt x="395" y="232"/>
                        <a:pt x="390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4" y="194"/>
                        <a:pt x="384" y="194"/>
                        <a:pt x="384" y="194"/>
                      </a:cubicBezTo>
                      <a:cubicBezTo>
                        <a:pt x="384" y="195"/>
                        <a:pt x="384" y="195"/>
                        <a:pt x="384" y="196"/>
                      </a:cubicBezTo>
                      <a:cubicBezTo>
                        <a:pt x="384" y="197"/>
                        <a:pt x="384" y="197"/>
                        <a:pt x="384" y="197"/>
                      </a:cubicBezTo>
                      <a:cubicBezTo>
                        <a:pt x="384" y="198"/>
                        <a:pt x="383" y="200"/>
                        <a:pt x="383" y="201"/>
                      </a:cubicBezTo>
                      <a:cubicBezTo>
                        <a:pt x="382" y="200"/>
                        <a:pt x="382" y="200"/>
                        <a:pt x="381" y="199"/>
                      </a:cubicBezTo>
                      <a:cubicBezTo>
                        <a:pt x="380" y="199"/>
                        <a:pt x="380" y="198"/>
                        <a:pt x="380" y="198"/>
                      </a:cubicBezTo>
                      <a:cubicBezTo>
                        <a:pt x="377" y="196"/>
                        <a:pt x="374" y="195"/>
                        <a:pt x="371" y="195"/>
                      </a:cubicBezTo>
                      <a:cubicBezTo>
                        <a:pt x="369" y="195"/>
                        <a:pt x="368" y="195"/>
                        <a:pt x="366" y="196"/>
                      </a:cubicBezTo>
                      <a:cubicBezTo>
                        <a:pt x="366" y="195"/>
                        <a:pt x="366" y="195"/>
                        <a:pt x="366" y="195"/>
                      </a:cubicBezTo>
                      <a:cubicBezTo>
                        <a:pt x="367" y="192"/>
                        <a:pt x="367" y="189"/>
                        <a:pt x="364" y="185"/>
                      </a:cubicBezTo>
                      <a:cubicBezTo>
                        <a:pt x="362" y="181"/>
                        <a:pt x="358" y="178"/>
                        <a:pt x="354" y="176"/>
                      </a:cubicBezTo>
                      <a:cubicBezTo>
                        <a:pt x="350" y="173"/>
                        <a:pt x="345" y="170"/>
                        <a:pt x="341" y="168"/>
                      </a:cubicBezTo>
                      <a:cubicBezTo>
                        <a:pt x="340" y="167"/>
                        <a:pt x="340" y="167"/>
                        <a:pt x="340" y="167"/>
                      </a:cubicBezTo>
                      <a:cubicBezTo>
                        <a:pt x="339" y="167"/>
                        <a:pt x="338" y="166"/>
                        <a:pt x="337" y="166"/>
                      </a:cubicBezTo>
                      <a:cubicBezTo>
                        <a:pt x="337" y="166"/>
                        <a:pt x="336" y="166"/>
                        <a:pt x="336" y="166"/>
                      </a:cubicBezTo>
                      <a:cubicBezTo>
                        <a:pt x="336" y="166"/>
                        <a:pt x="337" y="165"/>
                        <a:pt x="337" y="165"/>
                      </a:cubicBezTo>
                      <a:cubicBezTo>
                        <a:pt x="339" y="158"/>
                        <a:pt x="332" y="153"/>
                        <a:pt x="327" y="149"/>
                      </a:cubicBezTo>
                      <a:cubicBezTo>
                        <a:pt x="326" y="148"/>
                        <a:pt x="325" y="148"/>
                        <a:pt x="325" y="147"/>
                      </a:cubicBezTo>
                      <a:cubicBezTo>
                        <a:pt x="324" y="146"/>
                        <a:pt x="322" y="145"/>
                        <a:pt x="321" y="144"/>
                      </a:cubicBezTo>
                      <a:cubicBezTo>
                        <a:pt x="320" y="144"/>
                        <a:pt x="320" y="144"/>
                        <a:pt x="320" y="144"/>
                      </a:cubicBezTo>
                      <a:cubicBezTo>
                        <a:pt x="320" y="143"/>
                        <a:pt x="319" y="143"/>
                        <a:pt x="318" y="142"/>
                      </a:cubicBezTo>
                      <a:cubicBezTo>
                        <a:pt x="318" y="142"/>
                        <a:pt x="317" y="142"/>
                        <a:pt x="317" y="141"/>
                      </a:cubicBezTo>
                      <a:cubicBezTo>
                        <a:pt x="317" y="141"/>
                        <a:pt x="317" y="140"/>
                        <a:pt x="316" y="140"/>
                      </a:cubicBezTo>
                      <a:cubicBezTo>
                        <a:pt x="316" y="138"/>
                        <a:pt x="316" y="138"/>
                        <a:pt x="316" y="138"/>
                      </a:cubicBezTo>
                      <a:cubicBezTo>
                        <a:pt x="316" y="136"/>
                        <a:pt x="316" y="135"/>
                        <a:pt x="316" y="133"/>
                      </a:cubicBezTo>
                      <a:cubicBezTo>
                        <a:pt x="316" y="133"/>
                        <a:pt x="316" y="133"/>
                        <a:pt x="316" y="132"/>
                      </a:cubicBezTo>
                      <a:cubicBezTo>
                        <a:pt x="316" y="131"/>
                        <a:pt x="317" y="131"/>
                        <a:pt x="317" y="130"/>
                      </a:cubicBezTo>
                      <a:cubicBezTo>
                        <a:pt x="318" y="127"/>
                        <a:pt x="318" y="123"/>
                        <a:pt x="317" y="120"/>
                      </a:cubicBezTo>
                      <a:cubicBezTo>
                        <a:pt x="317" y="120"/>
                        <a:pt x="316" y="119"/>
                        <a:pt x="316" y="119"/>
                      </a:cubicBezTo>
                      <a:cubicBezTo>
                        <a:pt x="316" y="118"/>
                        <a:pt x="316" y="118"/>
                        <a:pt x="316" y="118"/>
                      </a:cubicBezTo>
                      <a:cubicBezTo>
                        <a:pt x="315" y="117"/>
                        <a:pt x="315" y="116"/>
                        <a:pt x="315" y="115"/>
                      </a:cubicBezTo>
                      <a:cubicBezTo>
                        <a:pt x="315" y="115"/>
                        <a:pt x="315" y="115"/>
                        <a:pt x="315" y="115"/>
                      </a:cubicBezTo>
                      <a:cubicBezTo>
                        <a:pt x="315" y="113"/>
                        <a:pt x="315" y="111"/>
                        <a:pt x="315" y="109"/>
                      </a:cubicBezTo>
                      <a:cubicBezTo>
                        <a:pt x="315" y="108"/>
                        <a:pt x="315" y="106"/>
                        <a:pt x="315" y="104"/>
                      </a:cubicBezTo>
                      <a:cubicBezTo>
                        <a:pt x="315" y="102"/>
                        <a:pt x="315" y="100"/>
                        <a:pt x="314" y="98"/>
                      </a:cubicBezTo>
                      <a:cubicBezTo>
                        <a:pt x="313" y="96"/>
                        <a:pt x="311" y="95"/>
                        <a:pt x="310" y="95"/>
                      </a:cubicBezTo>
                      <a:cubicBezTo>
                        <a:pt x="309" y="95"/>
                        <a:pt x="309" y="95"/>
                        <a:pt x="309" y="95"/>
                      </a:cubicBezTo>
                      <a:cubicBezTo>
                        <a:pt x="307" y="94"/>
                        <a:pt x="307" y="89"/>
                        <a:pt x="307" y="87"/>
                      </a:cubicBezTo>
                      <a:cubicBezTo>
                        <a:pt x="307" y="85"/>
                        <a:pt x="307" y="84"/>
                        <a:pt x="307" y="84"/>
                      </a:cubicBezTo>
                      <a:cubicBezTo>
                        <a:pt x="307" y="82"/>
                        <a:pt x="308" y="79"/>
                        <a:pt x="308" y="77"/>
                      </a:cubicBezTo>
                      <a:cubicBezTo>
                        <a:pt x="309" y="76"/>
                        <a:pt x="309" y="74"/>
                        <a:pt x="309" y="73"/>
                      </a:cubicBezTo>
                      <a:cubicBezTo>
                        <a:pt x="310" y="70"/>
                        <a:pt x="309" y="68"/>
                        <a:pt x="309" y="67"/>
                      </a:cubicBezTo>
                      <a:cubicBezTo>
                        <a:pt x="308" y="66"/>
                        <a:pt x="308" y="65"/>
                        <a:pt x="308" y="64"/>
                      </a:cubicBezTo>
                      <a:cubicBezTo>
                        <a:pt x="308" y="64"/>
                        <a:pt x="308" y="64"/>
                        <a:pt x="308" y="64"/>
                      </a:cubicBezTo>
                      <a:cubicBezTo>
                        <a:pt x="308" y="62"/>
                        <a:pt x="307" y="59"/>
                        <a:pt x="305" y="57"/>
                      </a:cubicBezTo>
                      <a:cubicBezTo>
                        <a:pt x="302" y="55"/>
                        <a:pt x="299" y="54"/>
                        <a:pt x="296" y="54"/>
                      </a:cubicBezTo>
                      <a:cubicBezTo>
                        <a:pt x="295" y="54"/>
                        <a:pt x="294" y="54"/>
                        <a:pt x="292" y="55"/>
                      </a:cubicBezTo>
                      <a:cubicBezTo>
                        <a:pt x="292" y="55"/>
                        <a:pt x="291" y="55"/>
                        <a:pt x="291" y="55"/>
                      </a:cubicBezTo>
                      <a:cubicBezTo>
                        <a:pt x="289" y="55"/>
                        <a:pt x="288" y="55"/>
                        <a:pt x="287" y="54"/>
                      </a:cubicBezTo>
                      <a:cubicBezTo>
                        <a:pt x="286" y="54"/>
                        <a:pt x="286" y="54"/>
                        <a:pt x="285" y="54"/>
                      </a:cubicBezTo>
                      <a:cubicBezTo>
                        <a:pt x="284" y="54"/>
                        <a:pt x="283" y="54"/>
                        <a:pt x="282" y="54"/>
                      </a:cubicBezTo>
                      <a:cubicBezTo>
                        <a:pt x="281" y="54"/>
                        <a:pt x="280" y="54"/>
                        <a:pt x="279" y="54"/>
                      </a:cubicBezTo>
                      <a:cubicBezTo>
                        <a:pt x="278" y="54"/>
                        <a:pt x="276" y="54"/>
                        <a:pt x="276" y="54"/>
                      </a:cubicBezTo>
                      <a:cubicBezTo>
                        <a:pt x="275" y="54"/>
                        <a:pt x="275" y="54"/>
                        <a:pt x="275" y="53"/>
                      </a:cubicBezTo>
                      <a:cubicBezTo>
                        <a:pt x="274" y="53"/>
                        <a:pt x="273" y="52"/>
                        <a:pt x="272" y="52"/>
                      </a:cubicBezTo>
                      <a:cubicBezTo>
                        <a:pt x="271" y="51"/>
                        <a:pt x="270" y="51"/>
                        <a:pt x="269" y="51"/>
                      </a:cubicBezTo>
                      <a:cubicBezTo>
                        <a:pt x="267" y="51"/>
                        <a:pt x="266" y="51"/>
                        <a:pt x="265" y="52"/>
                      </a:cubicBezTo>
                      <a:cubicBezTo>
                        <a:pt x="262" y="52"/>
                        <a:pt x="259" y="53"/>
                        <a:pt x="256" y="54"/>
                      </a:cubicBezTo>
                      <a:cubicBezTo>
                        <a:pt x="254" y="55"/>
                        <a:pt x="252" y="55"/>
                        <a:pt x="250" y="56"/>
                      </a:cubicBezTo>
                      <a:cubicBezTo>
                        <a:pt x="249" y="56"/>
                        <a:pt x="247" y="56"/>
                        <a:pt x="246" y="56"/>
                      </a:cubicBezTo>
                      <a:cubicBezTo>
                        <a:pt x="246" y="56"/>
                        <a:pt x="246" y="56"/>
                        <a:pt x="246" y="56"/>
                      </a:cubicBezTo>
                      <a:cubicBezTo>
                        <a:pt x="246" y="56"/>
                        <a:pt x="246" y="56"/>
                        <a:pt x="246" y="56"/>
                      </a:cubicBezTo>
                      <a:cubicBezTo>
                        <a:pt x="245" y="56"/>
                        <a:pt x="245" y="56"/>
                        <a:pt x="245" y="56"/>
                      </a:cubicBezTo>
                      <a:cubicBezTo>
                        <a:pt x="245" y="55"/>
                        <a:pt x="244" y="54"/>
                        <a:pt x="243" y="53"/>
                      </a:cubicBezTo>
                      <a:cubicBezTo>
                        <a:pt x="242" y="53"/>
                        <a:pt x="241" y="52"/>
                        <a:pt x="239" y="52"/>
                      </a:cubicBezTo>
                      <a:cubicBezTo>
                        <a:pt x="239" y="51"/>
                        <a:pt x="239" y="51"/>
                        <a:pt x="238" y="51"/>
                      </a:cubicBezTo>
                      <a:cubicBezTo>
                        <a:pt x="238" y="51"/>
                        <a:pt x="238" y="51"/>
                        <a:pt x="237" y="51"/>
                      </a:cubicBezTo>
                      <a:cubicBezTo>
                        <a:pt x="237" y="51"/>
                        <a:pt x="237" y="51"/>
                        <a:pt x="237" y="51"/>
                      </a:cubicBezTo>
                      <a:cubicBezTo>
                        <a:pt x="237" y="50"/>
                        <a:pt x="237" y="48"/>
                        <a:pt x="235" y="46"/>
                      </a:cubicBezTo>
                      <a:cubicBezTo>
                        <a:pt x="233" y="45"/>
                        <a:pt x="230" y="43"/>
                        <a:pt x="227" y="42"/>
                      </a:cubicBezTo>
                      <a:cubicBezTo>
                        <a:pt x="227" y="42"/>
                        <a:pt x="226" y="42"/>
                        <a:pt x="226" y="42"/>
                      </a:cubicBezTo>
                      <a:cubicBezTo>
                        <a:pt x="225" y="41"/>
                        <a:pt x="225" y="41"/>
                        <a:pt x="224" y="41"/>
                      </a:cubicBezTo>
                      <a:cubicBezTo>
                        <a:pt x="224" y="41"/>
                        <a:pt x="224" y="41"/>
                        <a:pt x="224" y="41"/>
                      </a:cubicBezTo>
                      <a:cubicBezTo>
                        <a:pt x="223" y="40"/>
                        <a:pt x="222" y="39"/>
                        <a:pt x="221" y="39"/>
                      </a:cubicBezTo>
                      <a:cubicBezTo>
                        <a:pt x="217" y="38"/>
                        <a:pt x="213" y="37"/>
                        <a:pt x="209" y="36"/>
                      </a:cubicBezTo>
                      <a:cubicBezTo>
                        <a:pt x="208" y="36"/>
                        <a:pt x="208" y="36"/>
                        <a:pt x="208" y="36"/>
                      </a:cubicBezTo>
                      <a:cubicBezTo>
                        <a:pt x="207" y="35"/>
                        <a:pt x="207" y="35"/>
                        <a:pt x="207" y="35"/>
                      </a:cubicBezTo>
                      <a:cubicBezTo>
                        <a:pt x="205" y="34"/>
                        <a:pt x="204" y="33"/>
                        <a:pt x="201" y="32"/>
                      </a:cubicBezTo>
                      <a:cubicBezTo>
                        <a:pt x="200" y="31"/>
                        <a:pt x="199" y="31"/>
                        <a:pt x="198" y="31"/>
                      </a:cubicBezTo>
                      <a:cubicBezTo>
                        <a:pt x="197" y="31"/>
                        <a:pt x="196" y="31"/>
                        <a:pt x="196" y="31"/>
                      </a:cubicBezTo>
                      <a:cubicBezTo>
                        <a:pt x="195" y="31"/>
                        <a:pt x="194" y="31"/>
                        <a:pt x="193" y="30"/>
                      </a:cubicBezTo>
                      <a:cubicBezTo>
                        <a:pt x="192" y="30"/>
                        <a:pt x="192" y="29"/>
                        <a:pt x="191" y="29"/>
                      </a:cubicBezTo>
                      <a:cubicBezTo>
                        <a:pt x="190" y="29"/>
                        <a:pt x="190" y="29"/>
                        <a:pt x="190" y="29"/>
                      </a:cubicBezTo>
                      <a:cubicBezTo>
                        <a:pt x="190" y="28"/>
                        <a:pt x="187" y="27"/>
                        <a:pt x="187" y="26"/>
                      </a:cubicBezTo>
                      <a:cubicBezTo>
                        <a:pt x="186" y="24"/>
                        <a:pt x="185" y="22"/>
                        <a:pt x="184" y="19"/>
                      </a:cubicBezTo>
                      <a:cubicBezTo>
                        <a:pt x="182" y="17"/>
                        <a:pt x="180" y="15"/>
                        <a:pt x="177" y="13"/>
                      </a:cubicBezTo>
                      <a:cubicBezTo>
                        <a:pt x="177" y="13"/>
                        <a:pt x="176" y="12"/>
                        <a:pt x="175" y="12"/>
                      </a:cubicBezTo>
                      <a:cubicBezTo>
                        <a:pt x="174" y="12"/>
                        <a:pt x="173" y="11"/>
                        <a:pt x="172" y="11"/>
                      </a:cubicBezTo>
                      <a:cubicBezTo>
                        <a:pt x="172" y="10"/>
                        <a:pt x="171" y="9"/>
                        <a:pt x="170" y="8"/>
                      </a:cubicBezTo>
                      <a:cubicBezTo>
                        <a:pt x="169" y="7"/>
                        <a:pt x="167" y="6"/>
                        <a:pt x="166" y="5"/>
                      </a:cubicBezTo>
                      <a:cubicBezTo>
                        <a:pt x="165" y="4"/>
                        <a:pt x="163" y="2"/>
                        <a:pt x="161" y="1"/>
                      </a:cubicBezTo>
                      <a:cubicBezTo>
                        <a:pt x="159" y="0"/>
                        <a:pt x="159" y="0"/>
                        <a:pt x="159" y="0"/>
                      </a:cubicBezTo>
                      <a:cubicBezTo>
                        <a:pt x="157" y="2"/>
                        <a:pt x="157" y="2"/>
                        <a:pt x="157" y="2"/>
                      </a:cubicBezTo>
                      <a:cubicBezTo>
                        <a:pt x="137" y="23"/>
                        <a:pt x="37" y="133"/>
                        <a:pt x="12" y="151"/>
                      </a:cubicBezTo>
                      <a:cubicBezTo>
                        <a:pt x="11" y="152"/>
                        <a:pt x="11" y="152"/>
                        <a:pt x="11" y="152"/>
                      </a:cubicBezTo>
                      <a:cubicBezTo>
                        <a:pt x="0" y="288"/>
                        <a:pt x="0" y="288"/>
                        <a:pt x="0" y="288"/>
                      </a:cubicBezTo>
                      <a:cubicBezTo>
                        <a:pt x="3" y="289"/>
                        <a:pt x="3" y="289"/>
                        <a:pt x="3" y="289"/>
                      </a:cubicBezTo>
                      <a:cubicBezTo>
                        <a:pt x="4" y="289"/>
                        <a:pt x="4" y="289"/>
                        <a:pt x="5" y="289"/>
                      </a:cubicBezTo>
                      <a:cubicBezTo>
                        <a:pt x="5" y="289"/>
                        <a:pt x="6" y="289"/>
                        <a:pt x="6" y="292"/>
                      </a:cubicBezTo>
                      <a:cubicBezTo>
                        <a:pt x="6" y="292"/>
                        <a:pt x="6" y="293"/>
                        <a:pt x="6" y="293"/>
                      </a:cubicBezTo>
                      <a:cubicBezTo>
                        <a:pt x="6" y="295"/>
                        <a:pt x="6" y="296"/>
                        <a:pt x="6" y="297"/>
                      </a:cubicBezTo>
                      <a:cubicBezTo>
                        <a:pt x="7" y="298"/>
                        <a:pt x="7" y="300"/>
                        <a:pt x="7" y="301"/>
                      </a:cubicBezTo>
                      <a:cubicBezTo>
                        <a:pt x="7" y="307"/>
                        <a:pt x="7" y="315"/>
                        <a:pt x="15" y="319"/>
                      </a:cubicBezTo>
                      <a:cubicBezTo>
                        <a:pt x="22" y="322"/>
                        <a:pt x="30" y="324"/>
                        <a:pt x="38" y="324"/>
                      </a:cubicBezTo>
                      <a:cubicBezTo>
                        <a:pt x="38" y="324"/>
                        <a:pt x="39" y="324"/>
                        <a:pt x="40" y="324"/>
                      </a:cubicBezTo>
                      <a:cubicBezTo>
                        <a:pt x="42" y="324"/>
                        <a:pt x="45" y="323"/>
                        <a:pt x="47" y="322"/>
                      </a:cubicBezTo>
                      <a:cubicBezTo>
                        <a:pt x="49" y="321"/>
                        <a:pt x="50" y="320"/>
                        <a:pt x="52" y="320"/>
                      </a:cubicBezTo>
                      <a:cubicBezTo>
                        <a:pt x="53" y="320"/>
                        <a:pt x="54" y="320"/>
                        <a:pt x="54" y="321"/>
                      </a:cubicBezTo>
                      <a:cubicBezTo>
                        <a:pt x="57" y="322"/>
                        <a:pt x="62" y="327"/>
                        <a:pt x="64" y="331"/>
                      </a:cubicBezTo>
                      <a:cubicBezTo>
                        <a:pt x="64" y="331"/>
                        <a:pt x="64" y="331"/>
                        <a:pt x="64" y="331"/>
                      </a:cubicBezTo>
                      <a:cubicBezTo>
                        <a:pt x="64" y="333"/>
                        <a:pt x="65" y="335"/>
                        <a:pt x="69" y="337"/>
                      </a:cubicBezTo>
                      <a:cubicBezTo>
                        <a:pt x="69" y="337"/>
                        <a:pt x="70" y="337"/>
                        <a:pt x="70" y="337"/>
                      </a:cubicBezTo>
                      <a:cubicBezTo>
                        <a:pt x="72" y="337"/>
                        <a:pt x="73" y="337"/>
                        <a:pt x="74" y="336"/>
                      </a:cubicBezTo>
                      <a:cubicBezTo>
                        <a:pt x="75" y="336"/>
                        <a:pt x="76" y="335"/>
                        <a:pt x="77" y="335"/>
                      </a:cubicBezTo>
                      <a:cubicBezTo>
                        <a:pt x="78" y="336"/>
                        <a:pt x="80" y="337"/>
                        <a:pt x="82" y="340"/>
                      </a:cubicBezTo>
                      <a:cubicBezTo>
                        <a:pt x="83" y="342"/>
                        <a:pt x="85" y="344"/>
                        <a:pt x="87" y="346"/>
                      </a:cubicBezTo>
                      <a:cubicBezTo>
                        <a:pt x="89" y="347"/>
                        <a:pt x="91" y="348"/>
                        <a:pt x="93" y="348"/>
                      </a:cubicBezTo>
                      <a:cubicBezTo>
                        <a:pt x="98" y="348"/>
                        <a:pt x="101" y="345"/>
                        <a:pt x="104" y="343"/>
                      </a:cubicBezTo>
                      <a:cubicBezTo>
                        <a:pt x="107" y="342"/>
                        <a:pt x="108" y="341"/>
                        <a:pt x="110" y="341"/>
                      </a:cubicBezTo>
                      <a:cubicBezTo>
                        <a:pt x="111" y="341"/>
                        <a:pt x="113" y="342"/>
                        <a:pt x="115" y="342"/>
                      </a:cubicBezTo>
                      <a:cubicBezTo>
                        <a:pt x="116" y="343"/>
                        <a:pt x="118" y="344"/>
                        <a:pt x="121" y="345"/>
                      </a:cubicBezTo>
                      <a:cubicBezTo>
                        <a:pt x="127" y="348"/>
                        <a:pt x="136" y="352"/>
                        <a:pt x="142" y="352"/>
                      </a:cubicBezTo>
                      <a:cubicBezTo>
                        <a:pt x="148" y="352"/>
                        <a:pt x="150" y="349"/>
                        <a:pt x="152" y="347"/>
                      </a:cubicBezTo>
                      <a:cubicBezTo>
                        <a:pt x="153" y="345"/>
                        <a:pt x="154" y="342"/>
                        <a:pt x="154" y="339"/>
                      </a:cubicBezTo>
                      <a:cubicBezTo>
                        <a:pt x="155" y="336"/>
                        <a:pt x="155" y="334"/>
                        <a:pt x="157" y="333"/>
                      </a:cubicBezTo>
                      <a:cubicBezTo>
                        <a:pt x="158" y="333"/>
                        <a:pt x="159" y="332"/>
                        <a:pt x="160" y="332"/>
                      </a:cubicBezTo>
                      <a:cubicBezTo>
                        <a:pt x="161" y="331"/>
                        <a:pt x="163" y="330"/>
                        <a:pt x="165" y="329"/>
                      </a:cubicBezTo>
                      <a:cubicBezTo>
                        <a:pt x="166" y="328"/>
                        <a:pt x="166" y="328"/>
                        <a:pt x="166" y="328"/>
                      </a:cubicBezTo>
                      <a:cubicBezTo>
                        <a:pt x="168" y="326"/>
                        <a:pt x="170" y="324"/>
                        <a:pt x="172" y="322"/>
                      </a:cubicBezTo>
                      <a:cubicBezTo>
                        <a:pt x="173" y="321"/>
                        <a:pt x="173" y="319"/>
                        <a:pt x="174" y="318"/>
                      </a:cubicBezTo>
                      <a:cubicBezTo>
                        <a:pt x="177" y="313"/>
                        <a:pt x="179" y="310"/>
                        <a:pt x="182" y="310"/>
                      </a:cubicBezTo>
                      <a:cubicBezTo>
                        <a:pt x="183" y="310"/>
                        <a:pt x="184" y="311"/>
                        <a:pt x="186" y="311"/>
                      </a:cubicBezTo>
                      <a:cubicBezTo>
                        <a:pt x="187" y="312"/>
                        <a:pt x="188" y="313"/>
                        <a:pt x="189" y="313"/>
                      </a:cubicBezTo>
                      <a:cubicBezTo>
                        <a:pt x="193" y="314"/>
                        <a:pt x="197" y="315"/>
                        <a:pt x="201" y="316"/>
                      </a:cubicBezTo>
                      <a:cubicBezTo>
                        <a:pt x="202" y="316"/>
                        <a:pt x="202" y="316"/>
                        <a:pt x="202" y="316"/>
                      </a:cubicBezTo>
                      <a:cubicBezTo>
                        <a:pt x="204" y="316"/>
                        <a:pt x="206" y="316"/>
                        <a:pt x="208" y="316"/>
                      </a:cubicBezTo>
                      <a:cubicBezTo>
                        <a:pt x="209" y="316"/>
                        <a:pt x="210" y="316"/>
                        <a:pt x="212" y="316"/>
                      </a:cubicBezTo>
                      <a:cubicBezTo>
                        <a:pt x="213" y="316"/>
                        <a:pt x="214" y="316"/>
                        <a:pt x="215" y="316"/>
                      </a:cubicBezTo>
                      <a:cubicBezTo>
                        <a:pt x="216" y="316"/>
                        <a:pt x="218" y="316"/>
                        <a:pt x="219" y="316"/>
                      </a:cubicBezTo>
                      <a:cubicBezTo>
                        <a:pt x="223" y="317"/>
                        <a:pt x="224" y="319"/>
                        <a:pt x="227" y="325"/>
                      </a:cubicBezTo>
                      <a:cubicBezTo>
                        <a:pt x="227" y="325"/>
                        <a:pt x="227" y="325"/>
                        <a:pt x="227" y="325"/>
                      </a:cubicBezTo>
                      <a:cubicBezTo>
                        <a:pt x="227" y="326"/>
                        <a:pt x="227" y="327"/>
                        <a:pt x="227" y="328"/>
                      </a:cubicBezTo>
                      <a:cubicBezTo>
                        <a:pt x="228" y="329"/>
                        <a:pt x="228" y="330"/>
                        <a:pt x="228" y="332"/>
                      </a:cubicBezTo>
                      <a:cubicBezTo>
                        <a:pt x="229" y="333"/>
                        <a:pt x="230" y="334"/>
                        <a:pt x="231" y="336"/>
                      </a:cubicBezTo>
                      <a:cubicBezTo>
                        <a:pt x="231" y="336"/>
                        <a:pt x="232" y="337"/>
                        <a:pt x="232" y="337"/>
                      </a:cubicBezTo>
                      <a:cubicBezTo>
                        <a:pt x="235" y="341"/>
                        <a:pt x="238" y="346"/>
                        <a:pt x="243" y="348"/>
                      </a:cubicBezTo>
                      <a:cubicBezTo>
                        <a:pt x="245" y="349"/>
                        <a:pt x="247" y="349"/>
                        <a:pt x="250" y="349"/>
                      </a:cubicBezTo>
                      <a:cubicBezTo>
                        <a:pt x="252" y="349"/>
                        <a:pt x="254" y="349"/>
                        <a:pt x="257" y="348"/>
                      </a:cubicBezTo>
                      <a:cubicBezTo>
                        <a:pt x="258" y="348"/>
                        <a:pt x="258" y="348"/>
                        <a:pt x="259" y="347"/>
                      </a:cubicBezTo>
                      <a:cubicBezTo>
                        <a:pt x="261" y="346"/>
                        <a:pt x="264" y="345"/>
                        <a:pt x="265" y="345"/>
                      </a:cubicBezTo>
                      <a:cubicBezTo>
                        <a:pt x="265" y="345"/>
                        <a:pt x="266" y="345"/>
                        <a:pt x="266" y="346"/>
                      </a:cubicBezTo>
                      <a:cubicBezTo>
                        <a:pt x="266" y="346"/>
                        <a:pt x="266" y="346"/>
                        <a:pt x="266" y="346"/>
                      </a:cubicBezTo>
                      <a:cubicBezTo>
                        <a:pt x="265" y="347"/>
                        <a:pt x="265" y="347"/>
                        <a:pt x="265" y="348"/>
                      </a:cubicBezTo>
                      <a:cubicBezTo>
                        <a:pt x="263" y="353"/>
                        <a:pt x="264" y="358"/>
                        <a:pt x="266" y="363"/>
                      </a:cubicBezTo>
                      <a:cubicBezTo>
                        <a:pt x="267" y="366"/>
                        <a:pt x="270" y="367"/>
                        <a:pt x="272" y="368"/>
                      </a:cubicBezTo>
                      <a:cubicBezTo>
                        <a:pt x="274" y="369"/>
                        <a:pt x="275" y="369"/>
                        <a:pt x="275" y="370"/>
                      </a:cubicBezTo>
                      <a:cubicBezTo>
                        <a:pt x="275" y="371"/>
                        <a:pt x="275" y="371"/>
                        <a:pt x="274" y="373"/>
                      </a:cubicBezTo>
                      <a:cubicBezTo>
                        <a:pt x="272" y="375"/>
                        <a:pt x="270" y="378"/>
                        <a:pt x="272" y="382"/>
                      </a:cubicBezTo>
                      <a:cubicBezTo>
                        <a:pt x="273" y="386"/>
                        <a:pt x="277" y="386"/>
                        <a:pt x="279" y="387"/>
                      </a:cubicBezTo>
                      <a:cubicBezTo>
                        <a:pt x="280" y="387"/>
                        <a:pt x="282" y="387"/>
                        <a:pt x="282" y="387"/>
                      </a:cubicBezTo>
                      <a:cubicBezTo>
                        <a:pt x="282" y="387"/>
                        <a:pt x="282" y="388"/>
                        <a:pt x="282" y="389"/>
                      </a:cubicBezTo>
                      <a:cubicBezTo>
                        <a:pt x="282" y="390"/>
                        <a:pt x="281" y="391"/>
                        <a:pt x="281" y="392"/>
                      </a:cubicBezTo>
                      <a:cubicBezTo>
                        <a:pt x="282" y="398"/>
                        <a:pt x="285" y="403"/>
                        <a:pt x="292" y="406"/>
                      </a:cubicBezTo>
                      <a:cubicBezTo>
                        <a:pt x="302" y="410"/>
                        <a:pt x="312" y="411"/>
                        <a:pt x="322" y="413"/>
                      </a:cubicBezTo>
                      <a:cubicBezTo>
                        <a:pt x="325" y="413"/>
                        <a:pt x="325" y="413"/>
                        <a:pt x="325" y="413"/>
                      </a:cubicBezTo>
                      <a:cubicBezTo>
                        <a:pt x="325" y="413"/>
                        <a:pt x="326" y="413"/>
                        <a:pt x="327" y="413"/>
                      </a:cubicBezTo>
                      <a:cubicBezTo>
                        <a:pt x="331" y="413"/>
                        <a:pt x="335" y="412"/>
                        <a:pt x="339" y="411"/>
                      </a:cubicBezTo>
                      <a:cubicBezTo>
                        <a:pt x="342" y="409"/>
                        <a:pt x="345" y="408"/>
                        <a:pt x="348" y="408"/>
                      </a:cubicBezTo>
                      <a:cubicBezTo>
                        <a:pt x="349" y="408"/>
                        <a:pt x="349" y="408"/>
                        <a:pt x="350" y="408"/>
                      </a:cubicBezTo>
                      <a:cubicBezTo>
                        <a:pt x="355" y="409"/>
                        <a:pt x="361" y="411"/>
                        <a:pt x="366" y="413"/>
                      </a:cubicBezTo>
                      <a:cubicBezTo>
                        <a:pt x="372" y="416"/>
                        <a:pt x="378" y="418"/>
                        <a:pt x="385" y="418"/>
                      </a:cubicBezTo>
                      <a:cubicBezTo>
                        <a:pt x="385" y="418"/>
                        <a:pt x="386" y="418"/>
                        <a:pt x="387" y="418"/>
                      </a:cubicBezTo>
                      <a:cubicBezTo>
                        <a:pt x="388" y="418"/>
                        <a:pt x="389" y="417"/>
                        <a:pt x="390" y="417"/>
                      </a:cubicBezTo>
                      <a:cubicBezTo>
                        <a:pt x="391" y="417"/>
                        <a:pt x="391" y="417"/>
                        <a:pt x="391" y="417"/>
                      </a:cubicBezTo>
                      <a:cubicBezTo>
                        <a:pt x="391" y="417"/>
                        <a:pt x="391" y="417"/>
                        <a:pt x="392" y="417"/>
                      </a:cubicBezTo>
                      <a:cubicBezTo>
                        <a:pt x="392" y="418"/>
                        <a:pt x="393" y="419"/>
                        <a:pt x="393" y="421"/>
                      </a:cubicBezTo>
                      <a:cubicBezTo>
                        <a:pt x="393" y="422"/>
                        <a:pt x="393" y="425"/>
                        <a:pt x="394" y="426"/>
                      </a:cubicBezTo>
                      <a:cubicBezTo>
                        <a:pt x="396" y="428"/>
                        <a:pt x="399" y="433"/>
                        <a:pt x="403" y="435"/>
                      </a:cubicBezTo>
                      <a:cubicBezTo>
                        <a:pt x="405" y="436"/>
                        <a:pt x="406" y="437"/>
                        <a:pt x="408" y="437"/>
                      </a:cubicBezTo>
                      <a:cubicBezTo>
                        <a:pt x="410" y="437"/>
                        <a:pt x="411" y="438"/>
                        <a:pt x="412" y="439"/>
                      </a:cubicBezTo>
                      <a:cubicBezTo>
                        <a:pt x="414" y="441"/>
                        <a:pt x="416" y="445"/>
                        <a:pt x="415" y="448"/>
                      </a:cubicBezTo>
                      <a:cubicBezTo>
                        <a:pt x="415" y="448"/>
                        <a:pt x="415" y="448"/>
                        <a:pt x="415" y="448"/>
                      </a:cubicBezTo>
                      <a:cubicBezTo>
                        <a:pt x="414" y="448"/>
                        <a:pt x="411" y="449"/>
                        <a:pt x="410" y="452"/>
                      </a:cubicBezTo>
                      <a:cubicBezTo>
                        <a:pt x="409" y="455"/>
                        <a:pt x="411" y="457"/>
                        <a:pt x="413" y="458"/>
                      </a:cubicBezTo>
                      <a:cubicBezTo>
                        <a:pt x="413" y="458"/>
                        <a:pt x="413" y="459"/>
                        <a:pt x="413" y="459"/>
                      </a:cubicBezTo>
                      <a:cubicBezTo>
                        <a:pt x="413" y="459"/>
                        <a:pt x="414" y="460"/>
                        <a:pt x="414" y="460"/>
                      </a:cubicBezTo>
                      <a:cubicBezTo>
                        <a:pt x="414" y="460"/>
                        <a:pt x="414" y="461"/>
                        <a:pt x="414" y="461"/>
                      </a:cubicBezTo>
                      <a:cubicBezTo>
                        <a:pt x="414" y="461"/>
                        <a:pt x="414" y="461"/>
                        <a:pt x="414" y="462"/>
                      </a:cubicBezTo>
                      <a:cubicBezTo>
                        <a:pt x="414" y="464"/>
                        <a:pt x="414" y="464"/>
                        <a:pt x="413" y="464"/>
                      </a:cubicBezTo>
                      <a:cubicBezTo>
                        <a:pt x="412" y="464"/>
                        <a:pt x="409" y="462"/>
                        <a:pt x="407" y="461"/>
                      </a:cubicBezTo>
                      <a:cubicBezTo>
                        <a:pt x="404" y="460"/>
                        <a:pt x="401" y="458"/>
                        <a:pt x="398" y="458"/>
                      </a:cubicBezTo>
                      <a:cubicBezTo>
                        <a:pt x="396" y="458"/>
                        <a:pt x="396" y="458"/>
                        <a:pt x="396" y="458"/>
                      </a:cubicBezTo>
                      <a:cubicBezTo>
                        <a:pt x="394" y="458"/>
                        <a:pt x="393" y="458"/>
                        <a:pt x="393" y="457"/>
                      </a:cubicBezTo>
                      <a:cubicBezTo>
                        <a:pt x="392" y="456"/>
                        <a:pt x="391" y="455"/>
                        <a:pt x="391" y="454"/>
                      </a:cubicBezTo>
                      <a:cubicBezTo>
                        <a:pt x="390" y="452"/>
                        <a:pt x="388" y="450"/>
                        <a:pt x="386" y="448"/>
                      </a:cubicBezTo>
                      <a:cubicBezTo>
                        <a:pt x="385" y="448"/>
                        <a:pt x="385" y="447"/>
                        <a:pt x="384" y="447"/>
                      </a:cubicBezTo>
                      <a:cubicBezTo>
                        <a:pt x="383" y="446"/>
                        <a:pt x="383" y="446"/>
                        <a:pt x="383" y="445"/>
                      </a:cubicBezTo>
                      <a:cubicBezTo>
                        <a:pt x="382" y="445"/>
                        <a:pt x="382" y="445"/>
                        <a:pt x="382" y="444"/>
                      </a:cubicBezTo>
                      <a:cubicBezTo>
                        <a:pt x="382" y="443"/>
                        <a:pt x="382" y="442"/>
                        <a:pt x="381" y="440"/>
                      </a:cubicBezTo>
                      <a:cubicBezTo>
                        <a:pt x="380" y="438"/>
                        <a:pt x="377" y="437"/>
                        <a:pt x="374" y="437"/>
                      </a:cubicBezTo>
                      <a:cubicBezTo>
                        <a:pt x="371" y="437"/>
                        <a:pt x="367" y="438"/>
                        <a:pt x="365" y="441"/>
                      </a:cubicBezTo>
                      <a:cubicBezTo>
                        <a:pt x="364" y="443"/>
                        <a:pt x="364" y="445"/>
                        <a:pt x="364" y="447"/>
                      </a:cubicBezTo>
                      <a:cubicBezTo>
                        <a:pt x="365" y="450"/>
                        <a:pt x="368" y="451"/>
                        <a:pt x="370" y="452"/>
                      </a:cubicBezTo>
                      <a:cubicBezTo>
                        <a:pt x="371" y="453"/>
                        <a:pt x="372" y="454"/>
                        <a:pt x="372" y="454"/>
                      </a:cubicBezTo>
                      <a:cubicBezTo>
                        <a:pt x="375" y="457"/>
                        <a:pt x="380" y="464"/>
                        <a:pt x="376" y="468"/>
                      </a:cubicBezTo>
                      <a:cubicBezTo>
                        <a:pt x="376" y="469"/>
                        <a:pt x="375" y="470"/>
                        <a:pt x="374" y="471"/>
                      </a:cubicBezTo>
                      <a:cubicBezTo>
                        <a:pt x="371" y="473"/>
                        <a:pt x="368" y="475"/>
                        <a:pt x="368" y="479"/>
                      </a:cubicBezTo>
                      <a:cubicBezTo>
                        <a:pt x="367" y="481"/>
                        <a:pt x="368" y="483"/>
                        <a:pt x="368" y="485"/>
                      </a:cubicBezTo>
                      <a:cubicBezTo>
                        <a:pt x="368" y="485"/>
                        <a:pt x="369" y="486"/>
                        <a:pt x="369" y="486"/>
                      </a:cubicBezTo>
                      <a:cubicBezTo>
                        <a:pt x="369" y="488"/>
                        <a:pt x="369" y="490"/>
                        <a:pt x="370" y="491"/>
                      </a:cubicBezTo>
                      <a:cubicBezTo>
                        <a:pt x="370" y="492"/>
                        <a:pt x="370" y="494"/>
                        <a:pt x="370" y="495"/>
                      </a:cubicBezTo>
                      <a:cubicBezTo>
                        <a:pt x="371" y="498"/>
                        <a:pt x="371" y="502"/>
                        <a:pt x="371" y="506"/>
                      </a:cubicBezTo>
                      <a:cubicBezTo>
                        <a:pt x="371" y="508"/>
                        <a:pt x="371" y="508"/>
                        <a:pt x="371" y="508"/>
                      </a:cubicBezTo>
                      <a:cubicBezTo>
                        <a:pt x="372" y="513"/>
                        <a:pt x="370" y="519"/>
                        <a:pt x="367" y="524"/>
                      </a:cubicBezTo>
                      <a:cubicBezTo>
                        <a:pt x="366" y="525"/>
                        <a:pt x="365" y="528"/>
                        <a:pt x="364" y="529"/>
                      </a:cubicBezTo>
                      <a:cubicBezTo>
                        <a:pt x="362" y="529"/>
                        <a:pt x="361" y="530"/>
                        <a:pt x="360" y="530"/>
                      </a:cubicBezTo>
                      <a:cubicBezTo>
                        <a:pt x="357" y="531"/>
                        <a:pt x="354" y="532"/>
                        <a:pt x="351" y="536"/>
                      </a:cubicBezTo>
                      <a:cubicBezTo>
                        <a:pt x="349" y="540"/>
                        <a:pt x="345" y="548"/>
                        <a:pt x="349" y="553"/>
                      </a:cubicBezTo>
                      <a:cubicBezTo>
                        <a:pt x="351" y="554"/>
                        <a:pt x="352" y="555"/>
                        <a:pt x="354" y="555"/>
                      </a:cubicBezTo>
                      <a:cubicBezTo>
                        <a:pt x="356" y="555"/>
                        <a:pt x="358" y="554"/>
                        <a:pt x="360" y="553"/>
                      </a:cubicBezTo>
                      <a:cubicBezTo>
                        <a:pt x="361" y="552"/>
                        <a:pt x="363" y="551"/>
                        <a:pt x="363" y="551"/>
                      </a:cubicBezTo>
                      <a:cubicBezTo>
                        <a:pt x="363" y="551"/>
                        <a:pt x="363" y="551"/>
                        <a:pt x="363" y="551"/>
                      </a:cubicBezTo>
                      <a:cubicBezTo>
                        <a:pt x="363" y="554"/>
                        <a:pt x="356" y="560"/>
                        <a:pt x="354" y="561"/>
                      </a:cubicBezTo>
                      <a:cubicBezTo>
                        <a:pt x="353" y="561"/>
                        <a:pt x="352" y="561"/>
                        <a:pt x="351" y="561"/>
                      </a:cubicBezTo>
                      <a:cubicBezTo>
                        <a:pt x="349" y="562"/>
                        <a:pt x="346" y="562"/>
                        <a:pt x="344" y="564"/>
                      </a:cubicBezTo>
                      <a:cubicBezTo>
                        <a:pt x="340" y="567"/>
                        <a:pt x="338" y="573"/>
                        <a:pt x="340" y="577"/>
                      </a:cubicBezTo>
                      <a:cubicBezTo>
                        <a:pt x="341" y="580"/>
                        <a:pt x="343" y="581"/>
                        <a:pt x="347" y="581"/>
                      </a:cubicBezTo>
                      <a:cubicBezTo>
                        <a:pt x="348" y="581"/>
                        <a:pt x="349" y="581"/>
                        <a:pt x="350" y="581"/>
                      </a:cubicBezTo>
                      <a:cubicBezTo>
                        <a:pt x="357" y="579"/>
                        <a:pt x="366" y="574"/>
                        <a:pt x="373" y="568"/>
                      </a:cubicBezTo>
                      <a:cubicBezTo>
                        <a:pt x="374" y="566"/>
                        <a:pt x="376" y="564"/>
                        <a:pt x="378" y="563"/>
                      </a:cubicBezTo>
                      <a:cubicBezTo>
                        <a:pt x="381" y="560"/>
                        <a:pt x="383" y="557"/>
                        <a:pt x="386" y="555"/>
                      </a:cubicBezTo>
                      <a:cubicBezTo>
                        <a:pt x="387" y="553"/>
                        <a:pt x="389" y="552"/>
                        <a:pt x="390" y="550"/>
                      </a:cubicBezTo>
                      <a:cubicBezTo>
                        <a:pt x="393" y="547"/>
                        <a:pt x="395" y="545"/>
                        <a:pt x="399" y="544"/>
                      </a:cubicBezTo>
                      <a:cubicBezTo>
                        <a:pt x="399" y="543"/>
                        <a:pt x="400" y="543"/>
                        <a:pt x="401" y="543"/>
                      </a:cubicBezTo>
                      <a:cubicBezTo>
                        <a:pt x="402" y="543"/>
                        <a:pt x="403" y="544"/>
                        <a:pt x="405" y="545"/>
                      </a:cubicBezTo>
                      <a:cubicBezTo>
                        <a:pt x="406" y="546"/>
                        <a:pt x="407" y="547"/>
                        <a:pt x="409" y="547"/>
                      </a:cubicBezTo>
                      <a:cubicBezTo>
                        <a:pt x="410" y="548"/>
                        <a:pt x="411" y="548"/>
                        <a:pt x="412" y="548"/>
                      </a:cubicBezTo>
                      <a:cubicBezTo>
                        <a:pt x="416" y="548"/>
                        <a:pt x="419" y="545"/>
                        <a:pt x="421" y="543"/>
                      </a:cubicBezTo>
                      <a:cubicBezTo>
                        <a:pt x="422" y="542"/>
                        <a:pt x="423" y="541"/>
                        <a:pt x="423" y="541"/>
                      </a:cubicBezTo>
                      <a:cubicBezTo>
                        <a:pt x="425" y="539"/>
                        <a:pt x="428" y="538"/>
                        <a:pt x="431" y="538"/>
                      </a:cubicBezTo>
                      <a:cubicBezTo>
                        <a:pt x="433" y="537"/>
                        <a:pt x="436" y="536"/>
                        <a:pt x="439" y="535"/>
                      </a:cubicBezTo>
                      <a:cubicBezTo>
                        <a:pt x="440" y="534"/>
                        <a:pt x="442" y="533"/>
                        <a:pt x="444" y="533"/>
                      </a:cubicBezTo>
                      <a:cubicBezTo>
                        <a:pt x="448" y="531"/>
                        <a:pt x="453" y="530"/>
                        <a:pt x="456" y="526"/>
                      </a:cubicBezTo>
                      <a:cubicBezTo>
                        <a:pt x="457" y="524"/>
                        <a:pt x="458" y="523"/>
                        <a:pt x="458" y="522"/>
                      </a:cubicBezTo>
                      <a:cubicBezTo>
                        <a:pt x="458" y="522"/>
                        <a:pt x="458" y="521"/>
                        <a:pt x="458" y="521"/>
                      </a:cubicBezTo>
                      <a:cubicBezTo>
                        <a:pt x="458" y="518"/>
                        <a:pt x="459" y="515"/>
                        <a:pt x="457" y="512"/>
                      </a:cubicBezTo>
                      <a:cubicBezTo>
                        <a:pt x="456" y="511"/>
                        <a:pt x="454" y="510"/>
                        <a:pt x="452" y="510"/>
                      </a:cubicBezTo>
                      <a:cubicBezTo>
                        <a:pt x="450" y="510"/>
                        <a:pt x="448" y="510"/>
                        <a:pt x="446" y="511"/>
                      </a:cubicBezTo>
                      <a:cubicBezTo>
                        <a:pt x="444" y="511"/>
                        <a:pt x="442" y="511"/>
                        <a:pt x="440" y="511"/>
                      </a:cubicBezTo>
                      <a:cubicBezTo>
                        <a:pt x="438" y="511"/>
                        <a:pt x="437" y="511"/>
                        <a:pt x="437" y="510"/>
                      </a:cubicBezTo>
                      <a:cubicBezTo>
                        <a:pt x="435" y="508"/>
                        <a:pt x="437" y="506"/>
                        <a:pt x="441" y="502"/>
                      </a:cubicBezTo>
                      <a:cubicBezTo>
                        <a:pt x="442" y="501"/>
                        <a:pt x="442" y="500"/>
                        <a:pt x="443" y="500"/>
                      </a:cubicBezTo>
                      <a:cubicBezTo>
                        <a:pt x="450" y="492"/>
                        <a:pt x="455" y="488"/>
                        <a:pt x="464" y="485"/>
                      </a:cubicBezTo>
                      <a:cubicBezTo>
                        <a:pt x="466" y="484"/>
                        <a:pt x="469" y="482"/>
                        <a:pt x="472" y="481"/>
                      </a:cubicBezTo>
                      <a:cubicBezTo>
                        <a:pt x="476" y="478"/>
                        <a:pt x="481" y="475"/>
                        <a:pt x="485" y="475"/>
                      </a:cubicBezTo>
                      <a:cubicBezTo>
                        <a:pt x="487" y="475"/>
                        <a:pt x="490" y="476"/>
                        <a:pt x="492" y="477"/>
                      </a:cubicBezTo>
                      <a:cubicBezTo>
                        <a:pt x="495" y="479"/>
                        <a:pt x="499" y="480"/>
                        <a:pt x="502" y="480"/>
                      </a:cubicBezTo>
                      <a:cubicBezTo>
                        <a:pt x="505" y="480"/>
                        <a:pt x="507" y="479"/>
                        <a:pt x="509" y="477"/>
                      </a:cubicBezTo>
                      <a:cubicBezTo>
                        <a:pt x="513" y="475"/>
                        <a:pt x="513" y="472"/>
                        <a:pt x="513" y="469"/>
                      </a:cubicBezTo>
                      <a:cubicBezTo>
                        <a:pt x="514" y="468"/>
                        <a:pt x="514" y="466"/>
                        <a:pt x="515" y="465"/>
                      </a:cubicBezTo>
                      <a:cubicBezTo>
                        <a:pt x="516" y="463"/>
                        <a:pt x="519" y="461"/>
                        <a:pt x="521" y="460"/>
                      </a:cubicBezTo>
                      <a:cubicBezTo>
                        <a:pt x="524" y="458"/>
                        <a:pt x="527" y="456"/>
                        <a:pt x="529" y="454"/>
                      </a:cubicBezTo>
                      <a:cubicBezTo>
                        <a:pt x="531" y="451"/>
                        <a:pt x="534" y="448"/>
                        <a:pt x="536" y="445"/>
                      </a:cubicBezTo>
                      <a:cubicBezTo>
                        <a:pt x="537" y="443"/>
                        <a:pt x="539" y="441"/>
                        <a:pt x="540" y="439"/>
                      </a:cubicBezTo>
                      <a:cubicBezTo>
                        <a:pt x="548" y="429"/>
                        <a:pt x="556" y="420"/>
                        <a:pt x="567" y="417"/>
                      </a:cubicBezTo>
                      <a:cubicBezTo>
                        <a:pt x="570" y="416"/>
                        <a:pt x="570" y="416"/>
                        <a:pt x="570" y="416"/>
                      </a:cubicBezTo>
                      <a:lnTo>
                        <a:pt x="569" y="413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6" name="Freeform 67">
                  <a:extLst>
                    <a:ext uri="{FF2B5EF4-FFF2-40B4-BE49-F238E27FC236}">
                      <a16:creationId xmlns:a16="http://schemas.microsoft.com/office/drawing/2014/main" id="{6300FF89-B936-9040-8EEF-3ABC2E97B1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3570" y="6084404"/>
                  <a:ext cx="3061210" cy="3318761"/>
                </a:xfrm>
                <a:custGeom>
                  <a:avLst/>
                  <a:gdLst>
                    <a:gd name="T0" fmla="*/ 399 w 562"/>
                    <a:gd name="T1" fmla="*/ 295 h 669"/>
                    <a:gd name="T2" fmla="*/ 394 w 562"/>
                    <a:gd name="T3" fmla="*/ 338 h 669"/>
                    <a:gd name="T4" fmla="*/ 350 w 562"/>
                    <a:gd name="T5" fmla="*/ 333 h 669"/>
                    <a:gd name="T6" fmla="*/ 329 w 562"/>
                    <a:gd name="T7" fmla="*/ 314 h 669"/>
                    <a:gd name="T8" fmla="*/ 298 w 562"/>
                    <a:gd name="T9" fmla="*/ 289 h 669"/>
                    <a:gd name="T10" fmla="*/ 293 w 562"/>
                    <a:gd name="T11" fmla="*/ 248 h 669"/>
                    <a:gd name="T12" fmla="*/ 298 w 562"/>
                    <a:gd name="T13" fmla="*/ 228 h 669"/>
                    <a:gd name="T14" fmla="*/ 367 w 562"/>
                    <a:gd name="T15" fmla="*/ 209 h 669"/>
                    <a:gd name="T16" fmla="*/ 329 w 562"/>
                    <a:gd name="T17" fmla="*/ 167 h 669"/>
                    <a:gd name="T18" fmla="*/ 295 w 562"/>
                    <a:gd name="T19" fmla="*/ 75 h 669"/>
                    <a:gd name="T20" fmla="*/ 276 w 562"/>
                    <a:gd name="T21" fmla="*/ 60 h 669"/>
                    <a:gd name="T22" fmla="*/ 257 w 562"/>
                    <a:gd name="T23" fmla="*/ 33 h 669"/>
                    <a:gd name="T24" fmla="*/ 259 w 562"/>
                    <a:gd name="T25" fmla="*/ 65 h 669"/>
                    <a:gd name="T26" fmla="*/ 257 w 562"/>
                    <a:gd name="T27" fmla="*/ 90 h 669"/>
                    <a:gd name="T28" fmla="*/ 247 w 562"/>
                    <a:gd name="T29" fmla="*/ 109 h 669"/>
                    <a:gd name="T30" fmla="*/ 227 w 562"/>
                    <a:gd name="T31" fmla="*/ 113 h 669"/>
                    <a:gd name="T32" fmla="*/ 200 w 562"/>
                    <a:gd name="T33" fmla="*/ 106 h 669"/>
                    <a:gd name="T34" fmla="*/ 186 w 562"/>
                    <a:gd name="T35" fmla="*/ 87 h 669"/>
                    <a:gd name="T36" fmla="*/ 173 w 562"/>
                    <a:gd name="T37" fmla="*/ 53 h 669"/>
                    <a:gd name="T38" fmla="*/ 154 w 562"/>
                    <a:gd name="T39" fmla="*/ 32 h 669"/>
                    <a:gd name="T40" fmla="*/ 135 w 562"/>
                    <a:gd name="T41" fmla="*/ 35 h 669"/>
                    <a:gd name="T42" fmla="*/ 108 w 562"/>
                    <a:gd name="T43" fmla="*/ 14 h 669"/>
                    <a:gd name="T44" fmla="*/ 76 w 562"/>
                    <a:gd name="T45" fmla="*/ 1 h 669"/>
                    <a:gd name="T46" fmla="*/ 58 w 562"/>
                    <a:gd name="T47" fmla="*/ 15 h 669"/>
                    <a:gd name="T48" fmla="*/ 39 w 562"/>
                    <a:gd name="T49" fmla="*/ 13 h 669"/>
                    <a:gd name="T50" fmla="*/ 11 w 562"/>
                    <a:gd name="T51" fmla="*/ 49 h 669"/>
                    <a:gd name="T52" fmla="*/ 12 w 562"/>
                    <a:gd name="T53" fmla="*/ 79 h 669"/>
                    <a:gd name="T54" fmla="*/ 26 w 562"/>
                    <a:gd name="T55" fmla="*/ 102 h 669"/>
                    <a:gd name="T56" fmla="*/ 30 w 562"/>
                    <a:gd name="T57" fmla="*/ 119 h 669"/>
                    <a:gd name="T58" fmla="*/ 48 w 562"/>
                    <a:gd name="T59" fmla="*/ 184 h 669"/>
                    <a:gd name="T60" fmla="*/ 73 w 562"/>
                    <a:gd name="T61" fmla="*/ 231 h 669"/>
                    <a:gd name="T62" fmla="*/ 86 w 562"/>
                    <a:gd name="T63" fmla="*/ 250 h 669"/>
                    <a:gd name="T64" fmla="*/ 61 w 562"/>
                    <a:gd name="T65" fmla="*/ 283 h 669"/>
                    <a:gd name="T66" fmla="*/ 25 w 562"/>
                    <a:gd name="T67" fmla="*/ 329 h 669"/>
                    <a:gd name="T68" fmla="*/ 40 w 562"/>
                    <a:gd name="T69" fmla="*/ 347 h 669"/>
                    <a:gd name="T70" fmla="*/ 59 w 562"/>
                    <a:gd name="T71" fmla="*/ 403 h 669"/>
                    <a:gd name="T72" fmla="*/ 46 w 562"/>
                    <a:gd name="T73" fmla="*/ 432 h 669"/>
                    <a:gd name="T74" fmla="*/ 99 w 562"/>
                    <a:gd name="T75" fmla="*/ 639 h 669"/>
                    <a:gd name="T76" fmla="*/ 183 w 562"/>
                    <a:gd name="T77" fmla="*/ 658 h 669"/>
                    <a:gd name="T78" fmla="*/ 226 w 562"/>
                    <a:gd name="T79" fmla="*/ 661 h 669"/>
                    <a:gd name="T80" fmla="*/ 286 w 562"/>
                    <a:gd name="T81" fmla="*/ 655 h 669"/>
                    <a:gd name="T82" fmla="*/ 330 w 562"/>
                    <a:gd name="T83" fmla="*/ 613 h 669"/>
                    <a:gd name="T84" fmla="*/ 339 w 562"/>
                    <a:gd name="T85" fmla="*/ 546 h 669"/>
                    <a:gd name="T86" fmla="*/ 359 w 562"/>
                    <a:gd name="T87" fmla="*/ 509 h 669"/>
                    <a:gd name="T88" fmla="*/ 414 w 562"/>
                    <a:gd name="T89" fmla="*/ 484 h 669"/>
                    <a:gd name="T90" fmla="*/ 442 w 562"/>
                    <a:gd name="T91" fmla="*/ 468 h 669"/>
                    <a:gd name="T92" fmla="*/ 446 w 562"/>
                    <a:gd name="T93" fmla="*/ 436 h 669"/>
                    <a:gd name="T94" fmla="*/ 309 w 562"/>
                    <a:gd name="T95" fmla="*/ 562 h 669"/>
                    <a:gd name="T96" fmla="*/ 308 w 562"/>
                    <a:gd name="T97" fmla="*/ 554 h 669"/>
                    <a:gd name="T98" fmla="*/ 318 w 562"/>
                    <a:gd name="T99" fmla="*/ 532 h 669"/>
                    <a:gd name="T100" fmla="*/ 350 w 562"/>
                    <a:gd name="T101" fmla="*/ 457 h 669"/>
                    <a:gd name="T102" fmla="*/ 372 w 562"/>
                    <a:gd name="T103" fmla="*/ 411 h 669"/>
                    <a:gd name="T104" fmla="*/ 412 w 562"/>
                    <a:gd name="T105" fmla="*/ 390 h 669"/>
                    <a:gd name="T106" fmla="*/ 435 w 562"/>
                    <a:gd name="T107" fmla="*/ 383 h 669"/>
                    <a:gd name="T108" fmla="*/ 459 w 562"/>
                    <a:gd name="T109" fmla="*/ 373 h 669"/>
                    <a:gd name="T110" fmla="*/ 477 w 562"/>
                    <a:gd name="T111" fmla="*/ 365 h 669"/>
                    <a:gd name="T112" fmla="*/ 507 w 562"/>
                    <a:gd name="T113" fmla="*/ 351 h 669"/>
                    <a:gd name="T114" fmla="*/ 532 w 562"/>
                    <a:gd name="T115" fmla="*/ 311 h 669"/>
                    <a:gd name="T116" fmla="*/ 547 w 562"/>
                    <a:gd name="T117" fmla="*/ 281 h 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62" h="669">
                      <a:moveTo>
                        <a:pt x="551" y="246"/>
                      </a:moveTo>
                      <a:cubicBezTo>
                        <a:pt x="549" y="248"/>
                        <a:pt x="549" y="248"/>
                        <a:pt x="549" y="248"/>
                      </a:cubicBezTo>
                      <a:cubicBezTo>
                        <a:pt x="538" y="253"/>
                        <a:pt x="526" y="259"/>
                        <a:pt x="515" y="265"/>
                      </a:cubicBezTo>
                      <a:cubicBezTo>
                        <a:pt x="513" y="266"/>
                        <a:pt x="513" y="266"/>
                        <a:pt x="513" y="266"/>
                      </a:cubicBezTo>
                      <a:cubicBezTo>
                        <a:pt x="488" y="279"/>
                        <a:pt x="461" y="292"/>
                        <a:pt x="435" y="306"/>
                      </a:cubicBezTo>
                      <a:cubicBezTo>
                        <a:pt x="430" y="308"/>
                        <a:pt x="425" y="310"/>
                        <a:pt x="421" y="313"/>
                      </a:cubicBezTo>
                      <a:cubicBezTo>
                        <a:pt x="418" y="314"/>
                        <a:pt x="416" y="314"/>
                        <a:pt x="414" y="314"/>
                      </a:cubicBezTo>
                      <a:cubicBezTo>
                        <a:pt x="409" y="314"/>
                        <a:pt x="406" y="312"/>
                        <a:pt x="401" y="308"/>
                      </a:cubicBezTo>
                      <a:cubicBezTo>
                        <a:pt x="397" y="303"/>
                        <a:pt x="398" y="299"/>
                        <a:pt x="399" y="295"/>
                      </a:cubicBezTo>
                      <a:cubicBezTo>
                        <a:pt x="399" y="291"/>
                        <a:pt x="400" y="288"/>
                        <a:pt x="397" y="284"/>
                      </a:cubicBezTo>
                      <a:cubicBezTo>
                        <a:pt x="395" y="281"/>
                        <a:pt x="393" y="280"/>
                        <a:pt x="391" y="280"/>
                      </a:cubicBezTo>
                      <a:cubicBezTo>
                        <a:pt x="390" y="280"/>
                        <a:pt x="390" y="280"/>
                        <a:pt x="389" y="280"/>
                      </a:cubicBezTo>
                      <a:cubicBezTo>
                        <a:pt x="386" y="281"/>
                        <a:pt x="383" y="287"/>
                        <a:pt x="383" y="292"/>
                      </a:cubicBezTo>
                      <a:cubicBezTo>
                        <a:pt x="383" y="297"/>
                        <a:pt x="386" y="300"/>
                        <a:pt x="389" y="303"/>
                      </a:cubicBezTo>
                      <a:cubicBezTo>
                        <a:pt x="391" y="306"/>
                        <a:pt x="392" y="308"/>
                        <a:pt x="394" y="311"/>
                      </a:cubicBezTo>
                      <a:cubicBezTo>
                        <a:pt x="396" y="317"/>
                        <a:pt x="396" y="325"/>
                        <a:pt x="395" y="333"/>
                      </a:cubicBezTo>
                      <a:cubicBezTo>
                        <a:pt x="395" y="334"/>
                        <a:pt x="395" y="336"/>
                        <a:pt x="395" y="337"/>
                      </a:cubicBezTo>
                      <a:cubicBezTo>
                        <a:pt x="395" y="338"/>
                        <a:pt x="395" y="338"/>
                        <a:pt x="394" y="338"/>
                      </a:cubicBezTo>
                      <a:cubicBezTo>
                        <a:pt x="394" y="338"/>
                        <a:pt x="394" y="338"/>
                        <a:pt x="394" y="338"/>
                      </a:cubicBezTo>
                      <a:cubicBezTo>
                        <a:pt x="392" y="338"/>
                        <a:pt x="387" y="335"/>
                        <a:pt x="379" y="329"/>
                      </a:cubicBezTo>
                      <a:cubicBezTo>
                        <a:pt x="378" y="328"/>
                        <a:pt x="378" y="328"/>
                        <a:pt x="378" y="328"/>
                      </a:cubicBezTo>
                      <a:cubicBezTo>
                        <a:pt x="376" y="327"/>
                        <a:pt x="375" y="326"/>
                        <a:pt x="373" y="326"/>
                      </a:cubicBezTo>
                      <a:cubicBezTo>
                        <a:pt x="371" y="326"/>
                        <a:pt x="369" y="327"/>
                        <a:pt x="367" y="329"/>
                      </a:cubicBezTo>
                      <a:cubicBezTo>
                        <a:pt x="365" y="330"/>
                        <a:pt x="365" y="330"/>
                        <a:pt x="365" y="330"/>
                      </a:cubicBezTo>
                      <a:cubicBezTo>
                        <a:pt x="360" y="333"/>
                        <a:pt x="358" y="333"/>
                        <a:pt x="355" y="333"/>
                      </a:cubicBezTo>
                      <a:cubicBezTo>
                        <a:pt x="354" y="333"/>
                        <a:pt x="353" y="333"/>
                        <a:pt x="352" y="333"/>
                      </a:cubicBezTo>
                      <a:cubicBezTo>
                        <a:pt x="350" y="333"/>
                        <a:pt x="350" y="333"/>
                        <a:pt x="350" y="333"/>
                      </a:cubicBezTo>
                      <a:cubicBezTo>
                        <a:pt x="344" y="333"/>
                        <a:pt x="344" y="333"/>
                        <a:pt x="341" y="328"/>
                      </a:cubicBezTo>
                      <a:cubicBezTo>
                        <a:pt x="341" y="327"/>
                        <a:pt x="341" y="327"/>
                        <a:pt x="341" y="327"/>
                      </a:cubicBezTo>
                      <a:cubicBezTo>
                        <a:pt x="340" y="325"/>
                        <a:pt x="339" y="323"/>
                        <a:pt x="339" y="320"/>
                      </a:cubicBezTo>
                      <a:cubicBezTo>
                        <a:pt x="338" y="315"/>
                        <a:pt x="337" y="313"/>
                        <a:pt x="336" y="311"/>
                      </a:cubicBezTo>
                      <a:cubicBezTo>
                        <a:pt x="335" y="311"/>
                        <a:pt x="335" y="310"/>
                        <a:pt x="335" y="310"/>
                      </a:cubicBezTo>
                      <a:cubicBezTo>
                        <a:pt x="332" y="308"/>
                        <a:pt x="332" y="308"/>
                        <a:pt x="332" y="308"/>
                      </a:cubicBezTo>
                      <a:cubicBezTo>
                        <a:pt x="330" y="312"/>
                        <a:pt x="330" y="312"/>
                        <a:pt x="330" y="312"/>
                      </a:cubicBezTo>
                      <a:cubicBezTo>
                        <a:pt x="330" y="312"/>
                        <a:pt x="330" y="313"/>
                        <a:pt x="330" y="313"/>
                      </a:cubicBezTo>
                      <a:cubicBezTo>
                        <a:pt x="329" y="314"/>
                        <a:pt x="329" y="314"/>
                        <a:pt x="329" y="314"/>
                      </a:cubicBezTo>
                      <a:cubicBezTo>
                        <a:pt x="329" y="316"/>
                        <a:pt x="328" y="318"/>
                        <a:pt x="327" y="318"/>
                      </a:cubicBezTo>
                      <a:cubicBezTo>
                        <a:pt x="327" y="318"/>
                        <a:pt x="326" y="318"/>
                        <a:pt x="326" y="318"/>
                      </a:cubicBezTo>
                      <a:cubicBezTo>
                        <a:pt x="325" y="318"/>
                        <a:pt x="325" y="318"/>
                        <a:pt x="324" y="318"/>
                      </a:cubicBezTo>
                      <a:cubicBezTo>
                        <a:pt x="321" y="316"/>
                        <a:pt x="320" y="310"/>
                        <a:pt x="319" y="307"/>
                      </a:cubicBezTo>
                      <a:cubicBezTo>
                        <a:pt x="319" y="307"/>
                        <a:pt x="319" y="307"/>
                        <a:pt x="319" y="307"/>
                      </a:cubicBezTo>
                      <a:cubicBezTo>
                        <a:pt x="319" y="305"/>
                        <a:pt x="318" y="304"/>
                        <a:pt x="318" y="303"/>
                      </a:cubicBezTo>
                      <a:cubicBezTo>
                        <a:pt x="317" y="299"/>
                        <a:pt x="317" y="296"/>
                        <a:pt x="313" y="294"/>
                      </a:cubicBezTo>
                      <a:cubicBezTo>
                        <a:pt x="311" y="293"/>
                        <a:pt x="309" y="293"/>
                        <a:pt x="307" y="292"/>
                      </a:cubicBezTo>
                      <a:cubicBezTo>
                        <a:pt x="304" y="292"/>
                        <a:pt x="301" y="292"/>
                        <a:pt x="298" y="289"/>
                      </a:cubicBezTo>
                      <a:cubicBezTo>
                        <a:pt x="297" y="288"/>
                        <a:pt x="297" y="286"/>
                        <a:pt x="297" y="285"/>
                      </a:cubicBezTo>
                      <a:cubicBezTo>
                        <a:pt x="297" y="283"/>
                        <a:pt x="297" y="282"/>
                        <a:pt x="296" y="281"/>
                      </a:cubicBezTo>
                      <a:cubicBezTo>
                        <a:pt x="295" y="279"/>
                        <a:pt x="294" y="279"/>
                        <a:pt x="292" y="278"/>
                      </a:cubicBezTo>
                      <a:cubicBezTo>
                        <a:pt x="291" y="278"/>
                        <a:pt x="289" y="277"/>
                        <a:pt x="288" y="276"/>
                      </a:cubicBezTo>
                      <a:cubicBezTo>
                        <a:pt x="287" y="274"/>
                        <a:pt x="285" y="266"/>
                        <a:pt x="284" y="258"/>
                      </a:cubicBezTo>
                      <a:cubicBezTo>
                        <a:pt x="284" y="258"/>
                        <a:pt x="284" y="258"/>
                        <a:pt x="284" y="258"/>
                      </a:cubicBezTo>
                      <a:cubicBezTo>
                        <a:pt x="286" y="255"/>
                        <a:pt x="288" y="253"/>
                        <a:pt x="292" y="252"/>
                      </a:cubicBezTo>
                      <a:cubicBezTo>
                        <a:pt x="294" y="251"/>
                        <a:pt x="294" y="251"/>
                        <a:pt x="294" y="251"/>
                      </a:cubicBezTo>
                      <a:cubicBezTo>
                        <a:pt x="293" y="248"/>
                        <a:pt x="293" y="248"/>
                        <a:pt x="293" y="248"/>
                      </a:cubicBezTo>
                      <a:cubicBezTo>
                        <a:pt x="293" y="247"/>
                        <a:pt x="292" y="246"/>
                        <a:pt x="290" y="244"/>
                      </a:cubicBezTo>
                      <a:cubicBezTo>
                        <a:pt x="287" y="242"/>
                        <a:pt x="285" y="240"/>
                        <a:pt x="286" y="237"/>
                      </a:cubicBezTo>
                      <a:cubicBezTo>
                        <a:pt x="286" y="237"/>
                        <a:pt x="287" y="237"/>
                        <a:pt x="287" y="237"/>
                      </a:cubicBezTo>
                      <a:cubicBezTo>
                        <a:pt x="289" y="237"/>
                        <a:pt x="290" y="238"/>
                        <a:pt x="292" y="239"/>
                      </a:cubicBezTo>
                      <a:cubicBezTo>
                        <a:pt x="294" y="240"/>
                        <a:pt x="295" y="240"/>
                        <a:pt x="296" y="240"/>
                      </a:cubicBezTo>
                      <a:cubicBezTo>
                        <a:pt x="297" y="240"/>
                        <a:pt x="297" y="240"/>
                        <a:pt x="297" y="240"/>
                      </a:cubicBezTo>
                      <a:cubicBezTo>
                        <a:pt x="299" y="240"/>
                        <a:pt x="299" y="240"/>
                        <a:pt x="299" y="240"/>
                      </a:cubicBezTo>
                      <a:cubicBezTo>
                        <a:pt x="299" y="238"/>
                        <a:pt x="299" y="238"/>
                        <a:pt x="299" y="238"/>
                      </a:cubicBezTo>
                      <a:cubicBezTo>
                        <a:pt x="300" y="236"/>
                        <a:pt x="299" y="233"/>
                        <a:pt x="298" y="228"/>
                      </a:cubicBezTo>
                      <a:cubicBezTo>
                        <a:pt x="298" y="227"/>
                        <a:pt x="298" y="226"/>
                        <a:pt x="298" y="225"/>
                      </a:cubicBezTo>
                      <a:cubicBezTo>
                        <a:pt x="301" y="226"/>
                        <a:pt x="304" y="227"/>
                        <a:pt x="307" y="228"/>
                      </a:cubicBezTo>
                      <a:cubicBezTo>
                        <a:pt x="312" y="230"/>
                        <a:pt x="316" y="233"/>
                        <a:pt x="322" y="233"/>
                      </a:cubicBezTo>
                      <a:cubicBezTo>
                        <a:pt x="328" y="233"/>
                        <a:pt x="333" y="230"/>
                        <a:pt x="338" y="228"/>
                      </a:cubicBezTo>
                      <a:cubicBezTo>
                        <a:pt x="342" y="227"/>
                        <a:pt x="345" y="225"/>
                        <a:pt x="348" y="225"/>
                      </a:cubicBezTo>
                      <a:cubicBezTo>
                        <a:pt x="350" y="224"/>
                        <a:pt x="352" y="224"/>
                        <a:pt x="354" y="224"/>
                      </a:cubicBezTo>
                      <a:cubicBezTo>
                        <a:pt x="358" y="224"/>
                        <a:pt x="358" y="224"/>
                        <a:pt x="358" y="224"/>
                      </a:cubicBezTo>
                      <a:cubicBezTo>
                        <a:pt x="363" y="224"/>
                        <a:pt x="369" y="224"/>
                        <a:pt x="370" y="216"/>
                      </a:cubicBezTo>
                      <a:cubicBezTo>
                        <a:pt x="370" y="213"/>
                        <a:pt x="368" y="211"/>
                        <a:pt x="367" y="209"/>
                      </a:cubicBezTo>
                      <a:cubicBezTo>
                        <a:pt x="366" y="208"/>
                        <a:pt x="365" y="207"/>
                        <a:pt x="364" y="205"/>
                      </a:cubicBezTo>
                      <a:cubicBezTo>
                        <a:pt x="363" y="202"/>
                        <a:pt x="363" y="200"/>
                        <a:pt x="364" y="198"/>
                      </a:cubicBezTo>
                      <a:cubicBezTo>
                        <a:pt x="364" y="196"/>
                        <a:pt x="364" y="195"/>
                        <a:pt x="364" y="193"/>
                      </a:cubicBezTo>
                      <a:cubicBezTo>
                        <a:pt x="364" y="187"/>
                        <a:pt x="360" y="186"/>
                        <a:pt x="356" y="184"/>
                      </a:cubicBezTo>
                      <a:cubicBezTo>
                        <a:pt x="354" y="183"/>
                        <a:pt x="352" y="182"/>
                        <a:pt x="350" y="181"/>
                      </a:cubicBezTo>
                      <a:cubicBezTo>
                        <a:pt x="349" y="179"/>
                        <a:pt x="348" y="178"/>
                        <a:pt x="347" y="177"/>
                      </a:cubicBezTo>
                      <a:cubicBezTo>
                        <a:pt x="346" y="175"/>
                        <a:pt x="345" y="174"/>
                        <a:pt x="343" y="173"/>
                      </a:cubicBezTo>
                      <a:cubicBezTo>
                        <a:pt x="341" y="172"/>
                        <a:pt x="339" y="172"/>
                        <a:pt x="338" y="172"/>
                      </a:cubicBezTo>
                      <a:cubicBezTo>
                        <a:pt x="335" y="171"/>
                        <a:pt x="332" y="171"/>
                        <a:pt x="329" y="167"/>
                      </a:cubicBezTo>
                      <a:cubicBezTo>
                        <a:pt x="328" y="163"/>
                        <a:pt x="327" y="158"/>
                        <a:pt x="327" y="153"/>
                      </a:cubicBezTo>
                      <a:cubicBezTo>
                        <a:pt x="327" y="149"/>
                        <a:pt x="327" y="146"/>
                        <a:pt x="326" y="144"/>
                      </a:cubicBezTo>
                      <a:cubicBezTo>
                        <a:pt x="325" y="139"/>
                        <a:pt x="325" y="135"/>
                        <a:pt x="325" y="131"/>
                      </a:cubicBezTo>
                      <a:cubicBezTo>
                        <a:pt x="325" y="128"/>
                        <a:pt x="325" y="125"/>
                        <a:pt x="324" y="122"/>
                      </a:cubicBezTo>
                      <a:cubicBezTo>
                        <a:pt x="323" y="115"/>
                        <a:pt x="322" y="114"/>
                        <a:pt x="316" y="113"/>
                      </a:cubicBezTo>
                      <a:cubicBezTo>
                        <a:pt x="314" y="112"/>
                        <a:pt x="312" y="112"/>
                        <a:pt x="309" y="110"/>
                      </a:cubicBezTo>
                      <a:cubicBezTo>
                        <a:pt x="303" y="107"/>
                        <a:pt x="303" y="101"/>
                        <a:pt x="304" y="93"/>
                      </a:cubicBezTo>
                      <a:cubicBezTo>
                        <a:pt x="305" y="85"/>
                        <a:pt x="306" y="78"/>
                        <a:pt x="298" y="76"/>
                      </a:cubicBezTo>
                      <a:cubicBezTo>
                        <a:pt x="297" y="75"/>
                        <a:pt x="296" y="75"/>
                        <a:pt x="295" y="75"/>
                      </a:cubicBezTo>
                      <a:cubicBezTo>
                        <a:pt x="293" y="75"/>
                        <a:pt x="291" y="76"/>
                        <a:pt x="289" y="76"/>
                      </a:cubicBezTo>
                      <a:cubicBezTo>
                        <a:pt x="288" y="76"/>
                        <a:pt x="287" y="77"/>
                        <a:pt x="285" y="77"/>
                      </a:cubicBezTo>
                      <a:cubicBezTo>
                        <a:pt x="284" y="77"/>
                        <a:pt x="282" y="76"/>
                        <a:pt x="280" y="72"/>
                      </a:cubicBezTo>
                      <a:cubicBezTo>
                        <a:pt x="280" y="71"/>
                        <a:pt x="280" y="69"/>
                        <a:pt x="281" y="67"/>
                      </a:cubicBezTo>
                      <a:cubicBezTo>
                        <a:pt x="282" y="65"/>
                        <a:pt x="282" y="64"/>
                        <a:pt x="282" y="63"/>
                      </a:cubicBezTo>
                      <a:cubicBezTo>
                        <a:pt x="281" y="63"/>
                        <a:pt x="281" y="63"/>
                        <a:pt x="281" y="63"/>
                      </a:cubicBezTo>
                      <a:cubicBezTo>
                        <a:pt x="281" y="62"/>
                        <a:pt x="281" y="62"/>
                        <a:pt x="281" y="62"/>
                      </a:cubicBezTo>
                      <a:cubicBezTo>
                        <a:pt x="281" y="61"/>
                        <a:pt x="280" y="60"/>
                        <a:pt x="277" y="60"/>
                      </a:cubicBezTo>
                      <a:cubicBezTo>
                        <a:pt x="277" y="60"/>
                        <a:pt x="276" y="60"/>
                        <a:pt x="276" y="60"/>
                      </a:cubicBezTo>
                      <a:cubicBezTo>
                        <a:pt x="275" y="60"/>
                        <a:pt x="275" y="60"/>
                        <a:pt x="274" y="60"/>
                      </a:cubicBezTo>
                      <a:cubicBezTo>
                        <a:pt x="273" y="60"/>
                        <a:pt x="272" y="60"/>
                        <a:pt x="271" y="59"/>
                      </a:cubicBezTo>
                      <a:cubicBezTo>
                        <a:pt x="269" y="57"/>
                        <a:pt x="268" y="50"/>
                        <a:pt x="267" y="45"/>
                      </a:cubicBezTo>
                      <a:cubicBezTo>
                        <a:pt x="266" y="42"/>
                        <a:pt x="266" y="39"/>
                        <a:pt x="265" y="37"/>
                      </a:cubicBezTo>
                      <a:cubicBezTo>
                        <a:pt x="264" y="34"/>
                        <a:pt x="263" y="31"/>
                        <a:pt x="263" y="28"/>
                      </a:cubicBezTo>
                      <a:cubicBezTo>
                        <a:pt x="262" y="24"/>
                        <a:pt x="262" y="24"/>
                        <a:pt x="262" y="24"/>
                      </a:cubicBezTo>
                      <a:cubicBezTo>
                        <a:pt x="256" y="25"/>
                        <a:pt x="256" y="25"/>
                        <a:pt x="256" y="25"/>
                      </a:cubicBezTo>
                      <a:cubicBezTo>
                        <a:pt x="256" y="25"/>
                        <a:pt x="256" y="25"/>
                        <a:pt x="256" y="26"/>
                      </a:cubicBezTo>
                      <a:cubicBezTo>
                        <a:pt x="255" y="28"/>
                        <a:pt x="256" y="30"/>
                        <a:pt x="257" y="33"/>
                      </a:cubicBezTo>
                      <a:cubicBezTo>
                        <a:pt x="257" y="33"/>
                        <a:pt x="257" y="34"/>
                        <a:pt x="258" y="36"/>
                      </a:cubicBezTo>
                      <a:cubicBezTo>
                        <a:pt x="258" y="36"/>
                        <a:pt x="258" y="37"/>
                        <a:pt x="258" y="38"/>
                      </a:cubicBezTo>
                      <a:cubicBezTo>
                        <a:pt x="258" y="39"/>
                        <a:pt x="259" y="40"/>
                        <a:pt x="259" y="41"/>
                      </a:cubicBezTo>
                      <a:cubicBezTo>
                        <a:pt x="259" y="43"/>
                        <a:pt x="259" y="44"/>
                        <a:pt x="259" y="46"/>
                      </a:cubicBezTo>
                      <a:cubicBezTo>
                        <a:pt x="259" y="47"/>
                        <a:pt x="258" y="47"/>
                        <a:pt x="257" y="48"/>
                      </a:cubicBezTo>
                      <a:cubicBezTo>
                        <a:pt x="257" y="49"/>
                        <a:pt x="256" y="49"/>
                        <a:pt x="256" y="50"/>
                      </a:cubicBezTo>
                      <a:cubicBezTo>
                        <a:pt x="254" y="52"/>
                        <a:pt x="253" y="55"/>
                        <a:pt x="254" y="59"/>
                      </a:cubicBezTo>
                      <a:cubicBezTo>
                        <a:pt x="254" y="62"/>
                        <a:pt x="257" y="63"/>
                        <a:pt x="258" y="65"/>
                      </a:cubicBezTo>
                      <a:cubicBezTo>
                        <a:pt x="259" y="65"/>
                        <a:pt x="259" y="65"/>
                        <a:pt x="259" y="65"/>
                      </a:cubicBezTo>
                      <a:cubicBezTo>
                        <a:pt x="260" y="66"/>
                        <a:pt x="260" y="67"/>
                        <a:pt x="260" y="70"/>
                      </a:cubicBezTo>
                      <a:cubicBezTo>
                        <a:pt x="260" y="71"/>
                        <a:pt x="260" y="72"/>
                        <a:pt x="260" y="73"/>
                      </a:cubicBezTo>
                      <a:cubicBezTo>
                        <a:pt x="260" y="74"/>
                        <a:pt x="260" y="74"/>
                        <a:pt x="260" y="74"/>
                      </a:cubicBezTo>
                      <a:cubicBezTo>
                        <a:pt x="260" y="76"/>
                        <a:pt x="260" y="78"/>
                        <a:pt x="262" y="80"/>
                      </a:cubicBezTo>
                      <a:cubicBezTo>
                        <a:pt x="262" y="80"/>
                        <a:pt x="262" y="80"/>
                        <a:pt x="262" y="80"/>
                      </a:cubicBezTo>
                      <a:cubicBezTo>
                        <a:pt x="262" y="81"/>
                        <a:pt x="262" y="82"/>
                        <a:pt x="261" y="83"/>
                      </a:cubicBezTo>
                      <a:cubicBezTo>
                        <a:pt x="260" y="84"/>
                        <a:pt x="259" y="85"/>
                        <a:pt x="259" y="86"/>
                      </a:cubicBezTo>
                      <a:cubicBezTo>
                        <a:pt x="259" y="86"/>
                        <a:pt x="259" y="87"/>
                        <a:pt x="258" y="87"/>
                      </a:cubicBezTo>
                      <a:cubicBezTo>
                        <a:pt x="258" y="88"/>
                        <a:pt x="257" y="89"/>
                        <a:pt x="257" y="90"/>
                      </a:cubicBezTo>
                      <a:cubicBezTo>
                        <a:pt x="257" y="90"/>
                        <a:pt x="257" y="91"/>
                        <a:pt x="257" y="91"/>
                      </a:cubicBezTo>
                      <a:cubicBezTo>
                        <a:pt x="257" y="91"/>
                        <a:pt x="256" y="91"/>
                        <a:pt x="256" y="91"/>
                      </a:cubicBezTo>
                      <a:cubicBezTo>
                        <a:pt x="256" y="91"/>
                        <a:pt x="255" y="91"/>
                        <a:pt x="255" y="91"/>
                      </a:cubicBezTo>
                      <a:cubicBezTo>
                        <a:pt x="253" y="91"/>
                        <a:pt x="251" y="91"/>
                        <a:pt x="250" y="92"/>
                      </a:cubicBezTo>
                      <a:cubicBezTo>
                        <a:pt x="248" y="95"/>
                        <a:pt x="248" y="100"/>
                        <a:pt x="248" y="103"/>
                      </a:cubicBezTo>
                      <a:cubicBezTo>
                        <a:pt x="248" y="104"/>
                        <a:pt x="248" y="104"/>
                        <a:pt x="248" y="104"/>
                      </a:cubicBezTo>
                      <a:cubicBezTo>
                        <a:pt x="249" y="105"/>
                        <a:pt x="249" y="106"/>
                        <a:pt x="249" y="108"/>
                      </a:cubicBezTo>
                      <a:cubicBezTo>
                        <a:pt x="248" y="108"/>
                        <a:pt x="248" y="108"/>
                        <a:pt x="248" y="108"/>
                      </a:cubicBezTo>
                      <a:cubicBezTo>
                        <a:pt x="248" y="108"/>
                        <a:pt x="248" y="109"/>
                        <a:pt x="247" y="109"/>
                      </a:cubicBezTo>
                      <a:cubicBezTo>
                        <a:pt x="245" y="109"/>
                        <a:pt x="244" y="110"/>
                        <a:pt x="243" y="111"/>
                      </a:cubicBezTo>
                      <a:cubicBezTo>
                        <a:pt x="241" y="113"/>
                        <a:pt x="240" y="115"/>
                        <a:pt x="239" y="117"/>
                      </a:cubicBezTo>
                      <a:cubicBezTo>
                        <a:pt x="239" y="118"/>
                        <a:pt x="239" y="118"/>
                        <a:pt x="239" y="119"/>
                      </a:cubicBezTo>
                      <a:cubicBezTo>
                        <a:pt x="239" y="119"/>
                        <a:pt x="239" y="120"/>
                        <a:pt x="239" y="120"/>
                      </a:cubicBezTo>
                      <a:cubicBezTo>
                        <a:pt x="238" y="120"/>
                        <a:pt x="238" y="120"/>
                        <a:pt x="237" y="120"/>
                      </a:cubicBezTo>
                      <a:cubicBezTo>
                        <a:pt x="237" y="120"/>
                        <a:pt x="237" y="120"/>
                        <a:pt x="236" y="120"/>
                      </a:cubicBezTo>
                      <a:cubicBezTo>
                        <a:pt x="236" y="120"/>
                        <a:pt x="235" y="119"/>
                        <a:pt x="234" y="118"/>
                      </a:cubicBezTo>
                      <a:cubicBezTo>
                        <a:pt x="234" y="117"/>
                        <a:pt x="234" y="117"/>
                        <a:pt x="234" y="117"/>
                      </a:cubicBezTo>
                      <a:cubicBezTo>
                        <a:pt x="232" y="115"/>
                        <a:pt x="230" y="113"/>
                        <a:pt x="227" y="113"/>
                      </a:cubicBezTo>
                      <a:cubicBezTo>
                        <a:pt x="226" y="112"/>
                        <a:pt x="225" y="112"/>
                        <a:pt x="224" y="112"/>
                      </a:cubicBezTo>
                      <a:cubicBezTo>
                        <a:pt x="223" y="112"/>
                        <a:pt x="223" y="112"/>
                        <a:pt x="223" y="112"/>
                      </a:cubicBezTo>
                      <a:cubicBezTo>
                        <a:pt x="222" y="112"/>
                        <a:pt x="221" y="112"/>
                        <a:pt x="220" y="111"/>
                      </a:cubicBezTo>
                      <a:cubicBezTo>
                        <a:pt x="220" y="111"/>
                        <a:pt x="220" y="110"/>
                        <a:pt x="219" y="110"/>
                      </a:cubicBezTo>
                      <a:cubicBezTo>
                        <a:pt x="219" y="108"/>
                        <a:pt x="218" y="107"/>
                        <a:pt x="216" y="106"/>
                      </a:cubicBezTo>
                      <a:cubicBezTo>
                        <a:pt x="214" y="104"/>
                        <a:pt x="212" y="104"/>
                        <a:pt x="210" y="104"/>
                      </a:cubicBezTo>
                      <a:cubicBezTo>
                        <a:pt x="210" y="104"/>
                        <a:pt x="209" y="104"/>
                        <a:pt x="208" y="104"/>
                      </a:cubicBezTo>
                      <a:cubicBezTo>
                        <a:pt x="208" y="104"/>
                        <a:pt x="207" y="104"/>
                        <a:pt x="206" y="104"/>
                      </a:cubicBezTo>
                      <a:cubicBezTo>
                        <a:pt x="204" y="104"/>
                        <a:pt x="202" y="104"/>
                        <a:pt x="200" y="106"/>
                      </a:cubicBezTo>
                      <a:cubicBezTo>
                        <a:pt x="199" y="106"/>
                        <a:pt x="197" y="107"/>
                        <a:pt x="196" y="108"/>
                      </a:cubicBezTo>
                      <a:cubicBezTo>
                        <a:pt x="197" y="106"/>
                        <a:pt x="197" y="105"/>
                        <a:pt x="197" y="103"/>
                      </a:cubicBezTo>
                      <a:cubicBezTo>
                        <a:pt x="197" y="103"/>
                        <a:pt x="197" y="102"/>
                        <a:pt x="198" y="101"/>
                      </a:cubicBezTo>
                      <a:cubicBezTo>
                        <a:pt x="198" y="101"/>
                        <a:pt x="198" y="101"/>
                        <a:pt x="198" y="101"/>
                      </a:cubicBezTo>
                      <a:cubicBezTo>
                        <a:pt x="198" y="99"/>
                        <a:pt x="199" y="95"/>
                        <a:pt x="196" y="93"/>
                      </a:cubicBezTo>
                      <a:cubicBezTo>
                        <a:pt x="195" y="92"/>
                        <a:pt x="194" y="91"/>
                        <a:pt x="192" y="91"/>
                      </a:cubicBezTo>
                      <a:cubicBezTo>
                        <a:pt x="191" y="91"/>
                        <a:pt x="190" y="92"/>
                        <a:pt x="189" y="92"/>
                      </a:cubicBezTo>
                      <a:cubicBezTo>
                        <a:pt x="188" y="92"/>
                        <a:pt x="187" y="93"/>
                        <a:pt x="187" y="93"/>
                      </a:cubicBezTo>
                      <a:cubicBezTo>
                        <a:pt x="187" y="92"/>
                        <a:pt x="186" y="91"/>
                        <a:pt x="186" y="87"/>
                      </a:cubicBezTo>
                      <a:cubicBezTo>
                        <a:pt x="186" y="81"/>
                        <a:pt x="184" y="79"/>
                        <a:pt x="182" y="75"/>
                      </a:cubicBezTo>
                      <a:cubicBezTo>
                        <a:pt x="181" y="73"/>
                        <a:pt x="181" y="72"/>
                        <a:pt x="181" y="70"/>
                      </a:cubicBezTo>
                      <a:cubicBezTo>
                        <a:pt x="181" y="66"/>
                        <a:pt x="180" y="63"/>
                        <a:pt x="177" y="61"/>
                      </a:cubicBezTo>
                      <a:cubicBezTo>
                        <a:pt x="176" y="59"/>
                        <a:pt x="176" y="59"/>
                        <a:pt x="176" y="59"/>
                      </a:cubicBezTo>
                      <a:cubicBezTo>
                        <a:pt x="175" y="59"/>
                        <a:pt x="175" y="58"/>
                        <a:pt x="174" y="57"/>
                      </a:cubicBezTo>
                      <a:cubicBezTo>
                        <a:pt x="173" y="57"/>
                        <a:pt x="173" y="57"/>
                        <a:pt x="173" y="57"/>
                      </a:cubicBezTo>
                      <a:cubicBezTo>
                        <a:pt x="173" y="56"/>
                        <a:pt x="172" y="56"/>
                        <a:pt x="172" y="56"/>
                      </a:cubicBezTo>
                      <a:cubicBezTo>
                        <a:pt x="172" y="55"/>
                        <a:pt x="172" y="55"/>
                        <a:pt x="172" y="55"/>
                      </a:cubicBezTo>
                      <a:cubicBezTo>
                        <a:pt x="172" y="54"/>
                        <a:pt x="173" y="54"/>
                        <a:pt x="173" y="53"/>
                      </a:cubicBezTo>
                      <a:cubicBezTo>
                        <a:pt x="173" y="53"/>
                        <a:pt x="172" y="52"/>
                        <a:pt x="172" y="51"/>
                      </a:cubicBezTo>
                      <a:cubicBezTo>
                        <a:pt x="172" y="49"/>
                        <a:pt x="172" y="48"/>
                        <a:pt x="173" y="46"/>
                      </a:cubicBezTo>
                      <a:cubicBezTo>
                        <a:pt x="173" y="45"/>
                        <a:pt x="173" y="45"/>
                        <a:pt x="174" y="44"/>
                      </a:cubicBezTo>
                      <a:cubicBezTo>
                        <a:pt x="175" y="41"/>
                        <a:pt x="177" y="35"/>
                        <a:pt x="172" y="33"/>
                      </a:cubicBezTo>
                      <a:cubicBezTo>
                        <a:pt x="170" y="32"/>
                        <a:pt x="169" y="32"/>
                        <a:pt x="168" y="32"/>
                      </a:cubicBezTo>
                      <a:cubicBezTo>
                        <a:pt x="165" y="32"/>
                        <a:pt x="164" y="35"/>
                        <a:pt x="163" y="36"/>
                      </a:cubicBezTo>
                      <a:cubicBezTo>
                        <a:pt x="163" y="37"/>
                        <a:pt x="162" y="38"/>
                        <a:pt x="162" y="38"/>
                      </a:cubicBezTo>
                      <a:cubicBezTo>
                        <a:pt x="162" y="38"/>
                        <a:pt x="161" y="37"/>
                        <a:pt x="160" y="36"/>
                      </a:cubicBezTo>
                      <a:cubicBezTo>
                        <a:pt x="159" y="34"/>
                        <a:pt x="157" y="32"/>
                        <a:pt x="154" y="32"/>
                      </a:cubicBezTo>
                      <a:cubicBezTo>
                        <a:pt x="153" y="32"/>
                        <a:pt x="153" y="32"/>
                        <a:pt x="152" y="32"/>
                      </a:cubicBezTo>
                      <a:cubicBezTo>
                        <a:pt x="150" y="32"/>
                        <a:pt x="149" y="34"/>
                        <a:pt x="148" y="34"/>
                      </a:cubicBezTo>
                      <a:cubicBezTo>
                        <a:pt x="148" y="35"/>
                        <a:pt x="148" y="35"/>
                        <a:pt x="148" y="35"/>
                      </a:cubicBezTo>
                      <a:cubicBezTo>
                        <a:pt x="147" y="35"/>
                        <a:pt x="147" y="35"/>
                        <a:pt x="145" y="35"/>
                      </a:cubicBezTo>
                      <a:cubicBezTo>
                        <a:pt x="145" y="35"/>
                        <a:pt x="144" y="35"/>
                        <a:pt x="144" y="35"/>
                      </a:cubicBezTo>
                      <a:cubicBezTo>
                        <a:pt x="143" y="35"/>
                        <a:pt x="142" y="35"/>
                        <a:pt x="142" y="35"/>
                      </a:cubicBezTo>
                      <a:cubicBezTo>
                        <a:pt x="138" y="35"/>
                        <a:pt x="138" y="35"/>
                        <a:pt x="138" y="35"/>
                      </a:cubicBezTo>
                      <a:cubicBezTo>
                        <a:pt x="137" y="35"/>
                        <a:pt x="137" y="35"/>
                        <a:pt x="136" y="35"/>
                      </a:cubicBezTo>
                      <a:cubicBezTo>
                        <a:pt x="135" y="35"/>
                        <a:pt x="135" y="35"/>
                        <a:pt x="135" y="35"/>
                      </a:cubicBezTo>
                      <a:cubicBezTo>
                        <a:pt x="133" y="35"/>
                        <a:pt x="132" y="35"/>
                        <a:pt x="131" y="34"/>
                      </a:cubicBezTo>
                      <a:cubicBezTo>
                        <a:pt x="129" y="34"/>
                        <a:pt x="126" y="31"/>
                        <a:pt x="126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6" y="25"/>
                        <a:pt x="126" y="23"/>
                        <a:pt x="124" y="21"/>
                      </a:cubicBezTo>
                      <a:cubicBezTo>
                        <a:pt x="122" y="19"/>
                        <a:pt x="119" y="18"/>
                        <a:pt x="116" y="18"/>
                      </a:cubicBezTo>
                      <a:cubicBezTo>
                        <a:pt x="116" y="17"/>
                        <a:pt x="116" y="17"/>
                        <a:pt x="116" y="17"/>
                      </a:cubicBezTo>
                      <a:cubicBezTo>
                        <a:pt x="115" y="17"/>
                        <a:pt x="115" y="17"/>
                        <a:pt x="114" y="17"/>
                      </a:cubicBezTo>
                      <a:cubicBezTo>
                        <a:pt x="114" y="16"/>
                        <a:pt x="114" y="16"/>
                        <a:pt x="114" y="16"/>
                      </a:cubicBezTo>
                      <a:cubicBezTo>
                        <a:pt x="112" y="14"/>
                        <a:pt x="110" y="14"/>
                        <a:pt x="108" y="14"/>
                      </a:cubicBezTo>
                      <a:cubicBezTo>
                        <a:pt x="108" y="14"/>
                        <a:pt x="107" y="14"/>
                        <a:pt x="107" y="14"/>
                      </a:cubicBezTo>
                      <a:cubicBezTo>
                        <a:pt x="107" y="14"/>
                        <a:pt x="106" y="14"/>
                        <a:pt x="106" y="13"/>
                      </a:cubicBezTo>
                      <a:cubicBezTo>
                        <a:pt x="105" y="12"/>
                        <a:pt x="104" y="11"/>
                        <a:pt x="103" y="10"/>
                      </a:cubicBezTo>
                      <a:cubicBezTo>
                        <a:pt x="101" y="9"/>
                        <a:pt x="100" y="9"/>
                        <a:pt x="98" y="8"/>
                      </a:cubicBezTo>
                      <a:cubicBezTo>
                        <a:pt x="98" y="8"/>
                        <a:pt x="97" y="8"/>
                        <a:pt x="96" y="7"/>
                      </a:cubicBezTo>
                      <a:cubicBezTo>
                        <a:pt x="96" y="7"/>
                        <a:pt x="95" y="6"/>
                        <a:pt x="94" y="6"/>
                      </a:cubicBezTo>
                      <a:cubicBezTo>
                        <a:pt x="94" y="5"/>
                        <a:pt x="93" y="5"/>
                        <a:pt x="93" y="5"/>
                      </a:cubicBezTo>
                      <a:cubicBezTo>
                        <a:pt x="88" y="2"/>
                        <a:pt x="85" y="0"/>
                        <a:pt x="81" y="0"/>
                      </a:cubicBezTo>
                      <a:cubicBezTo>
                        <a:pt x="80" y="0"/>
                        <a:pt x="78" y="1"/>
                        <a:pt x="76" y="1"/>
                      </a:cubicBezTo>
                      <a:cubicBezTo>
                        <a:pt x="74" y="3"/>
                        <a:pt x="72" y="4"/>
                        <a:pt x="70" y="6"/>
                      </a:cubicBezTo>
                      <a:cubicBezTo>
                        <a:pt x="69" y="7"/>
                        <a:pt x="68" y="8"/>
                        <a:pt x="67" y="9"/>
                      </a:cubicBezTo>
                      <a:cubicBezTo>
                        <a:pt x="66" y="9"/>
                        <a:pt x="66" y="9"/>
                        <a:pt x="66" y="9"/>
                      </a:cubicBezTo>
                      <a:cubicBezTo>
                        <a:pt x="65" y="10"/>
                        <a:pt x="64" y="10"/>
                        <a:pt x="63" y="12"/>
                      </a:cubicBezTo>
                      <a:cubicBezTo>
                        <a:pt x="63" y="12"/>
                        <a:pt x="62" y="13"/>
                        <a:pt x="62" y="13"/>
                      </a:cubicBezTo>
                      <a:cubicBezTo>
                        <a:pt x="62" y="14"/>
                        <a:pt x="61" y="15"/>
                        <a:pt x="61" y="15"/>
                      </a:cubicBezTo>
                      <a:cubicBezTo>
                        <a:pt x="61" y="15"/>
                        <a:pt x="60" y="15"/>
                        <a:pt x="60" y="15"/>
                      </a:cubicBezTo>
                      <a:cubicBezTo>
                        <a:pt x="59" y="15"/>
                        <a:pt x="59" y="15"/>
                        <a:pt x="58" y="15"/>
                      </a:cubicBezTo>
                      <a:cubicBezTo>
                        <a:pt x="58" y="15"/>
                        <a:pt x="58" y="15"/>
                        <a:pt x="58" y="15"/>
                      </a:cubicBezTo>
                      <a:cubicBezTo>
                        <a:pt x="57" y="15"/>
                        <a:pt x="57" y="15"/>
                        <a:pt x="56" y="16"/>
                      </a:cubicBezTo>
                      <a:cubicBezTo>
                        <a:pt x="56" y="15"/>
                        <a:pt x="56" y="15"/>
                        <a:pt x="56" y="15"/>
                      </a:cubicBezTo>
                      <a:cubicBezTo>
                        <a:pt x="55" y="15"/>
                        <a:pt x="55" y="15"/>
                        <a:pt x="54" y="15"/>
                      </a:cubicBezTo>
                      <a:cubicBezTo>
                        <a:pt x="53" y="14"/>
                        <a:pt x="51" y="14"/>
                        <a:pt x="49" y="14"/>
                      </a:cubicBezTo>
                      <a:cubicBezTo>
                        <a:pt x="49" y="14"/>
                        <a:pt x="49" y="14"/>
                        <a:pt x="49" y="14"/>
                      </a:cubicBezTo>
                      <a:cubicBezTo>
                        <a:pt x="48" y="14"/>
                        <a:pt x="48" y="14"/>
                        <a:pt x="47" y="14"/>
                      </a:cubicBezTo>
                      <a:cubicBezTo>
                        <a:pt x="46" y="14"/>
                        <a:pt x="45" y="14"/>
                        <a:pt x="45" y="14"/>
                      </a:cubicBezTo>
                      <a:cubicBezTo>
                        <a:pt x="44" y="14"/>
                        <a:pt x="43" y="14"/>
                        <a:pt x="42" y="14"/>
                      </a:cubicBezTo>
                      <a:cubicBezTo>
                        <a:pt x="41" y="14"/>
                        <a:pt x="40" y="13"/>
                        <a:pt x="39" y="13"/>
                      </a:cubicBezTo>
                      <a:cubicBezTo>
                        <a:pt x="38" y="12"/>
                        <a:pt x="36" y="12"/>
                        <a:pt x="35" y="11"/>
                      </a:cubicBezTo>
                      <a:cubicBezTo>
                        <a:pt x="31" y="10"/>
                        <a:pt x="27" y="9"/>
                        <a:pt x="22" y="9"/>
                      </a:cubicBezTo>
                      <a:cubicBezTo>
                        <a:pt x="20" y="9"/>
                        <a:pt x="19" y="9"/>
                        <a:pt x="17" y="9"/>
                      </a:cubicBezTo>
                      <a:cubicBezTo>
                        <a:pt x="12" y="10"/>
                        <a:pt x="8" y="12"/>
                        <a:pt x="5" y="16"/>
                      </a:cubicBezTo>
                      <a:cubicBezTo>
                        <a:pt x="3" y="18"/>
                        <a:pt x="2" y="20"/>
                        <a:pt x="2" y="23"/>
                      </a:cubicBezTo>
                      <a:cubicBezTo>
                        <a:pt x="2" y="23"/>
                        <a:pt x="1" y="24"/>
                        <a:pt x="1" y="24"/>
                      </a:cubicBezTo>
                      <a:cubicBezTo>
                        <a:pt x="1" y="26"/>
                        <a:pt x="0" y="28"/>
                        <a:pt x="0" y="30"/>
                      </a:cubicBezTo>
                      <a:cubicBezTo>
                        <a:pt x="1" y="34"/>
                        <a:pt x="3" y="39"/>
                        <a:pt x="4" y="42"/>
                      </a:cubicBezTo>
                      <a:cubicBezTo>
                        <a:pt x="6" y="45"/>
                        <a:pt x="9" y="48"/>
                        <a:pt x="11" y="49"/>
                      </a:cubicBezTo>
                      <a:cubicBezTo>
                        <a:pt x="12" y="49"/>
                        <a:pt x="12" y="49"/>
                        <a:pt x="12" y="49"/>
                      </a:cubicBezTo>
                      <a:cubicBezTo>
                        <a:pt x="14" y="51"/>
                        <a:pt x="15" y="52"/>
                        <a:pt x="15" y="53"/>
                      </a:cubicBezTo>
                      <a:cubicBezTo>
                        <a:pt x="15" y="54"/>
                        <a:pt x="14" y="54"/>
                        <a:pt x="14" y="55"/>
                      </a:cubicBezTo>
                      <a:cubicBezTo>
                        <a:pt x="14" y="56"/>
                        <a:pt x="13" y="57"/>
                        <a:pt x="13" y="58"/>
                      </a:cubicBezTo>
                      <a:cubicBezTo>
                        <a:pt x="13" y="60"/>
                        <a:pt x="14" y="63"/>
                        <a:pt x="15" y="65"/>
                      </a:cubicBezTo>
                      <a:cubicBezTo>
                        <a:pt x="16" y="65"/>
                        <a:pt x="16" y="65"/>
                        <a:pt x="16" y="65"/>
                      </a:cubicBezTo>
                      <a:cubicBezTo>
                        <a:pt x="16" y="66"/>
                        <a:pt x="15" y="66"/>
                        <a:pt x="15" y="67"/>
                      </a:cubicBezTo>
                      <a:cubicBezTo>
                        <a:pt x="15" y="67"/>
                        <a:pt x="14" y="68"/>
                        <a:pt x="14" y="69"/>
                      </a:cubicBezTo>
                      <a:cubicBezTo>
                        <a:pt x="12" y="71"/>
                        <a:pt x="9" y="75"/>
                        <a:pt x="12" y="79"/>
                      </a:cubicBezTo>
                      <a:cubicBezTo>
                        <a:pt x="13" y="81"/>
                        <a:pt x="14" y="83"/>
                        <a:pt x="17" y="84"/>
                      </a:cubicBezTo>
                      <a:cubicBezTo>
                        <a:pt x="18" y="84"/>
                        <a:pt x="18" y="84"/>
                        <a:pt x="19" y="84"/>
                      </a:cubicBezTo>
                      <a:cubicBezTo>
                        <a:pt x="19" y="84"/>
                        <a:pt x="19" y="84"/>
                        <a:pt x="19" y="84"/>
                      </a:cubicBezTo>
                      <a:cubicBezTo>
                        <a:pt x="19" y="85"/>
                        <a:pt x="19" y="85"/>
                        <a:pt x="19" y="85"/>
                      </a:cubicBezTo>
                      <a:cubicBezTo>
                        <a:pt x="19" y="86"/>
                        <a:pt x="19" y="87"/>
                        <a:pt x="20" y="88"/>
                      </a:cubicBezTo>
                      <a:cubicBezTo>
                        <a:pt x="20" y="89"/>
                        <a:pt x="20" y="90"/>
                        <a:pt x="20" y="92"/>
                      </a:cubicBezTo>
                      <a:cubicBezTo>
                        <a:pt x="20" y="93"/>
                        <a:pt x="20" y="95"/>
                        <a:pt x="21" y="97"/>
                      </a:cubicBezTo>
                      <a:cubicBezTo>
                        <a:pt x="22" y="99"/>
                        <a:pt x="23" y="100"/>
                        <a:pt x="25" y="101"/>
                      </a:cubicBezTo>
                      <a:cubicBezTo>
                        <a:pt x="25" y="101"/>
                        <a:pt x="26" y="102"/>
                        <a:pt x="26" y="102"/>
                      </a:cubicBezTo>
                      <a:cubicBezTo>
                        <a:pt x="26" y="102"/>
                        <a:pt x="26" y="103"/>
                        <a:pt x="26" y="104"/>
                      </a:cubicBezTo>
                      <a:cubicBezTo>
                        <a:pt x="26" y="105"/>
                        <a:pt x="26" y="105"/>
                        <a:pt x="26" y="105"/>
                      </a:cubicBezTo>
                      <a:cubicBezTo>
                        <a:pt x="26" y="106"/>
                        <a:pt x="27" y="109"/>
                        <a:pt x="29" y="110"/>
                      </a:cubicBezTo>
                      <a:cubicBezTo>
                        <a:pt x="29" y="110"/>
                        <a:pt x="30" y="111"/>
                        <a:pt x="30" y="111"/>
                      </a:cubicBezTo>
                      <a:cubicBezTo>
                        <a:pt x="30" y="111"/>
                        <a:pt x="31" y="111"/>
                        <a:pt x="31" y="111"/>
                      </a:cubicBezTo>
                      <a:cubicBezTo>
                        <a:pt x="31" y="111"/>
                        <a:pt x="31" y="111"/>
                        <a:pt x="31" y="111"/>
                      </a:cubicBezTo>
                      <a:cubicBezTo>
                        <a:pt x="31" y="112"/>
                        <a:pt x="31" y="113"/>
                        <a:pt x="31" y="114"/>
                      </a:cubicBezTo>
                      <a:cubicBezTo>
                        <a:pt x="31" y="115"/>
                        <a:pt x="31" y="115"/>
                        <a:pt x="31" y="115"/>
                      </a:cubicBezTo>
                      <a:cubicBezTo>
                        <a:pt x="32" y="116"/>
                        <a:pt x="31" y="117"/>
                        <a:pt x="30" y="119"/>
                      </a:cubicBezTo>
                      <a:cubicBezTo>
                        <a:pt x="28" y="122"/>
                        <a:pt x="27" y="125"/>
                        <a:pt x="27" y="128"/>
                      </a:cubicBezTo>
                      <a:cubicBezTo>
                        <a:pt x="27" y="130"/>
                        <a:pt x="27" y="131"/>
                        <a:pt x="26" y="132"/>
                      </a:cubicBezTo>
                      <a:cubicBezTo>
                        <a:pt x="26" y="135"/>
                        <a:pt x="26" y="135"/>
                        <a:pt x="26" y="135"/>
                      </a:cubicBezTo>
                      <a:cubicBezTo>
                        <a:pt x="26" y="136"/>
                        <a:pt x="25" y="138"/>
                        <a:pt x="24" y="139"/>
                      </a:cubicBezTo>
                      <a:cubicBezTo>
                        <a:pt x="24" y="140"/>
                        <a:pt x="24" y="140"/>
                        <a:pt x="24" y="140"/>
                      </a:cubicBezTo>
                      <a:cubicBezTo>
                        <a:pt x="21" y="146"/>
                        <a:pt x="12" y="160"/>
                        <a:pt x="23" y="168"/>
                      </a:cubicBezTo>
                      <a:cubicBezTo>
                        <a:pt x="27" y="171"/>
                        <a:pt x="31" y="173"/>
                        <a:pt x="35" y="176"/>
                      </a:cubicBezTo>
                      <a:cubicBezTo>
                        <a:pt x="38" y="178"/>
                        <a:pt x="42" y="180"/>
                        <a:pt x="45" y="182"/>
                      </a:cubicBezTo>
                      <a:cubicBezTo>
                        <a:pt x="46" y="183"/>
                        <a:pt x="47" y="184"/>
                        <a:pt x="48" y="184"/>
                      </a:cubicBezTo>
                      <a:cubicBezTo>
                        <a:pt x="49" y="185"/>
                        <a:pt x="50" y="185"/>
                        <a:pt x="51" y="186"/>
                      </a:cubicBezTo>
                      <a:cubicBezTo>
                        <a:pt x="53" y="187"/>
                        <a:pt x="54" y="189"/>
                        <a:pt x="55" y="190"/>
                      </a:cubicBezTo>
                      <a:cubicBezTo>
                        <a:pt x="56" y="191"/>
                        <a:pt x="57" y="192"/>
                        <a:pt x="58" y="194"/>
                      </a:cubicBezTo>
                      <a:cubicBezTo>
                        <a:pt x="59" y="195"/>
                        <a:pt x="59" y="195"/>
                        <a:pt x="59" y="195"/>
                      </a:cubicBezTo>
                      <a:cubicBezTo>
                        <a:pt x="62" y="199"/>
                        <a:pt x="64" y="202"/>
                        <a:pt x="65" y="206"/>
                      </a:cubicBezTo>
                      <a:cubicBezTo>
                        <a:pt x="66" y="211"/>
                        <a:pt x="68" y="214"/>
                        <a:pt x="70" y="217"/>
                      </a:cubicBezTo>
                      <a:cubicBezTo>
                        <a:pt x="71" y="219"/>
                        <a:pt x="71" y="219"/>
                        <a:pt x="71" y="219"/>
                      </a:cubicBezTo>
                      <a:cubicBezTo>
                        <a:pt x="72" y="221"/>
                        <a:pt x="72" y="224"/>
                        <a:pt x="73" y="227"/>
                      </a:cubicBezTo>
                      <a:cubicBezTo>
                        <a:pt x="73" y="229"/>
                        <a:pt x="73" y="230"/>
                        <a:pt x="73" y="231"/>
                      </a:cubicBezTo>
                      <a:cubicBezTo>
                        <a:pt x="74" y="233"/>
                        <a:pt x="74" y="235"/>
                        <a:pt x="75" y="237"/>
                      </a:cubicBezTo>
                      <a:cubicBezTo>
                        <a:pt x="75" y="238"/>
                        <a:pt x="76" y="239"/>
                        <a:pt x="76" y="240"/>
                      </a:cubicBezTo>
                      <a:cubicBezTo>
                        <a:pt x="76" y="241"/>
                        <a:pt x="76" y="241"/>
                        <a:pt x="76" y="242"/>
                      </a:cubicBezTo>
                      <a:cubicBezTo>
                        <a:pt x="77" y="243"/>
                        <a:pt x="77" y="248"/>
                        <a:pt x="82" y="248"/>
                      </a:cubicBezTo>
                      <a:cubicBezTo>
                        <a:pt x="82" y="248"/>
                        <a:pt x="83" y="247"/>
                        <a:pt x="84" y="247"/>
                      </a:cubicBezTo>
                      <a:cubicBezTo>
                        <a:pt x="85" y="247"/>
                        <a:pt x="86" y="246"/>
                        <a:pt x="87" y="246"/>
                      </a:cubicBezTo>
                      <a:cubicBezTo>
                        <a:pt x="89" y="246"/>
                        <a:pt x="90" y="248"/>
                        <a:pt x="90" y="248"/>
                      </a:cubicBezTo>
                      <a:cubicBezTo>
                        <a:pt x="90" y="249"/>
                        <a:pt x="90" y="249"/>
                        <a:pt x="90" y="249"/>
                      </a:cubicBezTo>
                      <a:cubicBezTo>
                        <a:pt x="89" y="250"/>
                        <a:pt x="87" y="250"/>
                        <a:pt x="86" y="250"/>
                      </a:cubicBezTo>
                      <a:cubicBezTo>
                        <a:pt x="84" y="250"/>
                        <a:pt x="83" y="250"/>
                        <a:pt x="82" y="250"/>
                      </a:cubicBezTo>
                      <a:cubicBezTo>
                        <a:pt x="76" y="251"/>
                        <a:pt x="74" y="256"/>
                        <a:pt x="73" y="260"/>
                      </a:cubicBezTo>
                      <a:cubicBezTo>
                        <a:pt x="72" y="261"/>
                        <a:pt x="72" y="261"/>
                        <a:pt x="72" y="261"/>
                      </a:cubicBezTo>
                      <a:cubicBezTo>
                        <a:pt x="72" y="262"/>
                        <a:pt x="72" y="262"/>
                        <a:pt x="71" y="263"/>
                      </a:cubicBezTo>
                      <a:cubicBezTo>
                        <a:pt x="71" y="264"/>
                        <a:pt x="70" y="265"/>
                        <a:pt x="70" y="266"/>
                      </a:cubicBezTo>
                      <a:cubicBezTo>
                        <a:pt x="69" y="269"/>
                        <a:pt x="68" y="271"/>
                        <a:pt x="67" y="273"/>
                      </a:cubicBezTo>
                      <a:cubicBezTo>
                        <a:pt x="66" y="274"/>
                        <a:pt x="66" y="274"/>
                        <a:pt x="66" y="274"/>
                      </a:cubicBezTo>
                      <a:cubicBezTo>
                        <a:pt x="66" y="276"/>
                        <a:pt x="65" y="278"/>
                        <a:pt x="63" y="280"/>
                      </a:cubicBezTo>
                      <a:cubicBezTo>
                        <a:pt x="63" y="282"/>
                        <a:pt x="62" y="282"/>
                        <a:pt x="61" y="283"/>
                      </a:cubicBezTo>
                      <a:cubicBezTo>
                        <a:pt x="61" y="284"/>
                        <a:pt x="60" y="284"/>
                        <a:pt x="60" y="285"/>
                      </a:cubicBezTo>
                      <a:cubicBezTo>
                        <a:pt x="59" y="286"/>
                        <a:pt x="58" y="287"/>
                        <a:pt x="57" y="288"/>
                      </a:cubicBezTo>
                      <a:cubicBezTo>
                        <a:pt x="57" y="289"/>
                        <a:pt x="56" y="290"/>
                        <a:pt x="55" y="291"/>
                      </a:cubicBezTo>
                      <a:cubicBezTo>
                        <a:pt x="52" y="294"/>
                        <a:pt x="49" y="298"/>
                        <a:pt x="45" y="301"/>
                      </a:cubicBezTo>
                      <a:cubicBezTo>
                        <a:pt x="44" y="302"/>
                        <a:pt x="43" y="303"/>
                        <a:pt x="42" y="304"/>
                      </a:cubicBezTo>
                      <a:cubicBezTo>
                        <a:pt x="39" y="307"/>
                        <a:pt x="36" y="310"/>
                        <a:pt x="33" y="311"/>
                      </a:cubicBezTo>
                      <a:cubicBezTo>
                        <a:pt x="32" y="312"/>
                        <a:pt x="32" y="312"/>
                        <a:pt x="31" y="312"/>
                      </a:cubicBezTo>
                      <a:cubicBezTo>
                        <a:pt x="27" y="314"/>
                        <a:pt x="21" y="316"/>
                        <a:pt x="21" y="322"/>
                      </a:cubicBezTo>
                      <a:cubicBezTo>
                        <a:pt x="22" y="325"/>
                        <a:pt x="24" y="327"/>
                        <a:pt x="25" y="329"/>
                      </a:cubicBezTo>
                      <a:cubicBezTo>
                        <a:pt x="25" y="329"/>
                        <a:pt x="26" y="329"/>
                        <a:pt x="26" y="330"/>
                      </a:cubicBezTo>
                      <a:cubicBezTo>
                        <a:pt x="27" y="330"/>
                        <a:pt x="27" y="331"/>
                        <a:pt x="28" y="332"/>
                      </a:cubicBezTo>
                      <a:cubicBezTo>
                        <a:pt x="28" y="333"/>
                        <a:pt x="28" y="333"/>
                        <a:pt x="28" y="333"/>
                      </a:cubicBezTo>
                      <a:cubicBezTo>
                        <a:pt x="29" y="335"/>
                        <a:pt x="30" y="336"/>
                        <a:pt x="30" y="337"/>
                      </a:cubicBezTo>
                      <a:cubicBezTo>
                        <a:pt x="31" y="337"/>
                        <a:pt x="31" y="337"/>
                        <a:pt x="31" y="337"/>
                      </a:cubicBezTo>
                      <a:cubicBezTo>
                        <a:pt x="34" y="340"/>
                        <a:pt x="36" y="342"/>
                        <a:pt x="39" y="344"/>
                      </a:cubicBezTo>
                      <a:cubicBezTo>
                        <a:pt x="40" y="345"/>
                        <a:pt x="40" y="345"/>
                        <a:pt x="40" y="345"/>
                      </a:cubicBezTo>
                      <a:cubicBezTo>
                        <a:pt x="40" y="345"/>
                        <a:pt x="40" y="346"/>
                        <a:pt x="40" y="346"/>
                      </a:cubicBezTo>
                      <a:cubicBezTo>
                        <a:pt x="40" y="347"/>
                        <a:pt x="40" y="347"/>
                        <a:pt x="40" y="347"/>
                      </a:cubicBezTo>
                      <a:cubicBezTo>
                        <a:pt x="40" y="348"/>
                        <a:pt x="40" y="348"/>
                        <a:pt x="40" y="349"/>
                      </a:cubicBezTo>
                      <a:cubicBezTo>
                        <a:pt x="39" y="351"/>
                        <a:pt x="38" y="352"/>
                        <a:pt x="38" y="354"/>
                      </a:cubicBezTo>
                      <a:cubicBezTo>
                        <a:pt x="38" y="359"/>
                        <a:pt x="40" y="362"/>
                        <a:pt x="41" y="366"/>
                      </a:cubicBezTo>
                      <a:cubicBezTo>
                        <a:pt x="41" y="367"/>
                        <a:pt x="41" y="367"/>
                        <a:pt x="41" y="367"/>
                      </a:cubicBezTo>
                      <a:cubicBezTo>
                        <a:pt x="42" y="369"/>
                        <a:pt x="44" y="372"/>
                        <a:pt x="45" y="374"/>
                      </a:cubicBezTo>
                      <a:cubicBezTo>
                        <a:pt x="46" y="377"/>
                        <a:pt x="48" y="381"/>
                        <a:pt x="49" y="384"/>
                      </a:cubicBezTo>
                      <a:cubicBezTo>
                        <a:pt x="49" y="385"/>
                        <a:pt x="49" y="386"/>
                        <a:pt x="50" y="387"/>
                      </a:cubicBezTo>
                      <a:cubicBezTo>
                        <a:pt x="51" y="392"/>
                        <a:pt x="52" y="396"/>
                        <a:pt x="56" y="401"/>
                      </a:cubicBezTo>
                      <a:cubicBezTo>
                        <a:pt x="57" y="401"/>
                        <a:pt x="58" y="402"/>
                        <a:pt x="59" y="403"/>
                      </a:cubicBezTo>
                      <a:cubicBezTo>
                        <a:pt x="61" y="405"/>
                        <a:pt x="64" y="408"/>
                        <a:pt x="64" y="410"/>
                      </a:cubicBezTo>
                      <a:cubicBezTo>
                        <a:pt x="64" y="412"/>
                        <a:pt x="63" y="413"/>
                        <a:pt x="61" y="416"/>
                      </a:cubicBezTo>
                      <a:cubicBezTo>
                        <a:pt x="60" y="416"/>
                        <a:pt x="60" y="417"/>
                        <a:pt x="59" y="417"/>
                      </a:cubicBezTo>
                      <a:cubicBezTo>
                        <a:pt x="56" y="421"/>
                        <a:pt x="54" y="428"/>
                        <a:pt x="56" y="433"/>
                      </a:cubicBezTo>
                      <a:cubicBezTo>
                        <a:pt x="56" y="435"/>
                        <a:pt x="58" y="437"/>
                        <a:pt x="59" y="438"/>
                      </a:cubicBezTo>
                      <a:cubicBezTo>
                        <a:pt x="60" y="438"/>
                        <a:pt x="60" y="439"/>
                        <a:pt x="60" y="439"/>
                      </a:cubicBezTo>
                      <a:cubicBezTo>
                        <a:pt x="61" y="440"/>
                        <a:pt x="61" y="442"/>
                        <a:pt x="61" y="443"/>
                      </a:cubicBezTo>
                      <a:cubicBezTo>
                        <a:pt x="58" y="438"/>
                        <a:pt x="54" y="433"/>
                        <a:pt x="50" y="433"/>
                      </a:cubicBezTo>
                      <a:cubicBezTo>
                        <a:pt x="46" y="432"/>
                        <a:pt x="46" y="432"/>
                        <a:pt x="46" y="432"/>
                      </a:cubicBezTo>
                      <a:cubicBezTo>
                        <a:pt x="47" y="436"/>
                        <a:pt x="47" y="436"/>
                        <a:pt x="47" y="436"/>
                      </a:cubicBezTo>
                      <a:cubicBezTo>
                        <a:pt x="52" y="478"/>
                        <a:pt x="59" y="528"/>
                        <a:pt x="66" y="577"/>
                      </a:cubicBezTo>
                      <a:cubicBezTo>
                        <a:pt x="67" y="578"/>
                        <a:pt x="67" y="580"/>
                        <a:pt x="67" y="581"/>
                      </a:cubicBezTo>
                      <a:cubicBezTo>
                        <a:pt x="68" y="585"/>
                        <a:pt x="68" y="589"/>
                        <a:pt x="69" y="593"/>
                      </a:cubicBezTo>
                      <a:cubicBezTo>
                        <a:pt x="69" y="604"/>
                        <a:pt x="73" y="608"/>
                        <a:pt x="78" y="616"/>
                      </a:cubicBezTo>
                      <a:cubicBezTo>
                        <a:pt x="81" y="619"/>
                        <a:pt x="81" y="619"/>
                        <a:pt x="81" y="619"/>
                      </a:cubicBezTo>
                      <a:cubicBezTo>
                        <a:pt x="83" y="622"/>
                        <a:pt x="85" y="624"/>
                        <a:pt x="88" y="626"/>
                      </a:cubicBezTo>
                      <a:cubicBezTo>
                        <a:pt x="90" y="628"/>
                        <a:pt x="92" y="630"/>
                        <a:pt x="94" y="633"/>
                      </a:cubicBezTo>
                      <a:cubicBezTo>
                        <a:pt x="96" y="635"/>
                        <a:pt x="97" y="637"/>
                        <a:pt x="99" y="639"/>
                      </a:cubicBezTo>
                      <a:cubicBezTo>
                        <a:pt x="105" y="647"/>
                        <a:pt x="109" y="653"/>
                        <a:pt x="120" y="653"/>
                      </a:cubicBezTo>
                      <a:cubicBezTo>
                        <a:pt x="122" y="653"/>
                        <a:pt x="124" y="653"/>
                        <a:pt x="126" y="652"/>
                      </a:cubicBezTo>
                      <a:cubicBezTo>
                        <a:pt x="128" y="652"/>
                        <a:pt x="131" y="651"/>
                        <a:pt x="134" y="651"/>
                      </a:cubicBezTo>
                      <a:cubicBezTo>
                        <a:pt x="138" y="650"/>
                        <a:pt x="145" y="648"/>
                        <a:pt x="149" y="648"/>
                      </a:cubicBezTo>
                      <a:cubicBezTo>
                        <a:pt x="150" y="648"/>
                        <a:pt x="150" y="648"/>
                        <a:pt x="150" y="648"/>
                      </a:cubicBezTo>
                      <a:cubicBezTo>
                        <a:pt x="154" y="648"/>
                        <a:pt x="158" y="651"/>
                        <a:pt x="162" y="654"/>
                      </a:cubicBezTo>
                      <a:cubicBezTo>
                        <a:pt x="164" y="656"/>
                        <a:pt x="166" y="658"/>
                        <a:pt x="169" y="659"/>
                      </a:cubicBezTo>
                      <a:cubicBezTo>
                        <a:pt x="172" y="660"/>
                        <a:pt x="174" y="661"/>
                        <a:pt x="176" y="661"/>
                      </a:cubicBezTo>
                      <a:cubicBezTo>
                        <a:pt x="179" y="661"/>
                        <a:pt x="181" y="660"/>
                        <a:pt x="183" y="658"/>
                      </a:cubicBezTo>
                      <a:cubicBezTo>
                        <a:pt x="184" y="658"/>
                        <a:pt x="184" y="658"/>
                        <a:pt x="184" y="658"/>
                      </a:cubicBezTo>
                      <a:cubicBezTo>
                        <a:pt x="185" y="657"/>
                        <a:pt x="186" y="657"/>
                        <a:pt x="187" y="656"/>
                      </a:cubicBezTo>
                      <a:cubicBezTo>
                        <a:pt x="191" y="654"/>
                        <a:pt x="195" y="653"/>
                        <a:pt x="200" y="652"/>
                      </a:cubicBezTo>
                      <a:cubicBezTo>
                        <a:pt x="200" y="652"/>
                        <a:pt x="200" y="652"/>
                        <a:pt x="200" y="652"/>
                      </a:cubicBezTo>
                      <a:cubicBezTo>
                        <a:pt x="203" y="651"/>
                        <a:pt x="205" y="650"/>
                        <a:pt x="208" y="649"/>
                      </a:cubicBezTo>
                      <a:cubicBezTo>
                        <a:pt x="211" y="648"/>
                        <a:pt x="214" y="647"/>
                        <a:pt x="217" y="647"/>
                      </a:cubicBezTo>
                      <a:cubicBezTo>
                        <a:pt x="218" y="647"/>
                        <a:pt x="218" y="647"/>
                        <a:pt x="219" y="648"/>
                      </a:cubicBezTo>
                      <a:cubicBezTo>
                        <a:pt x="222" y="649"/>
                        <a:pt x="223" y="652"/>
                        <a:pt x="224" y="657"/>
                      </a:cubicBezTo>
                      <a:cubicBezTo>
                        <a:pt x="226" y="661"/>
                        <a:pt x="226" y="661"/>
                        <a:pt x="226" y="661"/>
                      </a:cubicBezTo>
                      <a:cubicBezTo>
                        <a:pt x="226" y="663"/>
                        <a:pt x="227" y="664"/>
                        <a:pt x="227" y="666"/>
                      </a:cubicBezTo>
                      <a:cubicBezTo>
                        <a:pt x="228" y="669"/>
                        <a:pt x="228" y="669"/>
                        <a:pt x="228" y="669"/>
                      </a:cubicBezTo>
                      <a:cubicBezTo>
                        <a:pt x="231" y="668"/>
                        <a:pt x="231" y="668"/>
                        <a:pt x="231" y="668"/>
                      </a:cubicBezTo>
                      <a:cubicBezTo>
                        <a:pt x="234" y="668"/>
                        <a:pt x="238" y="667"/>
                        <a:pt x="241" y="667"/>
                      </a:cubicBezTo>
                      <a:cubicBezTo>
                        <a:pt x="246" y="666"/>
                        <a:pt x="252" y="665"/>
                        <a:pt x="257" y="664"/>
                      </a:cubicBezTo>
                      <a:cubicBezTo>
                        <a:pt x="260" y="663"/>
                        <a:pt x="262" y="662"/>
                        <a:pt x="264" y="661"/>
                      </a:cubicBezTo>
                      <a:cubicBezTo>
                        <a:pt x="267" y="660"/>
                        <a:pt x="269" y="659"/>
                        <a:pt x="271" y="658"/>
                      </a:cubicBezTo>
                      <a:cubicBezTo>
                        <a:pt x="272" y="658"/>
                        <a:pt x="274" y="657"/>
                        <a:pt x="275" y="657"/>
                      </a:cubicBezTo>
                      <a:cubicBezTo>
                        <a:pt x="279" y="656"/>
                        <a:pt x="282" y="655"/>
                        <a:pt x="286" y="655"/>
                      </a:cubicBezTo>
                      <a:cubicBezTo>
                        <a:pt x="291" y="655"/>
                        <a:pt x="296" y="653"/>
                        <a:pt x="301" y="651"/>
                      </a:cubicBezTo>
                      <a:cubicBezTo>
                        <a:pt x="302" y="650"/>
                        <a:pt x="302" y="650"/>
                        <a:pt x="302" y="650"/>
                      </a:cubicBezTo>
                      <a:cubicBezTo>
                        <a:pt x="306" y="648"/>
                        <a:pt x="310" y="646"/>
                        <a:pt x="312" y="640"/>
                      </a:cubicBezTo>
                      <a:cubicBezTo>
                        <a:pt x="312" y="640"/>
                        <a:pt x="312" y="639"/>
                        <a:pt x="313" y="638"/>
                      </a:cubicBezTo>
                      <a:cubicBezTo>
                        <a:pt x="313" y="637"/>
                        <a:pt x="313" y="636"/>
                        <a:pt x="314" y="635"/>
                      </a:cubicBezTo>
                      <a:cubicBezTo>
                        <a:pt x="316" y="633"/>
                        <a:pt x="317" y="632"/>
                        <a:pt x="319" y="631"/>
                      </a:cubicBezTo>
                      <a:cubicBezTo>
                        <a:pt x="322" y="631"/>
                        <a:pt x="325" y="629"/>
                        <a:pt x="327" y="626"/>
                      </a:cubicBezTo>
                      <a:cubicBezTo>
                        <a:pt x="328" y="623"/>
                        <a:pt x="328" y="621"/>
                        <a:pt x="329" y="619"/>
                      </a:cubicBezTo>
                      <a:cubicBezTo>
                        <a:pt x="329" y="617"/>
                        <a:pt x="329" y="615"/>
                        <a:pt x="330" y="613"/>
                      </a:cubicBezTo>
                      <a:cubicBezTo>
                        <a:pt x="332" y="609"/>
                        <a:pt x="333" y="605"/>
                        <a:pt x="333" y="599"/>
                      </a:cubicBezTo>
                      <a:cubicBezTo>
                        <a:pt x="333" y="596"/>
                        <a:pt x="333" y="593"/>
                        <a:pt x="332" y="591"/>
                      </a:cubicBezTo>
                      <a:cubicBezTo>
                        <a:pt x="332" y="589"/>
                        <a:pt x="332" y="587"/>
                        <a:pt x="331" y="585"/>
                      </a:cubicBezTo>
                      <a:cubicBezTo>
                        <a:pt x="331" y="582"/>
                        <a:pt x="332" y="579"/>
                        <a:pt x="333" y="575"/>
                      </a:cubicBezTo>
                      <a:cubicBezTo>
                        <a:pt x="334" y="574"/>
                        <a:pt x="334" y="571"/>
                        <a:pt x="335" y="569"/>
                      </a:cubicBezTo>
                      <a:cubicBezTo>
                        <a:pt x="335" y="567"/>
                        <a:pt x="335" y="565"/>
                        <a:pt x="335" y="562"/>
                      </a:cubicBezTo>
                      <a:cubicBezTo>
                        <a:pt x="334" y="560"/>
                        <a:pt x="334" y="558"/>
                        <a:pt x="335" y="556"/>
                      </a:cubicBezTo>
                      <a:cubicBezTo>
                        <a:pt x="335" y="554"/>
                        <a:pt x="336" y="553"/>
                        <a:pt x="337" y="552"/>
                      </a:cubicBezTo>
                      <a:cubicBezTo>
                        <a:pt x="338" y="550"/>
                        <a:pt x="338" y="548"/>
                        <a:pt x="339" y="546"/>
                      </a:cubicBezTo>
                      <a:cubicBezTo>
                        <a:pt x="339" y="545"/>
                        <a:pt x="340" y="544"/>
                        <a:pt x="340" y="543"/>
                      </a:cubicBezTo>
                      <a:cubicBezTo>
                        <a:pt x="340" y="542"/>
                        <a:pt x="341" y="537"/>
                        <a:pt x="342" y="537"/>
                      </a:cubicBezTo>
                      <a:cubicBezTo>
                        <a:pt x="343" y="537"/>
                        <a:pt x="344" y="538"/>
                        <a:pt x="346" y="538"/>
                      </a:cubicBezTo>
                      <a:cubicBezTo>
                        <a:pt x="348" y="540"/>
                        <a:pt x="348" y="540"/>
                        <a:pt x="348" y="540"/>
                      </a:cubicBezTo>
                      <a:cubicBezTo>
                        <a:pt x="350" y="538"/>
                        <a:pt x="350" y="538"/>
                        <a:pt x="350" y="538"/>
                      </a:cubicBezTo>
                      <a:cubicBezTo>
                        <a:pt x="351" y="536"/>
                        <a:pt x="352" y="535"/>
                        <a:pt x="354" y="534"/>
                      </a:cubicBezTo>
                      <a:cubicBezTo>
                        <a:pt x="355" y="532"/>
                        <a:pt x="357" y="530"/>
                        <a:pt x="358" y="528"/>
                      </a:cubicBezTo>
                      <a:cubicBezTo>
                        <a:pt x="361" y="524"/>
                        <a:pt x="360" y="520"/>
                        <a:pt x="359" y="517"/>
                      </a:cubicBezTo>
                      <a:cubicBezTo>
                        <a:pt x="358" y="514"/>
                        <a:pt x="357" y="511"/>
                        <a:pt x="359" y="509"/>
                      </a:cubicBezTo>
                      <a:cubicBezTo>
                        <a:pt x="361" y="506"/>
                        <a:pt x="376" y="499"/>
                        <a:pt x="379" y="499"/>
                      </a:cubicBezTo>
                      <a:cubicBezTo>
                        <a:pt x="380" y="499"/>
                        <a:pt x="380" y="499"/>
                        <a:pt x="381" y="499"/>
                      </a:cubicBezTo>
                      <a:cubicBezTo>
                        <a:pt x="382" y="499"/>
                        <a:pt x="383" y="499"/>
                        <a:pt x="384" y="500"/>
                      </a:cubicBezTo>
                      <a:cubicBezTo>
                        <a:pt x="384" y="500"/>
                        <a:pt x="385" y="500"/>
                        <a:pt x="386" y="500"/>
                      </a:cubicBezTo>
                      <a:cubicBezTo>
                        <a:pt x="387" y="500"/>
                        <a:pt x="388" y="500"/>
                        <a:pt x="389" y="499"/>
                      </a:cubicBezTo>
                      <a:cubicBezTo>
                        <a:pt x="390" y="499"/>
                        <a:pt x="391" y="498"/>
                        <a:pt x="394" y="495"/>
                      </a:cubicBezTo>
                      <a:cubicBezTo>
                        <a:pt x="395" y="494"/>
                        <a:pt x="396" y="493"/>
                        <a:pt x="397" y="493"/>
                      </a:cubicBezTo>
                      <a:cubicBezTo>
                        <a:pt x="402" y="489"/>
                        <a:pt x="407" y="486"/>
                        <a:pt x="412" y="484"/>
                      </a:cubicBezTo>
                      <a:cubicBezTo>
                        <a:pt x="414" y="484"/>
                        <a:pt x="414" y="484"/>
                        <a:pt x="414" y="484"/>
                      </a:cubicBezTo>
                      <a:cubicBezTo>
                        <a:pt x="414" y="482"/>
                        <a:pt x="414" y="482"/>
                        <a:pt x="414" y="482"/>
                      </a:cubicBezTo>
                      <a:cubicBezTo>
                        <a:pt x="414" y="482"/>
                        <a:pt x="414" y="481"/>
                        <a:pt x="414" y="481"/>
                      </a:cubicBezTo>
                      <a:cubicBezTo>
                        <a:pt x="414" y="481"/>
                        <a:pt x="415" y="481"/>
                        <a:pt x="415" y="481"/>
                      </a:cubicBezTo>
                      <a:cubicBezTo>
                        <a:pt x="416" y="481"/>
                        <a:pt x="417" y="481"/>
                        <a:pt x="417" y="482"/>
                      </a:cubicBezTo>
                      <a:cubicBezTo>
                        <a:pt x="418" y="482"/>
                        <a:pt x="419" y="482"/>
                        <a:pt x="420" y="482"/>
                      </a:cubicBezTo>
                      <a:cubicBezTo>
                        <a:pt x="424" y="482"/>
                        <a:pt x="428" y="481"/>
                        <a:pt x="431" y="480"/>
                      </a:cubicBezTo>
                      <a:cubicBezTo>
                        <a:pt x="436" y="478"/>
                        <a:pt x="438" y="474"/>
                        <a:pt x="440" y="471"/>
                      </a:cubicBezTo>
                      <a:cubicBezTo>
                        <a:pt x="441" y="470"/>
                        <a:pt x="441" y="470"/>
                        <a:pt x="441" y="470"/>
                      </a:cubicBezTo>
                      <a:cubicBezTo>
                        <a:pt x="441" y="469"/>
                        <a:pt x="441" y="469"/>
                        <a:pt x="442" y="468"/>
                      </a:cubicBezTo>
                      <a:cubicBezTo>
                        <a:pt x="442" y="467"/>
                        <a:pt x="443" y="466"/>
                        <a:pt x="444" y="465"/>
                      </a:cubicBezTo>
                      <a:cubicBezTo>
                        <a:pt x="444" y="464"/>
                        <a:pt x="444" y="464"/>
                        <a:pt x="444" y="464"/>
                      </a:cubicBezTo>
                      <a:cubicBezTo>
                        <a:pt x="445" y="463"/>
                        <a:pt x="445" y="462"/>
                        <a:pt x="445" y="461"/>
                      </a:cubicBezTo>
                      <a:cubicBezTo>
                        <a:pt x="446" y="461"/>
                        <a:pt x="446" y="460"/>
                        <a:pt x="447" y="459"/>
                      </a:cubicBezTo>
                      <a:cubicBezTo>
                        <a:pt x="447" y="459"/>
                        <a:pt x="447" y="458"/>
                        <a:pt x="448" y="457"/>
                      </a:cubicBezTo>
                      <a:cubicBezTo>
                        <a:pt x="448" y="457"/>
                        <a:pt x="448" y="457"/>
                        <a:pt x="449" y="456"/>
                      </a:cubicBezTo>
                      <a:cubicBezTo>
                        <a:pt x="449" y="456"/>
                        <a:pt x="450" y="455"/>
                        <a:pt x="450" y="454"/>
                      </a:cubicBezTo>
                      <a:cubicBezTo>
                        <a:pt x="452" y="452"/>
                        <a:pt x="452" y="449"/>
                        <a:pt x="451" y="445"/>
                      </a:cubicBezTo>
                      <a:cubicBezTo>
                        <a:pt x="451" y="442"/>
                        <a:pt x="449" y="439"/>
                        <a:pt x="446" y="436"/>
                      </a:cubicBezTo>
                      <a:cubicBezTo>
                        <a:pt x="442" y="430"/>
                        <a:pt x="435" y="427"/>
                        <a:pt x="427" y="427"/>
                      </a:cubicBezTo>
                      <a:cubicBezTo>
                        <a:pt x="416" y="427"/>
                        <a:pt x="403" y="433"/>
                        <a:pt x="397" y="437"/>
                      </a:cubicBezTo>
                      <a:cubicBezTo>
                        <a:pt x="380" y="446"/>
                        <a:pt x="367" y="460"/>
                        <a:pt x="357" y="471"/>
                      </a:cubicBezTo>
                      <a:cubicBezTo>
                        <a:pt x="347" y="482"/>
                        <a:pt x="339" y="493"/>
                        <a:pt x="333" y="504"/>
                      </a:cubicBezTo>
                      <a:cubicBezTo>
                        <a:pt x="332" y="506"/>
                        <a:pt x="332" y="506"/>
                        <a:pt x="332" y="506"/>
                      </a:cubicBezTo>
                      <a:cubicBezTo>
                        <a:pt x="330" y="510"/>
                        <a:pt x="327" y="515"/>
                        <a:pt x="326" y="520"/>
                      </a:cubicBezTo>
                      <a:cubicBezTo>
                        <a:pt x="324" y="527"/>
                        <a:pt x="322" y="533"/>
                        <a:pt x="319" y="540"/>
                      </a:cubicBezTo>
                      <a:cubicBezTo>
                        <a:pt x="317" y="543"/>
                        <a:pt x="316" y="546"/>
                        <a:pt x="315" y="549"/>
                      </a:cubicBezTo>
                      <a:cubicBezTo>
                        <a:pt x="314" y="554"/>
                        <a:pt x="312" y="558"/>
                        <a:pt x="309" y="562"/>
                      </a:cubicBezTo>
                      <a:cubicBezTo>
                        <a:pt x="309" y="562"/>
                        <a:pt x="309" y="562"/>
                        <a:pt x="309" y="562"/>
                      </a:cubicBezTo>
                      <a:cubicBezTo>
                        <a:pt x="308" y="563"/>
                        <a:pt x="307" y="565"/>
                        <a:pt x="306" y="565"/>
                      </a:cubicBezTo>
                      <a:cubicBezTo>
                        <a:pt x="306" y="566"/>
                        <a:pt x="305" y="566"/>
                        <a:pt x="305" y="566"/>
                      </a:cubicBezTo>
                      <a:cubicBezTo>
                        <a:pt x="303" y="567"/>
                        <a:pt x="302" y="567"/>
                        <a:pt x="301" y="568"/>
                      </a:cubicBezTo>
                      <a:cubicBezTo>
                        <a:pt x="301" y="568"/>
                        <a:pt x="301" y="568"/>
                        <a:pt x="302" y="567"/>
                      </a:cubicBezTo>
                      <a:cubicBezTo>
                        <a:pt x="302" y="567"/>
                        <a:pt x="302" y="566"/>
                        <a:pt x="303" y="566"/>
                      </a:cubicBezTo>
                      <a:cubicBezTo>
                        <a:pt x="303" y="565"/>
                        <a:pt x="303" y="564"/>
                        <a:pt x="304" y="564"/>
                      </a:cubicBezTo>
                      <a:cubicBezTo>
                        <a:pt x="305" y="563"/>
                        <a:pt x="308" y="562"/>
                        <a:pt x="308" y="558"/>
                      </a:cubicBezTo>
                      <a:cubicBezTo>
                        <a:pt x="308" y="557"/>
                        <a:pt x="308" y="556"/>
                        <a:pt x="308" y="554"/>
                      </a:cubicBezTo>
                      <a:cubicBezTo>
                        <a:pt x="308" y="553"/>
                        <a:pt x="308" y="551"/>
                        <a:pt x="308" y="550"/>
                      </a:cubicBezTo>
                      <a:cubicBezTo>
                        <a:pt x="308" y="549"/>
                        <a:pt x="309" y="548"/>
                        <a:pt x="309" y="547"/>
                      </a:cubicBezTo>
                      <a:cubicBezTo>
                        <a:pt x="310" y="545"/>
                        <a:pt x="310" y="543"/>
                        <a:pt x="311" y="541"/>
                      </a:cubicBezTo>
                      <a:cubicBezTo>
                        <a:pt x="312" y="540"/>
                        <a:pt x="312" y="539"/>
                        <a:pt x="312" y="539"/>
                      </a:cubicBezTo>
                      <a:cubicBezTo>
                        <a:pt x="313" y="538"/>
                        <a:pt x="313" y="537"/>
                        <a:pt x="314" y="536"/>
                      </a:cubicBezTo>
                      <a:cubicBezTo>
                        <a:pt x="314" y="536"/>
                        <a:pt x="314" y="536"/>
                        <a:pt x="314" y="536"/>
                      </a:cubicBezTo>
                      <a:cubicBezTo>
                        <a:pt x="315" y="536"/>
                        <a:pt x="316" y="535"/>
                        <a:pt x="316" y="535"/>
                      </a:cubicBezTo>
                      <a:cubicBezTo>
                        <a:pt x="317" y="534"/>
                        <a:pt x="317" y="533"/>
                        <a:pt x="318" y="532"/>
                      </a:cubicBezTo>
                      <a:cubicBezTo>
                        <a:pt x="318" y="532"/>
                        <a:pt x="318" y="532"/>
                        <a:pt x="318" y="532"/>
                      </a:cubicBezTo>
                      <a:cubicBezTo>
                        <a:pt x="320" y="527"/>
                        <a:pt x="320" y="523"/>
                        <a:pt x="321" y="519"/>
                      </a:cubicBezTo>
                      <a:cubicBezTo>
                        <a:pt x="321" y="517"/>
                        <a:pt x="321" y="514"/>
                        <a:pt x="322" y="512"/>
                      </a:cubicBezTo>
                      <a:cubicBezTo>
                        <a:pt x="322" y="510"/>
                        <a:pt x="323" y="509"/>
                        <a:pt x="324" y="507"/>
                      </a:cubicBezTo>
                      <a:cubicBezTo>
                        <a:pt x="325" y="507"/>
                        <a:pt x="325" y="506"/>
                        <a:pt x="325" y="505"/>
                      </a:cubicBezTo>
                      <a:cubicBezTo>
                        <a:pt x="328" y="502"/>
                        <a:pt x="328" y="497"/>
                        <a:pt x="328" y="493"/>
                      </a:cubicBezTo>
                      <a:cubicBezTo>
                        <a:pt x="328" y="491"/>
                        <a:pt x="328" y="489"/>
                        <a:pt x="329" y="486"/>
                      </a:cubicBezTo>
                      <a:cubicBezTo>
                        <a:pt x="331" y="479"/>
                        <a:pt x="335" y="473"/>
                        <a:pt x="339" y="468"/>
                      </a:cubicBezTo>
                      <a:cubicBezTo>
                        <a:pt x="340" y="466"/>
                        <a:pt x="342" y="464"/>
                        <a:pt x="344" y="462"/>
                      </a:cubicBezTo>
                      <a:cubicBezTo>
                        <a:pt x="346" y="460"/>
                        <a:pt x="348" y="458"/>
                        <a:pt x="350" y="457"/>
                      </a:cubicBezTo>
                      <a:cubicBezTo>
                        <a:pt x="352" y="455"/>
                        <a:pt x="354" y="453"/>
                        <a:pt x="356" y="452"/>
                      </a:cubicBezTo>
                      <a:cubicBezTo>
                        <a:pt x="357" y="451"/>
                        <a:pt x="358" y="450"/>
                        <a:pt x="360" y="449"/>
                      </a:cubicBezTo>
                      <a:cubicBezTo>
                        <a:pt x="361" y="449"/>
                        <a:pt x="364" y="447"/>
                        <a:pt x="365" y="444"/>
                      </a:cubicBezTo>
                      <a:cubicBezTo>
                        <a:pt x="365" y="443"/>
                        <a:pt x="365" y="442"/>
                        <a:pt x="365" y="441"/>
                      </a:cubicBezTo>
                      <a:cubicBezTo>
                        <a:pt x="365" y="441"/>
                        <a:pt x="365" y="441"/>
                        <a:pt x="365" y="440"/>
                      </a:cubicBezTo>
                      <a:cubicBezTo>
                        <a:pt x="365" y="439"/>
                        <a:pt x="365" y="437"/>
                        <a:pt x="365" y="435"/>
                      </a:cubicBezTo>
                      <a:cubicBezTo>
                        <a:pt x="365" y="433"/>
                        <a:pt x="365" y="431"/>
                        <a:pt x="365" y="429"/>
                      </a:cubicBezTo>
                      <a:cubicBezTo>
                        <a:pt x="365" y="426"/>
                        <a:pt x="365" y="423"/>
                        <a:pt x="366" y="420"/>
                      </a:cubicBezTo>
                      <a:cubicBezTo>
                        <a:pt x="367" y="416"/>
                        <a:pt x="369" y="413"/>
                        <a:pt x="372" y="411"/>
                      </a:cubicBezTo>
                      <a:cubicBezTo>
                        <a:pt x="373" y="410"/>
                        <a:pt x="373" y="410"/>
                        <a:pt x="373" y="410"/>
                      </a:cubicBezTo>
                      <a:cubicBezTo>
                        <a:pt x="373" y="409"/>
                        <a:pt x="374" y="408"/>
                        <a:pt x="375" y="408"/>
                      </a:cubicBezTo>
                      <a:cubicBezTo>
                        <a:pt x="377" y="407"/>
                        <a:pt x="379" y="407"/>
                        <a:pt x="381" y="406"/>
                      </a:cubicBezTo>
                      <a:cubicBezTo>
                        <a:pt x="383" y="404"/>
                        <a:pt x="385" y="403"/>
                        <a:pt x="388" y="401"/>
                      </a:cubicBezTo>
                      <a:cubicBezTo>
                        <a:pt x="389" y="400"/>
                        <a:pt x="389" y="400"/>
                        <a:pt x="389" y="400"/>
                      </a:cubicBezTo>
                      <a:cubicBezTo>
                        <a:pt x="391" y="399"/>
                        <a:pt x="393" y="398"/>
                        <a:pt x="395" y="397"/>
                      </a:cubicBezTo>
                      <a:cubicBezTo>
                        <a:pt x="396" y="395"/>
                        <a:pt x="396" y="395"/>
                        <a:pt x="397" y="395"/>
                      </a:cubicBezTo>
                      <a:cubicBezTo>
                        <a:pt x="401" y="394"/>
                        <a:pt x="405" y="393"/>
                        <a:pt x="409" y="392"/>
                      </a:cubicBezTo>
                      <a:cubicBezTo>
                        <a:pt x="410" y="391"/>
                        <a:pt x="411" y="391"/>
                        <a:pt x="412" y="390"/>
                      </a:cubicBezTo>
                      <a:cubicBezTo>
                        <a:pt x="413" y="390"/>
                        <a:pt x="413" y="390"/>
                        <a:pt x="414" y="389"/>
                      </a:cubicBezTo>
                      <a:cubicBezTo>
                        <a:pt x="415" y="389"/>
                        <a:pt x="415" y="389"/>
                        <a:pt x="416" y="388"/>
                      </a:cubicBezTo>
                      <a:cubicBezTo>
                        <a:pt x="417" y="388"/>
                        <a:pt x="418" y="388"/>
                        <a:pt x="418" y="387"/>
                      </a:cubicBezTo>
                      <a:cubicBezTo>
                        <a:pt x="419" y="387"/>
                        <a:pt x="420" y="387"/>
                        <a:pt x="421" y="387"/>
                      </a:cubicBezTo>
                      <a:cubicBezTo>
                        <a:pt x="422" y="387"/>
                        <a:pt x="422" y="387"/>
                        <a:pt x="422" y="387"/>
                      </a:cubicBezTo>
                      <a:cubicBezTo>
                        <a:pt x="423" y="386"/>
                        <a:pt x="424" y="386"/>
                        <a:pt x="426" y="386"/>
                      </a:cubicBezTo>
                      <a:cubicBezTo>
                        <a:pt x="428" y="385"/>
                        <a:pt x="429" y="384"/>
                        <a:pt x="431" y="383"/>
                      </a:cubicBezTo>
                      <a:cubicBezTo>
                        <a:pt x="431" y="383"/>
                        <a:pt x="432" y="383"/>
                        <a:pt x="432" y="382"/>
                      </a:cubicBezTo>
                      <a:cubicBezTo>
                        <a:pt x="433" y="382"/>
                        <a:pt x="434" y="383"/>
                        <a:pt x="435" y="383"/>
                      </a:cubicBezTo>
                      <a:cubicBezTo>
                        <a:pt x="435" y="383"/>
                        <a:pt x="436" y="383"/>
                        <a:pt x="436" y="383"/>
                      </a:cubicBezTo>
                      <a:cubicBezTo>
                        <a:pt x="439" y="383"/>
                        <a:pt x="442" y="381"/>
                        <a:pt x="444" y="380"/>
                      </a:cubicBezTo>
                      <a:cubicBezTo>
                        <a:pt x="445" y="380"/>
                        <a:pt x="447" y="379"/>
                        <a:pt x="449" y="377"/>
                      </a:cubicBezTo>
                      <a:cubicBezTo>
                        <a:pt x="449" y="377"/>
                        <a:pt x="450" y="376"/>
                        <a:pt x="450" y="376"/>
                      </a:cubicBezTo>
                      <a:cubicBezTo>
                        <a:pt x="450" y="376"/>
                        <a:pt x="450" y="375"/>
                        <a:pt x="451" y="375"/>
                      </a:cubicBezTo>
                      <a:cubicBezTo>
                        <a:pt x="451" y="375"/>
                        <a:pt x="451" y="375"/>
                        <a:pt x="452" y="375"/>
                      </a:cubicBezTo>
                      <a:cubicBezTo>
                        <a:pt x="453" y="375"/>
                        <a:pt x="453" y="375"/>
                        <a:pt x="454" y="375"/>
                      </a:cubicBezTo>
                      <a:cubicBezTo>
                        <a:pt x="455" y="374"/>
                        <a:pt x="455" y="374"/>
                        <a:pt x="456" y="374"/>
                      </a:cubicBezTo>
                      <a:cubicBezTo>
                        <a:pt x="457" y="373"/>
                        <a:pt x="458" y="373"/>
                        <a:pt x="459" y="373"/>
                      </a:cubicBezTo>
                      <a:cubicBezTo>
                        <a:pt x="460" y="372"/>
                        <a:pt x="461" y="372"/>
                        <a:pt x="463" y="371"/>
                      </a:cubicBezTo>
                      <a:cubicBezTo>
                        <a:pt x="463" y="371"/>
                        <a:pt x="464" y="371"/>
                        <a:pt x="464" y="370"/>
                      </a:cubicBezTo>
                      <a:cubicBezTo>
                        <a:pt x="465" y="370"/>
                        <a:pt x="465" y="370"/>
                        <a:pt x="466" y="370"/>
                      </a:cubicBezTo>
                      <a:cubicBezTo>
                        <a:pt x="467" y="370"/>
                        <a:pt x="468" y="369"/>
                        <a:pt x="469" y="369"/>
                      </a:cubicBezTo>
                      <a:cubicBezTo>
                        <a:pt x="469" y="369"/>
                        <a:pt x="470" y="368"/>
                        <a:pt x="471" y="368"/>
                      </a:cubicBezTo>
                      <a:cubicBezTo>
                        <a:pt x="472" y="368"/>
                        <a:pt x="472" y="368"/>
                        <a:pt x="472" y="368"/>
                      </a:cubicBezTo>
                      <a:cubicBezTo>
                        <a:pt x="473" y="367"/>
                        <a:pt x="474" y="367"/>
                        <a:pt x="475" y="366"/>
                      </a:cubicBezTo>
                      <a:cubicBezTo>
                        <a:pt x="476" y="366"/>
                        <a:pt x="476" y="365"/>
                        <a:pt x="477" y="365"/>
                      </a:cubicBezTo>
                      <a:cubicBezTo>
                        <a:pt x="477" y="365"/>
                        <a:pt x="477" y="365"/>
                        <a:pt x="477" y="365"/>
                      </a:cubicBezTo>
                      <a:cubicBezTo>
                        <a:pt x="478" y="365"/>
                        <a:pt x="479" y="365"/>
                        <a:pt x="480" y="366"/>
                      </a:cubicBezTo>
                      <a:cubicBezTo>
                        <a:pt x="481" y="366"/>
                        <a:pt x="482" y="366"/>
                        <a:pt x="484" y="366"/>
                      </a:cubicBezTo>
                      <a:cubicBezTo>
                        <a:pt x="485" y="366"/>
                        <a:pt x="486" y="366"/>
                        <a:pt x="486" y="366"/>
                      </a:cubicBezTo>
                      <a:cubicBezTo>
                        <a:pt x="489" y="365"/>
                        <a:pt x="491" y="363"/>
                        <a:pt x="492" y="361"/>
                      </a:cubicBezTo>
                      <a:cubicBezTo>
                        <a:pt x="493" y="361"/>
                        <a:pt x="493" y="361"/>
                        <a:pt x="493" y="361"/>
                      </a:cubicBezTo>
                      <a:cubicBezTo>
                        <a:pt x="495" y="359"/>
                        <a:pt x="497" y="357"/>
                        <a:pt x="499" y="356"/>
                      </a:cubicBezTo>
                      <a:cubicBezTo>
                        <a:pt x="499" y="356"/>
                        <a:pt x="500" y="356"/>
                        <a:pt x="501" y="355"/>
                      </a:cubicBezTo>
                      <a:cubicBezTo>
                        <a:pt x="502" y="355"/>
                        <a:pt x="503" y="355"/>
                        <a:pt x="504" y="354"/>
                      </a:cubicBezTo>
                      <a:cubicBezTo>
                        <a:pt x="505" y="353"/>
                        <a:pt x="506" y="352"/>
                        <a:pt x="507" y="351"/>
                      </a:cubicBezTo>
                      <a:cubicBezTo>
                        <a:pt x="508" y="350"/>
                        <a:pt x="510" y="349"/>
                        <a:pt x="511" y="349"/>
                      </a:cubicBezTo>
                      <a:cubicBezTo>
                        <a:pt x="512" y="348"/>
                        <a:pt x="513" y="348"/>
                        <a:pt x="514" y="348"/>
                      </a:cubicBezTo>
                      <a:cubicBezTo>
                        <a:pt x="516" y="348"/>
                        <a:pt x="517" y="348"/>
                        <a:pt x="519" y="348"/>
                      </a:cubicBezTo>
                      <a:cubicBezTo>
                        <a:pt x="523" y="346"/>
                        <a:pt x="523" y="343"/>
                        <a:pt x="524" y="341"/>
                      </a:cubicBezTo>
                      <a:cubicBezTo>
                        <a:pt x="524" y="341"/>
                        <a:pt x="524" y="339"/>
                        <a:pt x="524" y="338"/>
                      </a:cubicBezTo>
                      <a:cubicBezTo>
                        <a:pt x="524" y="337"/>
                        <a:pt x="524" y="336"/>
                        <a:pt x="524" y="335"/>
                      </a:cubicBezTo>
                      <a:cubicBezTo>
                        <a:pt x="525" y="332"/>
                        <a:pt x="526" y="329"/>
                        <a:pt x="527" y="326"/>
                      </a:cubicBezTo>
                      <a:cubicBezTo>
                        <a:pt x="528" y="323"/>
                        <a:pt x="529" y="321"/>
                        <a:pt x="530" y="318"/>
                      </a:cubicBezTo>
                      <a:cubicBezTo>
                        <a:pt x="531" y="315"/>
                        <a:pt x="532" y="313"/>
                        <a:pt x="532" y="311"/>
                      </a:cubicBezTo>
                      <a:cubicBezTo>
                        <a:pt x="532" y="309"/>
                        <a:pt x="532" y="309"/>
                        <a:pt x="532" y="309"/>
                      </a:cubicBezTo>
                      <a:cubicBezTo>
                        <a:pt x="533" y="308"/>
                        <a:pt x="533" y="307"/>
                        <a:pt x="533" y="306"/>
                      </a:cubicBezTo>
                      <a:cubicBezTo>
                        <a:pt x="534" y="305"/>
                        <a:pt x="534" y="304"/>
                        <a:pt x="534" y="303"/>
                      </a:cubicBezTo>
                      <a:cubicBezTo>
                        <a:pt x="535" y="301"/>
                        <a:pt x="535" y="300"/>
                        <a:pt x="535" y="298"/>
                      </a:cubicBezTo>
                      <a:cubicBezTo>
                        <a:pt x="535" y="297"/>
                        <a:pt x="536" y="296"/>
                        <a:pt x="536" y="295"/>
                      </a:cubicBezTo>
                      <a:cubicBezTo>
                        <a:pt x="536" y="295"/>
                        <a:pt x="536" y="294"/>
                        <a:pt x="536" y="293"/>
                      </a:cubicBezTo>
                      <a:cubicBezTo>
                        <a:pt x="536" y="291"/>
                        <a:pt x="537" y="290"/>
                        <a:pt x="538" y="289"/>
                      </a:cubicBezTo>
                      <a:cubicBezTo>
                        <a:pt x="539" y="288"/>
                        <a:pt x="540" y="287"/>
                        <a:pt x="541" y="287"/>
                      </a:cubicBezTo>
                      <a:cubicBezTo>
                        <a:pt x="544" y="286"/>
                        <a:pt x="545" y="283"/>
                        <a:pt x="547" y="281"/>
                      </a:cubicBezTo>
                      <a:cubicBezTo>
                        <a:pt x="547" y="281"/>
                        <a:pt x="547" y="280"/>
                        <a:pt x="547" y="280"/>
                      </a:cubicBezTo>
                      <a:cubicBezTo>
                        <a:pt x="549" y="277"/>
                        <a:pt x="551" y="274"/>
                        <a:pt x="553" y="272"/>
                      </a:cubicBezTo>
                      <a:cubicBezTo>
                        <a:pt x="555" y="270"/>
                        <a:pt x="557" y="269"/>
                        <a:pt x="559" y="267"/>
                      </a:cubicBezTo>
                      <a:cubicBezTo>
                        <a:pt x="562" y="266"/>
                        <a:pt x="562" y="266"/>
                        <a:pt x="562" y="266"/>
                      </a:cubicBezTo>
                      <a:lnTo>
                        <a:pt x="551" y="246"/>
                      </a:ln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7" name="Freeform 68">
                  <a:extLst>
                    <a:ext uri="{FF2B5EF4-FFF2-40B4-BE49-F238E27FC236}">
                      <a16:creationId xmlns:a16="http://schemas.microsoft.com/office/drawing/2014/main" id="{A36AAAF7-39E4-2441-B58D-FAE2601294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398486" y="8148830"/>
                  <a:ext cx="82070" cy="78396"/>
                </a:xfrm>
                <a:custGeom>
                  <a:avLst/>
                  <a:gdLst>
                    <a:gd name="T0" fmla="*/ 13 w 15"/>
                    <a:gd name="T1" fmla="*/ 2 h 16"/>
                    <a:gd name="T2" fmla="*/ 9 w 15"/>
                    <a:gd name="T3" fmla="*/ 0 h 16"/>
                    <a:gd name="T4" fmla="*/ 5 w 15"/>
                    <a:gd name="T5" fmla="*/ 0 h 16"/>
                    <a:gd name="T6" fmla="*/ 0 w 15"/>
                    <a:gd name="T7" fmla="*/ 8 h 16"/>
                    <a:gd name="T8" fmla="*/ 5 w 15"/>
                    <a:gd name="T9" fmla="*/ 15 h 16"/>
                    <a:gd name="T10" fmla="*/ 8 w 15"/>
                    <a:gd name="T11" fmla="*/ 16 h 16"/>
                    <a:gd name="T12" fmla="*/ 15 w 15"/>
                    <a:gd name="T13" fmla="*/ 8 h 16"/>
                    <a:gd name="T14" fmla="*/ 13 w 15"/>
                    <a:gd name="T15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6">
                      <a:moveTo>
                        <a:pt x="13" y="2"/>
                      </a:moveTo>
                      <a:cubicBezTo>
                        <a:pt x="12" y="0"/>
                        <a:pt x="10" y="0"/>
                        <a:pt x="9" y="0"/>
                      </a:cubicBezTo>
                      <a:cubicBezTo>
                        <a:pt x="8" y="0"/>
                        <a:pt x="7" y="0"/>
                        <a:pt x="5" y="0"/>
                      </a:cubicBezTo>
                      <a:cubicBezTo>
                        <a:pt x="2" y="2"/>
                        <a:pt x="0" y="5"/>
                        <a:pt x="0" y="8"/>
                      </a:cubicBezTo>
                      <a:cubicBezTo>
                        <a:pt x="0" y="11"/>
                        <a:pt x="2" y="14"/>
                        <a:pt x="5" y="15"/>
                      </a:cubicBezTo>
                      <a:cubicBezTo>
                        <a:pt x="6" y="16"/>
                        <a:pt x="7" y="16"/>
                        <a:pt x="8" y="16"/>
                      </a:cubicBezTo>
                      <a:cubicBezTo>
                        <a:pt x="11" y="16"/>
                        <a:pt x="14" y="14"/>
                        <a:pt x="15" y="8"/>
                      </a:cubicBezTo>
                      <a:cubicBezTo>
                        <a:pt x="15" y="6"/>
                        <a:pt x="15" y="3"/>
                        <a:pt x="13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8" name="Freeform 73">
                  <a:extLst>
                    <a:ext uri="{FF2B5EF4-FFF2-40B4-BE49-F238E27FC236}">
                      <a16:creationId xmlns:a16="http://schemas.microsoft.com/office/drawing/2014/main" id="{1611425B-9D8A-FB4C-A4D0-4003902511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84477" y="4790871"/>
                  <a:ext cx="77966" cy="59730"/>
                </a:xfrm>
                <a:custGeom>
                  <a:avLst/>
                  <a:gdLst>
                    <a:gd name="T0" fmla="*/ 7 w 14"/>
                    <a:gd name="T1" fmla="*/ 0 h 12"/>
                    <a:gd name="T2" fmla="*/ 1 w 14"/>
                    <a:gd name="T3" fmla="*/ 3 h 12"/>
                    <a:gd name="T4" fmla="*/ 3 w 14"/>
                    <a:gd name="T5" fmla="*/ 9 h 12"/>
                    <a:gd name="T6" fmla="*/ 7 w 14"/>
                    <a:gd name="T7" fmla="*/ 11 h 12"/>
                    <a:gd name="T8" fmla="*/ 9 w 14"/>
                    <a:gd name="T9" fmla="*/ 12 h 12"/>
                    <a:gd name="T10" fmla="*/ 9 w 14"/>
                    <a:gd name="T11" fmla="*/ 12 h 12"/>
                    <a:gd name="T12" fmla="*/ 13 w 14"/>
                    <a:gd name="T13" fmla="*/ 10 h 12"/>
                    <a:gd name="T14" fmla="*/ 14 w 14"/>
                    <a:gd name="T15" fmla="*/ 6 h 12"/>
                    <a:gd name="T16" fmla="*/ 7 w 14"/>
                    <a:gd name="T17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12">
                      <a:moveTo>
                        <a:pt x="7" y="0"/>
                      </a:moveTo>
                      <a:cubicBezTo>
                        <a:pt x="4" y="0"/>
                        <a:pt x="2" y="1"/>
                        <a:pt x="1" y="3"/>
                      </a:cubicBezTo>
                      <a:cubicBezTo>
                        <a:pt x="1" y="4"/>
                        <a:pt x="0" y="6"/>
                        <a:pt x="3" y="9"/>
                      </a:cubicBezTo>
                      <a:cubicBezTo>
                        <a:pt x="4" y="10"/>
                        <a:pt x="5" y="10"/>
                        <a:pt x="7" y="11"/>
                      </a:cubicBezTo>
                      <a:cubicBezTo>
                        <a:pt x="8" y="11"/>
                        <a:pt x="9" y="12"/>
                        <a:pt x="9" y="12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11" y="12"/>
                        <a:pt x="12" y="11"/>
                        <a:pt x="13" y="10"/>
                      </a:cubicBezTo>
                      <a:cubicBezTo>
                        <a:pt x="14" y="9"/>
                        <a:pt x="14" y="8"/>
                        <a:pt x="14" y="6"/>
                      </a:cubicBezTo>
                      <a:cubicBezTo>
                        <a:pt x="14" y="2"/>
                        <a:pt x="11" y="0"/>
                        <a:pt x="7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9" name="Freeform 74">
                  <a:extLst>
                    <a:ext uri="{FF2B5EF4-FFF2-40B4-BE49-F238E27FC236}">
                      <a16:creationId xmlns:a16="http://schemas.microsoft.com/office/drawing/2014/main" id="{E063478D-2099-E54A-92BF-8D53294B8F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98748" y="5138053"/>
                  <a:ext cx="82070" cy="134393"/>
                </a:xfrm>
                <a:custGeom>
                  <a:avLst/>
                  <a:gdLst>
                    <a:gd name="T0" fmla="*/ 15 w 15"/>
                    <a:gd name="T1" fmla="*/ 7 h 27"/>
                    <a:gd name="T2" fmla="*/ 8 w 15"/>
                    <a:gd name="T3" fmla="*/ 0 h 27"/>
                    <a:gd name="T4" fmla="*/ 7 w 15"/>
                    <a:gd name="T5" fmla="*/ 0 h 27"/>
                    <a:gd name="T6" fmla="*/ 2 w 15"/>
                    <a:gd name="T7" fmla="*/ 6 h 27"/>
                    <a:gd name="T8" fmla="*/ 1 w 15"/>
                    <a:gd name="T9" fmla="*/ 7 h 27"/>
                    <a:gd name="T10" fmla="*/ 1 w 15"/>
                    <a:gd name="T11" fmla="*/ 8 h 27"/>
                    <a:gd name="T12" fmla="*/ 0 w 15"/>
                    <a:gd name="T13" fmla="*/ 13 h 27"/>
                    <a:gd name="T14" fmla="*/ 0 w 15"/>
                    <a:gd name="T15" fmla="*/ 15 h 27"/>
                    <a:gd name="T16" fmla="*/ 3 w 15"/>
                    <a:gd name="T17" fmla="*/ 25 h 27"/>
                    <a:gd name="T18" fmla="*/ 7 w 15"/>
                    <a:gd name="T19" fmla="*/ 27 h 27"/>
                    <a:gd name="T20" fmla="*/ 10 w 15"/>
                    <a:gd name="T21" fmla="*/ 25 h 27"/>
                    <a:gd name="T22" fmla="*/ 15 w 15"/>
                    <a:gd name="T23" fmla="*/ 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5" h="27">
                      <a:moveTo>
                        <a:pt x="15" y="7"/>
                      </a:moveTo>
                      <a:cubicBezTo>
                        <a:pt x="14" y="4"/>
                        <a:pt x="12" y="0"/>
                        <a:pt x="8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2" y="4"/>
                        <a:pt x="2" y="6"/>
                      </a:cubicBezTo>
                      <a:cubicBezTo>
                        <a:pt x="2" y="6"/>
                        <a:pt x="2" y="7"/>
                        <a:pt x="1" y="7"/>
                      </a:cubicBezTo>
                      <a:cubicBezTo>
                        <a:pt x="1" y="7"/>
                        <a:pt x="1" y="8"/>
                        <a:pt x="1" y="8"/>
                      </a:cubicBezTo>
                      <a:cubicBezTo>
                        <a:pt x="1" y="9"/>
                        <a:pt x="0" y="11"/>
                        <a:pt x="0" y="13"/>
                      </a:cubicBezTo>
                      <a:cubicBezTo>
                        <a:pt x="0" y="14"/>
                        <a:pt x="0" y="14"/>
                        <a:pt x="0" y="15"/>
                      </a:cubicBezTo>
                      <a:cubicBezTo>
                        <a:pt x="1" y="20"/>
                        <a:pt x="1" y="23"/>
                        <a:pt x="3" y="25"/>
                      </a:cubicBezTo>
                      <a:cubicBezTo>
                        <a:pt x="4" y="26"/>
                        <a:pt x="5" y="27"/>
                        <a:pt x="7" y="27"/>
                      </a:cubicBezTo>
                      <a:cubicBezTo>
                        <a:pt x="8" y="27"/>
                        <a:pt x="9" y="26"/>
                        <a:pt x="10" y="25"/>
                      </a:cubicBezTo>
                      <a:cubicBezTo>
                        <a:pt x="14" y="21"/>
                        <a:pt x="15" y="9"/>
                        <a:pt x="15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0" name="Freeform 75">
                  <a:extLst>
                    <a:ext uri="{FF2B5EF4-FFF2-40B4-BE49-F238E27FC236}">
                      <a16:creationId xmlns:a16="http://schemas.microsoft.com/office/drawing/2014/main" id="{BB1D7534-F6C7-1E4D-939A-3663AC5FA1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1012" y="3486139"/>
                  <a:ext cx="769406" cy="625301"/>
                </a:xfrm>
                <a:custGeom>
                  <a:avLst/>
                  <a:gdLst>
                    <a:gd name="T0" fmla="*/ 136 w 141"/>
                    <a:gd name="T1" fmla="*/ 61 h 126"/>
                    <a:gd name="T2" fmla="*/ 132 w 141"/>
                    <a:gd name="T3" fmla="*/ 44 h 126"/>
                    <a:gd name="T4" fmla="*/ 115 w 141"/>
                    <a:gd name="T5" fmla="*/ 36 h 126"/>
                    <a:gd name="T6" fmla="*/ 106 w 141"/>
                    <a:gd name="T7" fmla="*/ 30 h 126"/>
                    <a:gd name="T8" fmla="*/ 99 w 141"/>
                    <a:gd name="T9" fmla="*/ 14 h 126"/>
                    <a:gd name="T10" fmla="*/ 84 w 141"/>
                    <a:gd name="T11" fmla="*/ 8 h 126"/>
                    <a:gd name="T12" fmla="*/ 70 w 141"/>
                    <a:gd name="T13" fmla="*/ 2 h 126"/>
                    <a:gd name="T14" fmla="*/ 61 w 141"/>
                    <a:gd name="T15" fmla="*/ 1 h 126"/>
                    <a:gd name="T16" fmla="*/ 56 w 141"/>
                    <a:gd name="T17" fmla="*/ 8 h 126"/>
                    <a:gd name="T18" fmla="*/ 55 w 141"/>
                    <a:gd name="T19" fmla="*/ 20 h 126"/>
                    <a:gd name="T20" fmla="*/ 49 w 141"/>
                    <a:gd name="T21" fmla="*/ 33 h 126"/>
                    <a:gd name="T22" fmla="*/ 38 w 141"/>
                    <a:gd name="T23" fmla="*/ 40 h 126"/>
                    <a:gd name="T24" fmla="*/ 33 w 141"/>
                    <a:gd name="T25" fmla="*/ 45 h 126"/>
                    <a:gd name="T26" fmla="*/ 32 w 141"/>
                    <a:gd name="T27" fmla="*/ 48 h 126"/>
                    <a:gd name="T28" fmla="*/ 25 w 141"/>
                    <a:gd name="T29" fmla="*/ 50 h 126"/>
                    <a:gd name="T30" fmla="*/ 21 w 141"/>
                    <a:gd name="T31" fmla="*/ 57 h 126"/>
                    <a:gd name="T32" fmla="*/ 14 w 141"/>
                    <a:gd name="T33" fmla="*/ 60 h 126"/>
                    <a:gd name="T34" fmla="*/ 9 w 141"/>
                    <a:gd name="T35" fmla="*/ 64 h 126"/>
                    <a:gd name="T36" fmla="*/ 4 w 141"/>
                    <a:gd name="T37" fmla="*/ 81 h 126"/>
                    <a:gd name="T38" fmla="*/ 6 w 141"/>
                    <a:gd name="T39" fmla="*/ 85 h 126"/>
                    <a:gd name="T40" fmla="*/ 10 w 141"/>
                    <a:gd name="T41" fmla="*/ 92 h 126"/>
                    <a:gd name="T42" fmla="*/ 13 w 141"/>
                    <a:gd name="T43" fmla="*/ 103 h 126"/>
                    <a:gd name="T44" fmla="*/ 8 w 141"/>
                    <a:gd name="T45" fmla="*/ 121 h 126"/>
                    <a:gd name="T46" fmla="*/ 17 w 141"/>
                    <a:gd name="T47" fmla="*/ 126 h 126"/>
                    <a:gd name="T48" fmla="*/ 23 w 141"/>
                    <a:gd name="T49" fmla="*/ 125 h 126"/>
                    <a:gd name="T50" fmla="*/ 28 w 141"/>
                    <a:gd name="T51" fmla="*/ 124 h 126"/>
                    <a:gd name="T52" fmla="*/ 36 w 141"/>
                    <a:gd name="T53" fmla="*/ 123 h 126"/>
                    <a:gd name="T54" fmla="*/ 44 w 141"/>
                    <a:gd name="T55" fmla="*/ 126 h 126"/>
                    <a:gd name="T56" fmla="*/ 54 w 141"/>
                    <a:gd name="T57" fmla="*/ 119 h 126"/>
                    <a:gd name="T58" fmla="*/ 59 w 141"/>
                    <a:gd name="T59" fmla="*/ 112 h 126"/>
                    <a:gd name="T60" fmla="*/ 67 w 141"/>
                    <a:gd name="T61" fmla="*/ 104 h 126"/>
                    <a:gd name="T62" fmla="*/ 73 w 141"/>
                    <a:gd name="T63" fmla="*/ 105 h 126"/>
                    <a:gd name="T64" fmla="*/ 85 w 141"/>
                    <a:gd name="T65" fmla="*/ 95 h 126"/>
                    <a:gd name="T66" fmla="*/ 94 w 141"/>
                    <a:gd name="T67" fmla="*/ 93 h 126"/>
                    <a:gd name="T68" fmla="*/ 102 w 141"/>
                    <a:gd name="T69" fmla="*/ 91 h 126"/>
                    <a:gd name="T70" fmla="*/ 111 w 141"/>
                    <a:gd name="T71" fmla="*/ 88 h 126"/>
                    <a:gd name="T72" fmla="*/ 118 w 141"/>
                    <a:gd name="T73" fmla="*/ 86 h 126"/>
                    <a:gd name="T74" fmla="*/ 123 w 141"/>
                    <a:gd name="T75" fmla="*/ 86 h 126"/>
                    <a:gd name="T76" fmla="*/ 140 w 141"/>
                    <a:gd name="T77" fmla="*/ 7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41" h="126">
                      <a:moveTo>
                        <a:pt x="137" y="64"/>
                      </a:moveTo>
                      <a:cubicBezTo>
                        <a:pt x="137" y="63"/>
                        <a:pt x="136" y="62"/>
                        <a:pt x="136" y="61"/>
                      </a:cubicBezTo>
                      <a:cubicBezTo>
                        <a:pt x="135" y="59"/>
                        <a:pt x="135" y="56"/>
                        <a:pt x="135" y="54"/>
                      </a:cubicBezTo>
                      <a:cubicBezTo>
                        <a:pt x="134" y="51"/>
                        <a:pt x="134" y="47"/>
                        <a:pt x="132" y="44"/>
                      </a:cubicBezTo>
                      <a:cubicBezTo>
                        <a:pt x="129" y="37"/>
                        <a:pt x="122" y="36"/>
                        <a:pt x="117" y="36"/>
                      </a:cubicBezTo>
                      <a:cubicBezTo>
                        <a:pt x="116" y="36"/>
                        <a:pt x="116" y="36"/>
                        <a:pt x="115" y="36"/>
                      </a:cubicBezTo>
                      <a:cubicBezTo>
                        <a:pt x="114" y="36"/>
                        <a:pt x="114" y="36"/>
                        <a:pt x="113" y="36"/>
                      </a:cubicBezTo>
                      <a:cubicBezTo>
                        <a:pt x="110" y="36"/>
                        <a:pt x="108" y="35"/>
                        <a:pt x="106" y="30"/>
                      </a:cubicBezTo>
                      <a:cubicBezTo>
                        <a:pt x="105" y="28"/>
                        <a:pt x="104" y="27"/>
                        <a:pt x="103" y="25"/>
                      </a:cubicBezTo>
                      <a:cubicBezTo>
                        <a:pt x="102" y="21"/>
                        <a:pt x="100" y="18"/>
                        <a:pt x="99" y="14"/>
                      </a:cubicBezTo>
                      <a:cubicBezTo>
                        <a:pt x="97" y="11"/>
                        <a:pt x="92" y="10"/>
                        <a:pt x="88" y="9"/>
                      </a:cubicBezTo>
                      <a:cubicBezTo>
                        <a:pt x="87" y="8"/>
                        <a:pt x="85" y="8"/>
                        <a:pt x="84" y="8"/>
                      </a:cubicBezTo>
                      <a:cubicBezTo>
                        <a:pt x="82" y="7"/>
                        <a:pt x="80" y="6"/>
                        <a:pt x="78" y="5"/>
                      </a:cubicBezTo>
                      <a:cubicBezTo>
                        <a:pt x="76" y="4"/>
                        <a:pt x="73" y="3"/>
                        <a:pt x="70" y="2"/>
                      </a:cubicBezTo>
                      <a:cubicBezTo>
                        <a:pt x="68" y="1"/>
                        <a:pt x="66" y="0"/>
                        <a:pt x="63" y="0"/>
                      </a:cubicBezTo>
                      <a:cubicBezTo>
                        <a:pt x="62" y="0"/>
                        <a:pt x="61" y="1"/>
                        <a:pt x="61" y="1"/>
                      </a:cubicBezTo>
                      <a:cubicBezTo>
                        <a:pt x="57" y="2"/>
                        <a:pt x="56" y="5"/>
                        <a:pt x="56" y="7"/>
                      </a:cubicBezTo>
                      <a:cubicBezTo>
                        <a:pt x="56" y="7"/>
                        <a:pt x="56" y="8"/>
                        <a:pt x="56" y="8"/>
                      </a:cubicBezTo>
                      <a:cubicBezTo>
                        <a:pt x="55" y="11"/>
                        <a:pt x="55" y="14"/>
                        <a:pt x="56" y="16"/>
                      </a:cubicBezTo>
                      <a:cubicBezTo>
                        <a:pt x="56" y="18"/>
                        <a:pt x="55" y="19"/>
                        <a:pt x="55" y="20"/>
                      </a:cubicBezTo>
                      <a:cubicBezTo>
                        <a:pt x="55" y="22"/>
                        <a:pt x="55" y="23"/>
                        <a:pt x="54" y="24"/>
                      </a:cubicBezTo>
                      <a:cubicBezTo>
                        <a:pt x="54" y="27"/>
                        <a:pt x="51" y="31"/>
                        <a:pt x="49" y="33"/>
                      </a:cubicBezTo>
                      <a:cubicBezTo>
                        <a:pt x="47" y="34"/>
                        <a:pt x="45" y="35"/>
                        <a:pt x="44" y="36"/>
                      </a:cubicBezTo>
                      <a:cubicBezTo>
                        <a:pt x="42" y="37"/>
                        <a:pt x="40" y="39"/>
                        <a:pt x="38" y="40"/>
                      </a:cubicBezTo>
                      <a:cubicBezTo>
                        <a:pt x="38" y="40"/>
                        <a:pt x="38" y="40"/>
                        <a:pt x="38" y="40"/>
                      </a:cubicBezTo>
                      <a:cubicBezTo>
                        <a:pt x="36" y="42"/>
                        <a:pt x="34" y="43"/>
                        <a:pt x="33" y="45"/>
                      </a:cubicBezTo>
                      <a:cubicBezTo>
                        <a:pt x="33" y="46"/>
                        <a:pt x="33" y="46"/>
                        <a:pt x="32" y="47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32" y="49"/>
                        <a:pt x="31" y="49"/>
                        <a:pt x="30" y="49"/>
                      </a:cubicBezTo>
                      <a:cubicBezTo>
                        <a:pt x="29" y="49"/>
                        <a:pt x="27" y="49"/>
                        <a:pt x="25" y="50"/>
                      </a:cubicBezTo>
                      <a:cubicBezTo>
                        <a:pt x="24" y="51"/>
                        <a:pt x="23" y="53"/>
                        <a:pt x="22" y="55"/>
                      </a:cubicBezTo>
                      <a:cubicBezTo>
                        <a:pt x="21" y="55"/>
                        <a:pt x="21" y="56"/>
                        <a:pt x="21" y="57"/>
                      </a:cubicBezTo>
                      <a:cubicBezTo>
                        <a:pt x="20" y="57"/>
                        <a:pt x="19" y="58"/>
                        <a:pt x="18" y="58"/>
                      </a:cubicBezTo>
                      <a:cubicBezTo>
                        <a:pt x="17" y="59"/>
                        <a:pt x="16" y="59"/>
                        <a:pt x="14" y="60"/>
                      </a:cubicBezTo>
                      <a:cubicBezTo>
                        <a:pt x="13" y="61"/>
                        <a:pt x="12" y="61"/>
                        <a:pt x="11" y="62"/>
                      </a:cubicBezTo>
                      <a:cubicBezTo>
                        <a:pt x="10" y="63"/>
                        <a:pt x="9" y="63"/>
                        <a:pt x="9" y="64"/>
                      </a:cubicBezTo>
                      <a:cubicBezTo>
                        <a:pt x="5" y="66"/>
                        <a:pt x="1" y="69"/>
                        <a:pt x="0" y="75"/>
                      </a:cubicBezTo>
                      <a:cubicBezTo>
                        <a:pt x="0" y="79"/>
                        <a:pt x="2" y="81"/>
                        <a:pt x="4" y="81"/>
                      </a:cubicBezTo>
                      <a:cubicBezTo>
                        <a:pt x="5" y="82"/>
                        <a:pt x="5" y="82"/>
                        <a:pt x="5" y="83"/>
                      </a:cubicBezTo>
                      <a:cubicBezTo>
                        <a:pt x="6" y="83"/>
                        <a:pt x="6" y="84"/>
                        <a:pt x="6" y="85"/>
                      </a:cubicBezTo>
                      <a:cubicBezTo>
                        <a:pt x="6" y="86"/>
                        <a:pt x="6" y="87"/>
                        <a:pt x="7" y="89"/>
                      </a:cubicBezTo>
                      <a:cubicBezTo>
                        <a:pt x="8" y="90"/>
                        <a:pt x="9" y="91"/>
                        <a:pt x="10" y="92"/>
                      </a:cubicBezTo>
                      <a:cubicBezTo>
                        <a:pt x="10" y="93"/>
                        <a:pt x="10" y="93"/>
                        <a:pt x="11" y="93"/>
                      </a:cubicBezTo>
                      <a:cubicBezTo>
                        <a:pt x="13" y="97"/>
                        <a:pt x="14" y="100"/>
                        <a:pt x="13" y="103"/>
                      </a:cubicBezTo>
                      <a:cubicBezTo>
                        <a:pt x="13" y="106"/>
                        <a:pt x="12" y="110"/>
                        <a:pt x="10" y="113"/>
                      </a:cubicBezTo>
                      <a:cubicBezTo>
                        <a:pt x="9" y="115"/>
                        <a:pt x="7" y="118"/>
                        <a:pt x="8" y="121"/>
                      </a:cubicBezTo>
                      <a:cubicBezTo>
                        <a:pt x="9" y="122"/>
                        <a:pt x="10" y="124"/>
                        <a:pt x="12" y="125"/>
                      </a:cubicBezTo>
                      <a:cubicBezTo>
                        <a:pt x="13" y="126"/>
                        <a:pt x="15" y="126"/>
                        <a:pt x="17" y="126"/>
                      </a:cubicBezTo>
                      <a:cubicBezTo>
                        <a:pt x="17" y="126"/>
                        <a:pt x="17" y="126"/>
                        <a:pt x="17" y="126"/>
                      </a:cubicBezTo>
                      <a:cubicBezTo>
                        <a:pt x="19" y="126"/>
                        <a:pt x="21" y="126"/>
                        <a:pt x="23" y="125"/>
                      </a:cubicBezTo>
                      <a:cubicBezTo>
                        <a:pt x="24" y="125"/>
                        <a:pt x="26" y="124"/>
                        <a:pt x="27" y="124"/>
                      </a:cubicBezTo>
                      <a:cubicBezTo>
                        <a:pt x="28" y="124"/>
                        <a:pt x="28" y="124"/>
                        <a:pt x="28" y="124"/>
                      </a:cubicBezTo>
                      <a:cubicBezTo>
                        <a:pt x="30" y="124"/>
                        <a:pt x="32" y="123"/>
                        <a:pt x="34" y="123"/>
                      </a:cubicBezTo>
                      <a:cubicBezTo>
                        <a:pt x="34" y="123"/>
                        <a:pt x="35" y="123"/>
                        <a:pt x="36" y="123"/>
                      </a:cubicBezTo>
                      <a:cubicBezTo>
                        <a:pt x="36" y="124"/>
                        <a:pt x="37" y="124"/>
                        <a:pt x="38" y="124"/>
                      </a:cubicBezTo>
                      <a:cubicBezTo>
                        <a:pt x="40" y="125"/>
                        <a:pt x="42" y="126"/>
                        <a:pt x="44" y="126"/>
                      </a:cubicBezTo>
                      <a:cubicBezTo>
                        <a:pt x="44" y="126"/>
                        <a:pt x="45" y="126"/>
                        <a:pt x="45" y="126"/>
                      </a:cubicBezTo>
                      <a:cubicBezTo>
                        <a:pt x="50" y="126"/>
                        <a:pt x="52" y="122"/>
                        <a:pt x="54" y="119"/>
                      </a:cubicBezTo>
                      <a:cubicBezTo>
                        <a:pt x="55" y="118"/>
                        <a:pt x="56" y="117"/>
                        <a:pt x="56" y="116"/>
                      </a:cubicBezTo>
                      <a:cubicBezTo>
                        <a:pt x="57" y="114"/>
                        <a:pt x="58" y="113"/>
                        <a:pt x="59" y="112"/>
                      </a:cubicBezTo>
                      <a:cubicBezTo>
                        <a:pt x="61" y="109"/>
                        <a:pt x="63" y="106"/>
                        <a:pt x="66" y="104"/>
                      </a:cubicBezTo>
                      <a:cubicBezTo>
                        <a:pt x="66" y="104"/>
                        <a:pt x="67" y="104"/>
                        <a:pt x="67" y="104"/>
                      </a:cubicBezTo>
                      <a:cubicBezTo>
                        <a:pt x="68" y="105"/>
                        <a:pt x="70" y="105"/>
                        <a:pt x="71" y="105"/>
                      </a:cubicBezTo>
                      <a:cubicBezTo>
                        <a:pt x="72" y="105"/>
                        <a:pt x="72" y="105"/>
                        <a:pt x="73" y="105"/>
                      </a:cubicBezTo>
                      <a:cubicBezTo>
                        <a:pt x="77" y="104"/>
                        <a:pt x="80" y="101"/>
                        <a:pt x="82" y="98"/>
                      </a:cubicBezTo>
                      <a:cubicBezTo>
                        <a:pt x="83" y="97"/>
                        <a:pt x="84" y="96"/>
                        <a:pt x="85" y="95"/>
                      </a:cubicBezTo>
                      <a:cubicBezTo>
                        <a:pt x="86" y="94"/>
                        <a:pt x="87" y="94"/>
                        <a:pt x="89" y="94"/>
                      </a:cubicBezTo>
                      <a:cubicBezTo>
                        <a:pt x="91" y="93"/>
                        <a:pt x="92" y="93"/>
                        <a:pt x="94" y="93"/>
                      </a:cubicBezTo>
                      <a:cubicBezTo>
                        <a:pt x="94" y="93"/>
                        <a:pt x="95" y="92"/>
                        <a:pt x="96" y="92"/>
                      </a:cubicBezTo>
                      <a:cubicBezTo>
                        <a:pt x="98" y="92"/>
                        <a:pt x="100" y="92"/>
                        <a:pt x="102" y="91"/>
                      </a:cubicBezTo>
                      <a:cubicBezTo>
                        <a:pt x="103" y="91"/>
                        <a:pt x="103" y="91"/>
                        <a:pt x="103" y="91"/>
                      </a:cubicBezTo>
                      <a:cubicBezTo>
                        <a:pt x="106" y="90"/>
                        <a:pt x="109" y="89"/>
                        <a:pt x="111" y="88"/>
                      </a:cubicBezTo>
                      <a:cubicBezTo>
                        <a:pt x="113" y="87"/>
                        <a:pt x="114" y="87"/>
                        <a:pt x="115" y="86"/>
                      </a:cubicBezTo>
                      <a:cubicBezTo>
                        <a:pt x="116" y="86"/>
                        <a:pt x="117" y="86"/>
                        <a:pt x="118" y="86"/>
                      </a:cubicBezTo>
                      <a:cubicBezTo>
                        <a:pt x="118" y="86"/>
                        <a:pt x="119" y="86"/>
                        <a:pt x="120" y="86"/>
                      </a:cubicBezTo>
                      <a:cubicBezTo>
                        <a:pt x="121" y="86"/>
                        <a:pt x="122" y="86"/>
                        <a:pt x="123" y="86"/>
                      </a:cubicBezTo>
                      <a:cubicBezTo>
                        <a:pt x="125" y="86"/>
                        <a:pt x="125" y="86"/>
                        <a:pt x="125" y="86"/>
                      </a:cubicBezTo>
                      <a:cubicBezTo>
                        <a:pt x="130" y="86"/>
                        <a:pt x="138" y="86"/>
                        <a:pt x="140" y="79"/>
                      </a:cubicBezTo>
                      <a:cubicBezTo>
                        <a:pt x="141" y="74"/>
                        <a:pt x="139" y="69"/>
                        <a:pt x="137" y="6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1" name="Freeform 76">
                  <a:extLst>
                    <a:ext uri="{FF2B5EF4-FFF2-40B4-BE49-F238E27FC236}">
                      <a16:creationId xmlns:a16="http://schemas.microsoft.com/office/drawing/2014/main" id="{B24DBDA6-6C12-464C-9CDB-25953FFB32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5162" y="5563631"/>
                  <a:ext cx="675025" cy="580503"/>
                </a:xfrm>
                <a:custGeom>
                  <a:avLst/>
                  <a:gdLst>
                    <a:gd name="T0" fmla="*/ 116 w 124"/>
                    <a:gd name="T1" fmla="*/ 72 h 117"/>
                    <a:gd name="T2" fmla="*/ 107 w 124"/>
                    <a:gd name="T3" fmla="*/ 67 h 117"/>
                    <a:gd name="T4" fmla="*/ 101 w 124"/>
                    <a:gd name="T5" fmla="*/ 68 h 117"/>
                    <a:gd name="T6" fmla="*/ 98 w 124"/>
                    <a:gd name="T7" fmla="*/ 66 h 117"/>
                    <a:gd name="T8" fmla="*/ 95 w 124"/>
                    <a:gd name="T9" fmla="*/ 60 h 117"/>
                    <a:gd name="T10" fmla="*/ 82 w 124"/>
                    <a:gd name="T11" fmla="*/ 46 h 117"/>
                    <a:gd name="T12" fmla="*/ 78 w 124"/>
                    <a:gd name="T13" fmla="*/ 45 h 117"/>
                    <a:gd name="T14" fmla="*/ 75 w 124"/>
                    <a:gd name="T15" fmla="*/ 44 h 117"/>
                    <a:gd name="T16" fmla="*/ 72 w 124"/>
                    <a:gd name="T17" fmla="*/ 41 h 117"/>
                    <a:gd name="T18" fmla="*/ 58 w 124"/>
                    <a:gd name="T19" fmla="*/ 31 h 117"/>
                    <a:gd name="T20" fmla="*/ 52 w 124"/>
                    <a:gd name="T21" fmla="*/ 28 h 117"/>
                    <a:gd name="T22" fmla="*/ 44 w 124"/>
                    <a:gd name="T23" fmla="*/ 22 h 117"/>
                    <a:gd name="T24" fmla="*/ 39 w 124"/>
                    <a:gd name="T25" fmla="*/ 25 h 117"/>
                    <a:gd name="T26" fmla="*/ 37 w 124"/>
                    <a:gd name="T27" fmla="*/ 20 h 117"/>
                    <a:gd name="T28" fmla="*/ 40 w 124"/>
                    <a:gd name="T29" fmla="*/ 21 h 117"/>
                    <a:gd name="T30" fmla="*/ 42 w 124"/>
                    <a:gd name="T31" fmla="*/ 8 h 117"/>
                    <a:gd name="T32" fmla="*/ 41 w 124"/>
                    <a:gd name="T33" fmla="*/ 6 h 117"/>
                    <a:gd name="T34" fmla="*/ 29 w 124"/>
                    <a:gd name="T35" fmla="*/ 6 h 117"/>
                    <a:gd name="T36" fmla="*/ 27 w 124"/>
                    <a:gd name="T37" fmla="*/ 6 h 117"/>
                    <a:gd name="T38" fmla="*/ 16 w 124"/>
                    <a:gd name="T39" fmla="*/ 23 h 117"/>
                    <a:gd name="T40" fmla="*/ 15 w 124"/>
                    <a:gd name="T41" fmla="*/ 39 h 117"/>
                    <a:gd name="T42" fmla="*/ 15 w 124"/>
                    <a:gd name="T43" fmla="*/ 71 h 117"/>
                    <a:gd name="T44" fmla="*/ 10 w 124"/>
                    <a:gd name="T45" fmla="*/ 81 h 117"/>
                    <a:gd name="T46" fmla="*/ 2 w 124"/>
                    <a:gd name="T47" fmla="*/ 100 h 117"/>
                    <a:gd name="T48" fmla="*/ 21 w 124"/>
                    <a:gd name="T49" fmla="*/ 98 h 117"/>
                    <a:gd name="T50" fmla="*/ 27 w 124"/>
                    <a:gd name="T51" fmla="*/ 95 h 117"/>
                    <a:gd name="T52" fmla="*/ 29 w 124"/>
                    <a:gd name="T53" fmla="*/ 103 h 117"/>
                    <a:gd name="T54" fmla="*/ 30 w 124"/>
                    <a:gd name="T55" fmla="*/ 113 h 117"/>
                    <a:gd name="T56" fmla="*/ 46 w 124"/>
                    <a:gd name="T57" fmla="*/ 112 h 117"/>
                    <a:gd name="T58" fmla="*/ 52 w 124"/>
                    <a:gd name="T59" fmla="*/ 106 h 117"/>
                    <a:gd name="T60" fmla="*/ 56 w 124"/>
                    <a:gd name="T61" fmla="*/ 98 h 117"/>
                    <a:gd name="T62" fmla="*/ 66 w 124"/>
                    <a:gd name="T63" fmla="*/ 83 h 117"/>
                    <a:gd name="T64" fmla="*/ 67 w 124"/>
                    <a:gd name="T65" fmla="*/ 77 h 117"/>
                    <a:gd name="T66" fmla="*/ 71 w 124"/>
                    <a:gd name="T67" fmla="*/ 76 h 117"/>
                    <a:gd name="T68" fmla="*/ 72 w 124"/>
                    <a:gd name="T69" fmla="*/ 79 h 117"/>
                    <a:gd name="T70" fmla="*/ 76 w 124"/>
                    <a:gd name="T71" fmla="*/ 82 h 117"/>
                    <a:gd name="T72" fmla="*/ 81 w 124"/>
                    <a:gd name="T73" fmla="*/ 81 h 117"/>
                    <a:gd name="T74" fmla="*/ 82 w 124"/>
                    <a:gd name="T75" fmla="*/ 81 h 117"/>
                    <a:gd name="T76" fmla="*/ 80 w 124"/>
                    <a:gd name="T77" fmla="*/ 88 h 117"/>
                    <a:gd name="T78" fmla="*/ 90 w 124"/>
                    <a:gd name="T79" fmla="*/ 91 h 117"/>
                    <a:gd name="T80" fmla="*/ 96 w 124"/>
                    <a:gd name="T81" fmla="*/ 93 h 117"/>
                    <a:gd name="T82" fmla="*/ 105 w 124"/>
                    <a:gd name="T83" fmla="*/ 96 h 117"/>
                    <a:gd name="T84" fmla="*/ 124 w 124"/>
                    <a:gd name="T85" fmla="*/ 8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24" h="117">
                      <a:moveTo>
                        <a:pt x="120" y="75"/>
                      </a:moveTo>
                      <a:cubicBezTo>
                        <a:pt x="119" y="74"/>
                        <a:pt x="118" y="73"/>
                        <a:pt x="116" y="72"/>
                      </a:cubicBezTo>
                      <a:cubicBezTo>
                        <a:pt x="115" y="71"/>
                        <a:pt x="114" y="70"/>
                        <a:pt x="113" y="69"/>
                      </a:cubicBezTo>
                      <a:cubicBezTo>
                        <a:pt x="111" y="67"/>
                        <a:pt x="110" y="67"/>
                        <a:pt x="107" y="67"/>
                      </a:cubicBezTo>
                      <a:cubicBezTo>
                        <a:pt x="106" y="67"/>
                        <a:pt x="104" y="67"/>
                        <a:pt x="103" y="67"/>
                      </a:cubicBezTo>
                      <a:cubicBezTo>
                        <a:pt x="101" y="68"/>
                        <a:pt x="101" y="68"/>
                        <a:pt x="101" y="68"/>
                      </a:cubicBezTo>
                      <a:cubicBezTo>
                        <a:pt x="100" y="68"/>
                        <a:pt x="99" y="68"/>
                        <a:pt x="98" y="68"/>
                      </a:cubicBezTo>
                      <a:cubicBezTo>
                        <a:pt x="98" y="68"/>
                        <a:pt x="98" y="67"/>
                        <a:pt x="98" y="66"/>
                      </a:cubicBezTo>
                      <a:cubicBezTo>
                        <a:pt x="97" y="65"/>
                        <a:pt x="97" y="63"/>
                        <a:pt x="96" y="62"/>
                      </a:cubicBezTo>
                      <a:cubicBezTo>
                        <a:pt x="95" y="61"/>
                        <a:pt x="95" y="60"/>
                        <a:pt x="95" y="60"/>
                      </a:cubicBezTo>
                      <a:cubicBezTo>
                        <a:pt x="94" y="52"/>
                        <a:pt x="90" y="47"/>
                        <a:pt x="83" y="46"/>
                      </a:cubicBezTo>
                      <a:cubicBezTo>
                        <a:pt x="83" y="46"/>
                        <a:pt x="82" y="46"/>
                        <a:pt x="82" y="46"/>
                      </a:cubicBezTo>
                      <a:cubicBezTo>
                        <a:pt x="81" y="46"/>
                        <a:pt x="80" y="46"/>
                        <a:pt x="79" y="46"/>
                      </a:cubicBezTo>
                      <a:cubicBezTo>
                        <a:pt x="79" y="46"/>
                        <a:pt x="79" y="46"/>
                        <a:pt x="78" y="45"/>
                      </a:cubicBezTo>
                      <a:cubicBezTo>
                        <a:pt x="77" y="45"/>
                        <a:pt x="77" y="45"/>
                        <a:pt x="76" y="44"/>
                      </a:cubicBezTo>
                      <a:cubicBezTo>
                        <a:pt x="75" y="44"/>
                        <a:pt x="75" y="44"/>
                        <a:pt x="75" y="44"/>
                      </a:cubicBezTo>
                      <a:cubicBezTo>
                        <a:pt x="73" y="44"/>
                        <a:pt x="73" y="44"/>
                        <a:pt x="73" y="43"/>
                      </a:cubicBezTo>
                      <a:cubicBezTo>
                        <a:pt x="72" y="43"/>
                        <a:pt x="72" y="42"/>
                        <a:pt x="72" y="41"/>
                      </a:cubicBezTo>
                      <a:cubicBezTo>
                        <a:pt x="71" y="40"/>
                        <a:pt x="71" y="38"/>
                        <a:pt x="69" y="37"/>
                      </a:cubicBezTo>
                      <a:cubicBezTo>
                        <a:pt x="68" y="36"/>
                        <a:pt x="64" y="32"/>
                        <a:pt x="58" y="31"/>
                      </a:cubicBezTo>
                      <a:cubicBezTo>
                        <a:pt x="56" y="31"/>
                        <a:pt x="55" y="31"/>
                        <a:pt x="53" y="29"/>
                      </a:cubicBezTo>
                      <a:cubicBezTo>
                        <a:pt x="53" y="28"/>
                        <a:pt x="53" y="28"/>
                        <a:pt x="52" y="28"/>
                      </a:cubicBezTo>
                      <a:cubicBezTo>
                        <a:pt x="51" y="25"/>
                        <a:pt x="49" y="22"/>
                        <a:pt x="45" y="22"/>
                      </a:cubicBezTo>
                      <a:cubicBezTo>
                        <a:pt x="44" y="22"/>
                        <a:pt x="44" y="22"/>
                        <a:pt x="44" y="22"/>
                      </a:cubicBezTo>
                      <a:cubicBezTo>
                        <a:pt x="42" y="22"/>
                        <a:pt x="40" y="24"/>
                        <a:pt x="40" y="24"/>
                      </a:cubicBezTo>
                      <a:cubicBezTo>
                        <a:pt x="39" y="25"/>
                        <a:pt x="39" y="25"/>
                        <a:pt x="39" y="25"/>
                      </a:cubicBezTo>
                      <a:cubicBezTo>
                        <a:pt x="39" y="25"/>
                        <a:pt x="38" y="25"/>
                        <a:pt x="38" y="25"/>
                      </a:cubicBezTo>
                      <a:cubicBezTo>
                        <a:pt x="38" y="25"/>
                        <a:pt x="37" y="22"/>
                        <a:pt x="37" y="20"/>
                      </a:cubicBezTo>
                      <a:cubicBezTo>
                        <a:pt x="38" y="20"/>
                        <a:pt x="39" y="21"/>
                        <a:pt x="40" y="21"/>
                      </a:cubicBezTo>
                      <a:cubicBezTo>
                        <a:pt x="40" y="21"/>
                        <a:pt x="40" y="21"/>
                        <a:pt x="40" y="21"/>
                      </a:cubicBezTo>
                      <a:cubicBezTo>
                        <a:pt x="42" y="21"/>
                        <a:pt x="43" y="20"/>
                        <a:pt x="44" y="19"/>
                      </a:cubicBezTo>
                      <a:cubicBezTo>
                        <a:pt x="48" y="15"/>
                        <a:pt x="43" y="10"/>
                        <a:pt x="42" y="8"/>
                      </a:cubicBezTo>
                      <a:cubicBezTo>
                        <a:pt x="41" y="7"/>
                        <a:pt x="41" y="7"/>
                        <a:pt x="41" y="7"/>
                      </a:cubicBezTo>
                      <a:cubicBezTo>
                        <a:pt x="41" y="7"/>
                        <a:pt x="41" y="6"/>
                        <a:pt x="41" y="6"/>
                      </a:cubicBezTo>
                      <a:cubicBezTo>
                        <a:pt x="40" y="4"/>
                        <a:pt x="39" y="0"/>
                        <a:pt x="35" y="0"/>
                      </a:cubicBezTo>
                      <a:cubicBezTo>
                        <a:pt x="31" y="0"/>
                        <a:pt x="29" y="3"/>
                        <a:pt x="29" y="6"/>
                      </a:cubicBezTo>
                      <a:cubicBezTo>
                        <a:pt x="29" y="6"/>
                        <a:pt x="29" y="6"/>
                        <a:pt x="29" y="6"/>
                      </a:cubicBezTo>
                      <a:cubicBezTo>
                        <a:pt x="28" y="6"/>
                        <a:pt x="28" y="6"/>
                        <a:pt x="27" y="6"/>
                      </a:cubicBezTo>
                      <a:cubicBezTo>
                        <a:pt x="26" y="6"/>
                        <a:pt x="24" y="7"/>
                        <a:pt x="23" y="7"/>
                      </a:cubicBezTo>
                      <a:cubicBezTo>
                        <a:pt x="16" y="11"/>
                        <a:pt x="16" y="19"/>
                        <a:pt x="16" y="23"/>
                      </a:cubicBezTo>
                      <a:cubicBezTo>
                        <a:pt x="16" y="25"/>
                        <a:pt x="16" y="28"/>
                        <a:pt x="16" y="30"/>
                      </a:cubicBezTo>
                      <a:cubicBezTo>
                        <a:pt x="16" y="33"/>
                        <a:pt x="16" y="36"/>
                        <a:pt x="15" y="39"/>
                      </a:cubicBezTo>
                      <a:cubicBezTo>
                        <a:pt x="15" y="45"/>
                        <a:pt x="15" y="49"/>
                        <a:pt x="14" y="54"/>
                      </a:cubicBezTo>
                      <a:cubicBezTo>
                        <a:pt x="13" y="60"/>
                        <a:pt x="13" y="66"/>
                        <a:pt x="15" y="71"/>
                      </a:cubicBezTo>
                      <a:cubicBezTo>
                        <a:pt x="16" y="76"/>
                        <a:pt x="16" y="78"/>
                        <a:pt x="13" y="80"/>
                      </a:cubicBezTo>
                      <a:cubicBezTo>
                        <a:pt x="12" y="80"/>
                        <a:pt x="11" y="81"/>
                        <a:pt x="10" y="81"/>
                      </a:cubicBezTo>
                      <a:cubicBezTo>
                        <a:pt x="6" y="84"/>
                        <a:pt x="1" y="87"/>
                        <a:pt x="0" y="94"/>
                      </a:cubicBezTo>
                      <a:cubicBezTo>
                        <a:pt x="0" y="96"/>
                        <a:pt x="1" y="99"/>
                        <a:pt x="2" y="100"/>
                      </a:cubicBezTo>
                      <a:cubicBezTo>
                        <a:pt x="3" y="101"/>
                        <a:pt x="5" y="102"/>
                        <a:pt x="7" y="102"/>
                      </a:cubicBezTo>
                      <a:cubicBezTo>
                        <a:pt x="12" y="102"/>
                        <a:pt x="17" y="100"/>
                        <a:pt x="21" y="98"/>
                      </a:cubicBezTo>
                      <a:cubicBezTo>
                        <a:pt x="23" y="97"/>
                        <a:pt x="25" y="96"/>
                        <a:pt x="26" y="95"/>
                      </a:cubicBezTo>
                      <a:cubicBezTo>
                        <a:pt x="27" y="95"/>
                        <a:pt x="27" y="95"/>
                        <a:pt x="27" y="95"/>
                      </a:cubicBezTo>
                      <a:cubicBezTo>
                        <a:pt x="27" y="95"/>
                        <a:pt x="27" y="95"/>
                        <a:pt x="27" y="96"/>
                      </a:cubicBezTo>
                      <a:cubicBezTo>
                        <a:pt x="29" y="98"/>
                        <a:pt x="29" y="101"/>
                        <a:pt x="29" y="103"/>
                      </a:cubicBezTo>
                      <a:cubicBezTo>
                        <a:pt x="29" y="104"/>
                        <a:pt x="29" y="105"/>
                        <a:pt x="29" y="105"/>
                      </a:cubicBezTo>
                      <a:cubicBezTo>
                        <a:pt x="29" y="108"/>
                        <a:pt x="29" y="110"/>
                        <a:pt x="30" y="113"/>
                      </a:cubicBezTo>
                      <a:cubicBezTo>
                        <a:pt x="32" y="117"/>
                        <a:pt x="35" y="117"/>
                        <a:pt x="36" y="117"/>
                      </a:cubicBezTo>
                      <a:cubicBezTo>
                        <a:pt x="40" y="117"/>
                        <a:pt x="43" y="114"/>
                        <a:pt x="46" y="112"/>
                      </a:cubicBezTo>
                      <a:cubicBezTo>
                        <a:pt x="47" y="111"/>
                        <a:pt x="47" y="111"/>
                        <a:pt x="47" y="111"/>
                      </a:cubicBezTo>
                      <a:cubicBezTo>
                        <a:pt x="49" y="109"/>
                        <a:pt x="51" y="108"/>
                        <a:pt x="52" y="106"/>
                      </a:cubicBezTo>
                      <a:cubicBezTo>
                        <a:pt x="53" y="104"/>
                        <a:pt x="54" y="102"/>
                        <a:pt x="54" y="101"/>
                      </a:cubicBezTo>
                      <a:cubicBezTo>
                        <a:pt x="55" y="100"/>
                        <a:pt x="55" y="99"/>
                        <a:pt x="56" y="98"/>
                      </a:cubicBezTo>
                      <a:cubicBezTo>
                        <a:pt x="56" y="96"/>
                        <a:pt x="58" y="95"/>
                        <a:pt x="60" y="93"/>
                      </a:cubicBezTo>
                      <a:cubicBezTo>
                        <a:pt x="62" y="91"/>
                        <a:pt x="65" y="88"/>
                        <a:pt x="66" y="83"/>
                      </a:cubicBezTo>
                      <a:cubicBezTo>
                        <a:pt x="66" y="82"/>
                        <a:pt x="66" y="82"/>
                        <a:pt x="66" y="81"/>
                      </a:cubicBezTo>
                      <a:cubicBezTo>
                        <a:pt x="66" y="79"/>
                        <a:pt x="66" y="78"/>
                        <a:pt x="67" y="77"/>
                      </a:cubicBezTo>
                      <a:cubicBezTo>
                        <a:pt x="68" y="76"/>
                        <a:pt x="69" y="75"/>
                        <a:pt x="71" y="75"/>
                      </a:cubicBezTo>
                      <a:cubicBezTo>
                        <a:pt x="71" y="75"/>
                        <a:pt x="71" y="76"/>
                        <a:pt x="71" y="76"/>
                      </a:cubicBezTo>
                      <a:cubicBezTo>
                        <a:pt x="71" y="77"/>
                        <a:pt x="72" y="78"/>
                        <a:pt x="72" y="78"/>
                      </a:cubicBezTo>
                      <a:cubicBezTo>
                        <a:pt x="72" y="78"/>
                        <a:pt x="72" y="79"/>
                        <a:pt x="72" y="79"/>
                      </a:cubicBezTo>
                      <a:cubicBezTo>
                        <a:pt x="72" y="82"/>
                        <a:pt x="72" y="82"/>
                        <a:pt x="72" y="82"/>
                      </a:cubicBezTo>
                      <a:cubicBezTo>
                        <a:pt x="76" y="82"/>
                        <a:pt x="76" y="82"/>
                        <a:pt x="76" y="82"/>
                      </a:cubicBezTo>
                      <a:cubicBezTo>
                        <a:pt x="77" y="82"/>
                        <a:pt x="77" y="82"/>
                        <a:pt x="77" y="82"/>
                      </a:cubicBezTo>
                      <a:cubicBezTo>
                        <a:pt x="78" y="81"/>
                        <a:pt x="80" y="81"/>
                        <a:pt x="81" y="81"/>
                      </a:cubicBezTo>
                      <a:cubicBezTo>
                        <a:pt x="82" y="81"/>
                        <a:pt x="82" y="81"/>
                        <a:pt x="82" y="81"/>
                      </a:cubicBezTo>
                      <a:cubicBezTo>
                        <a:pt x="82" y="81"/>
                        <a:pt x="82" y="81"/>
                        <a:pt x="82" y="81"/>
                      </a:cubicBezTo>
                      <a:cubicBezTo>
                        <a:pt x="82" y="81"/>
                        <a:pt x="82" y="82"/>
                        <a:pt x="81" y="83"/>
                      </a:cubicBezTo>
                      <a:cubicBezTo>
                        <a:pt x="81" y="84"/>
                        <a:pt x="80" y="86"/>
                        <a:pt x="80" y="88"/>
                      </a:cubicBezTo>
                      <a:cubicBezTo>
                        <a:pt x="81" y="90"/>
                        <a:pt x="82" y="92"/>
                        <a:pt x="86" y="92"/>
                      </a:cubicBezTo>
                      <a:cubicBezTo>
                        <a:pt x="87" y="92"/>
                        <a:pt x="89" y="92"/>
                        <a:pt x="90" y="91"/>
                      </a:cubicBezTo>
                      <a:cubicBezTo>
                        <a:pt x="90" y="91"/>
                        <a:pt x="91" y="91"/>
                        <a:pt x="91" y="91"/>
                      </a:cubicBezTo>
                      <a:cubicBezTo>
                        <a:pt x="93" y="91"/>
                        <a:pt x="94" y="92"/>
                        <a:pt x="96" y="93"/>
                      </a:cubicBezTo>
                      <a:cubicBezTo>
                        <a:pt x="97" y="93"/>
                        <a:pt x="98" y="94"/>
                        <a:pt x="99" y="94"/>
                      </a:cubicBezTo>
                      <a:cubicBezTo>
                        <a:pt x="101" y="95"/>
                        <a:pt x="103" y="96"/>
                        <a:pt x="105" y="96"/>
                      </a:cubicBezTo>
                      <a:cubicBezTo>
                        <a:pt x="112" y="96"/>
                        <a:pt x="117" y="90"/>
                        <a:pt x="121" y="86"/>
                      </a:cubicBezTo>
                      <a:cubicBezTo>
                        <a:pt x="122" y="84"/>
                        <a:pt x="124" y="82"/>
                        <a:pt x="124" y="80"/>
                      </a:cubicBezTo>
                      <a:cubicBezTo>
                        <a:pt x="123" y="78"/>
                        <a:pt x="122" y="76"/>
                        <a:pt x="120" y="7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2" name="Freeform 77">
                  <a:extLst>
                    <a:ext uri="{FF2B5EF4-FFF2-40B4-BE49-F238E27FC236}">
                      <a16:creationId xmlns:a16="http://schemas.microsoft.com/office/drawing/2014/main" id="{E857AB8B-A873-994D-8451-167FB1A5AE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2648" y="5539366"/>
                  <a:ext cx="147726" cy="113861"/>
                </a:xfrm>
                <a:custGeom>
                  <a:avLst/>
                  <a:gdLst>
                    <a:gd name="T0" fmla="*/ 6 w 27"/>
                    <a:gd name="T1" fmla="*/ 14 h 23"/>
                    <a:gd name="T2" fmla="*/ 6 w 27"/>
                    <a:gd name="T3" fmla="*/ 15 h 23"/>
                    <a:gd name="T4" fmla="*/ 10 w 27"/>
                    <a:gd name="T5" fmla="*/ 20 h 23"/>
                    <a:gd name="T6" fmla="*/ 11 w 27"/>
                    <a:gd name="T7" fmla="*/ 21 h 23"/>
                    <a:gd name="T8" fmla="*/ 17 w 27"/>
                    <a:gd name="T9" fmla="*/ 23 h 23"/>
                    <a:gd name="T10" fmla="*/ 18 w 27"/>
                    <a:gd name="T11" fmla="*/ 23 h 23"/>
                    <a:gd name="T12" fmla="*/ 19 w 27"/>
                    <a:gd name="T13" fmla="*/ 23 h 23"/>
                    <a:gd name="T14" fmla="*/ 27 w 27"/>
                    <a:gd name="T15" fmla="*/ 18 h 23"/>
                    <a:gd name="T16" fmla="*/ 27 w 27"/>
                    <a:gd name="T17" fmla="*/ 15 h 23"/>
                    <a:gd name="T18" fmla="*/ 24 w 27"/>
                    <a:gd name="T19" fmla="*/ 15 h 23"/>
                    <a:gd name="T20" fmla="*/ 23 w 27"/>
                    <a:gd name="T21" fmla="*/ 14 h 23"/>
                    <a:gd name="T22" fmla="*/ 21 w 27"/>
                    <a:gd name="T23" fmla="*/ 13 h 23"/>
                    <a:gd name="T24" fmla="*/ 19 w 27"/>
                    <a:gd name="T25" fmla="*/ 13 h 23"/>
                    <a:gd name="T26" fmla="*/ 19 w 27"/>
                    <a:gd name="T27" fmla="*/ 13 h 23"/>
                    <a:gd name="T28" fmla="*/ 18 w 27"/>
                    <a:gd name="T29" fmla="*/ 12 h 23"/>
                    <a:gd name="T30" fmla="*/ 18 w 27"/>
                    <a:gd name="T31" fmla="*/ 10 h 23"/>
                    <a:gd name="T32" fmla="*/ 15 w 27"/>
                    <a:gd name="T33" fmla="*/ 6 h 23"/>
                    <a:gd name="T34" fmla="*/ 14 w 27"/>
                    <a:gd name="T35" fmla="*/ 6 h 23"/>
                    <a:gd name="T36" fmla="*/ 13 w 27"/>
                    <a:gd name="T37" fmla="*/ 4 h 23"/>
                    <a:gd name="T38" fmla="*/ 6 w 27"/>
                    <a:gd name="T39" fmla="*/ 0 h 23"/>
                    <a:gd name="T40" fmla="*/ 4 w 27"/>
                    <a:gd name="T41" fmla="*/ 0 h 23"/>
                    <a:gd name="T42" fmla="*/ 1 w 27"/>
                    <a:gd name="T43" fmla="*/ 3 h 23"/>
                    <a:gd name="T44" fmla="*/ 5 w 27"/>
                    <a:gd name="T45" fmla="*/ 13 h 23"/>
                    <a:gd name="T46" fmla="*/ 6 w 27"/>
                    <a:gd name="T47" fmla="*/ 14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7" h="23">
                      <a:moveTo>
                        <a:pt x="6" y="14"/>
                      </a:moveTo>
                      <a:cubicBezTo>
                        <a:pt x="6" y="14"/>
                        <a:pt x="6" y="15"/>
                        <a:pt x="6" y="15"/>
                      </a:cubicBezTo>
                      <a:cubicBezTo>
                        <a:pt x="6" y="17"/>
                        <a:pt x="7" y="19"/>
                        <a:pt x="10" y="20"/>
                      </a:cubicBezTo>
                      <a:cubicBezTo>
                        <a:pt x="11" y="21"/>
                        <a:pt x="11" y="21"/>
                        <a:pt x="11" y="21"/>
                      </a:cubicBezTo>
                      <a:cubicBezTo>
                        <a:pt x="12" y="22"/>
                        <a:pt x="14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18" y="23"/>
                        <a:pt x="19" y="23"/>
                        <a:pt x="19" y="23"/>
                      </a:cubicBezTo>
                      <a:cubicBezTo>
                        <a:pt x="21" y="23"/>
                        <a:pt x="27" y="22"/>
                        <a:pt x="27" y="18"/>
                      </a:cubicBezTo>
                      <a:cubicBezTo>
                        <a:pt x="27" y="15"/>
                        <a:pt x="27" y="15"/>
                        <a:pt x="27" y="15"/>
                      </a:cubicBezTo>
                      <a:cubicBezTo>
                        <a:pt x="24" y="15"/>
                        <a:pt x="24" y="15"/>
                        <a:pt x="24" y="15"/>
                      </a:cubicBezTo>
                      <a:cubicBezTo>
                        <a:pt x="24" y="15"/>
                        <a:pt x="23" y="14"/>
                        <a:pt x="23" y="14"/>
                      </a:cubicBezTo>
                      <a:cubicBezTo>
                        <a:pt x="22" y="14"/>
                        <a:pt x="22" y="13"/>
                        <a:pt x="21" y="13"/>
                      </a:cubicBezTo>
                      <a:cubicBezTo>
                        <a:pt x="20" y="13"/>
                        <a:pt x="19" y="13"/>
                        <a:pt x="19" y="13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18" y="12"/>
                        <a:pt x="18" y="12"/>
                      </a:cubicBezTo>
                      <a:cubicBezTo>
                        <a:pt x="18" y="11"/>
                        <a:pt x="18" y="10"/>
                        <a:pt x="18" y="10"/>
                      </a:cubicBezTo>
                      <a:cubicBezTo>
                        <a:pt x="17" y="8"/>
                        <a:pt x="16" y="7"/>
                        <a:pt x="15" y="6"/>
                      </a:cubicBez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14" y="6"/>
                        <a:pt x="13" y="5"/>
                        <a:pt x="13" y="4"/>
                      </a:cubicBezTo>
                      <a:cubicBezTo>
                        <a:pt x="11" y="2"/>
                        <a:pt x="9" y="0"/>
                        <a:pt x="6" y="0"/>
                      </a:cubicBezTo>
                      <a:cubicBezTo>
                        <a:pt x="5" y="0"/>
                        <a:pt x="5" y="0"/>
                        <a:pt x="4" y="0"/>
                      </a:cubicBezTo>
                      <a:cubicBezTo>
                        <a:pt x="3" y="1"/>
                        <a:pt x="1" y="2"/>
                        <a:pt x="1" y="3"/>
                      </a:cubicBezTo>
                      <a:cubicBezTo>
                        <a:pt x="0" y="7"/>
                        <a:pt x="3" y="10"/>
                        <a:pt x="5" y="13"/>
                      </a:cubicBezTo>
                      <a:cubicBezTo>
                        <a:pt x="5" y="13"/>
                        <a:pt x="5" y="13"/>
                        <a:pt x="6" y="1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3" name="Freeform 78">
                  <a:extLst>
                    <a:ext uri="{FF2B5EF4-FFF2-40B4-BE49-F238E27FC236}">
                      <a16:creationId xmlns:a16="http://schemas.microsoft.com/office/drawing/2014/main" id="{7D0BBF3A-3125-FC4C-848F-BB24B9BECF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96343" y="4835669"/>
                  <a:ext cx="86173" cy="89595"/>
                </a:xfrm>
                <a:custGeom>
                  <a:avLst/>
                  <a:gdLst>
                    <a:gd name="T0" fmla="*/ 16 w 16"/>
                    <a:gd name="T1" fmla="*/ 6 h 18"/>
                    <a:gd name="T2" fmla="*/ 11 w 16"/>
                    <a:gd name="T3" fmla="*/ 1 h 18"/>
                    <a:gd name="T4" fmla="*/ 7 w 16"/>
                    <a:gd name="T5" fmla="*/ 0 h 18"/>
                    <a:gd name="T6" fmla="*/ 1 w 16"/>
                    <a:gd name="T7" fmla="*/ 5 h 18"/>
                    <a:gd name="T8" fmla="*/ 2 w 16"/>
                    <a:gd name="T9" fmla="*/ 13 h 18"/>
                    <a:gd name="T10" fmla="*/ 3 w 16"/>
                    <a:gd name="T11" fmla="*/ 14 h 18"/>
                    <a:gd name="T12" fmla="*/ 8 w 16"/>
                    <a:gd name="T13" fmla="*/ 18 h 18"/>
                    <a:gd name="T14" fmla="*/ 10 w 16"/>
                    <a:gd name="T15" fmla="*/ 18 h 18"/>
                    <a:gd name="T16" fmla="*/ 14 w 16"/>
                    <a:gd name="T17" fmla="*/ 12 h 18"/>
                    <a:gd name="T18" fmla="*/ 15 w 16"/>
                    <a:gd name="T19" fmla="*/ 11 h 18"/>
                    <a:gd name="T20" fmla="*/ 16 w 16"/>
                    <a:gd name="T21" fmla="*/ 6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6" h="18">
                      <a:moveTo>
                        <a:pt x="16" y="6"/>
                      </a:moveTo>
                      <a:cubicBezTo>
                        <a:pt x="15" y="4"/>
                        <a:pt x="13" y="2"/>
                        <a:pt x="11" y="1"/>
                      </a:cubicBezTo>
                      <a:cubicBezTo>
                        <a:pt x="10" y="1"/>
                        <a:pt x="9" y="0"/>
                        <a:pt x="7" y="0"/>
                      </a:cubicBezTo>
                      <a:cubicBezTo>
                        <a:pt x="6" y="0"/>
                        <a:pt x="3" y="1"/>
                        <a:pt x="1" y="5"/>
                      </a:cubicBezTo>
                      <a:cubicBezTo>
                        <a:pt x="0" y="8"/>
                        <a:pt x="0" y="10"/>
                        <a:pt x="2" y="13"/>
                      </a:cubicBezTo>
                      <a:cubicBezTo>
                        <a:pt x="3" y="13"/>
                        <a:pt x="3" y="14"/>
                        <a:pt x="3" y="14"/>
                      </a:cubicBezTo>
                      <a:cubicBezTo>
                        <a:pt x="3" y="15"/>
                        <a:pt x="5" y="18"/>
                        <a:pt x="8" y="18"/>
                      </a:cubicBezTo>
                      <a:cubicBezTo>
                        <a:pt x="8" y="18"/>
                        <a:pt x="9" y="18"/>
                        <a:pt x="10" y="18"/>
                      </a:cubicBezTo>
                      <a:cubicBezTo>
                        <a:pt x="12" y="17"/>
                        <a:pt x="13" y="14"/>
                        <a:pt x="14" y="12"/>
                      </a:cubicBezTo>
                      <a:cubicBezTo>
                        <a:pt x="14" y="12"/>
                        <a:pt x="14" y="11"/>
                        <a:pt x="15" y="11"/>
                      </a:cubicBezTo>
                      <a:cubicBezTo>
                        <a:pt x="16" y="9"/>
                        <a:pt x="16" y="8"/>
                        <a:pt x="16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4" name="Freeform 79">
                  <a:extLst>
                    <a:ext uri="{FF2B5EF4-FFF2-40B4-BE49-F238E27FC236}">
                      <a16:creationId xmlns:a16="http://schemas.microsoft.com/office/drawing/2014/main" id="{89044582-F777-7148-B7BD-468410762D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8876" y="4800204"/>
                  <a:ext cx="121053" cy="203456"/>
                </a:xfrm>
                <a:custGeom>
                  <a:avLst/>
                  <a:gdLst>
                    <a:gd name="T0" fmla="*/ 18 w 22"/>
                    <a:gd name="T1" fmla="*/ 25 h 41"/>
                    <a:gd name="T2" fmla="*/ 19 w 22"/>
                    <a:gd name="T3" fmla="*/ 24 h 41"/>
                    <a:gd name="T4" fmla="*/ 19 w 22"/>
                    <a:gd name="T5" fmla="*/ 18 h 41"/>
                    <a:gd name="T6" fmla="*/ 14 w 22"/>
                    <a:gd name="T7" fmla="*/ 15 h 41"/>
                    <a:gd name="T8" fmla="*/ 15 w 22"/>
                    <a:gd name="T9" fmla="*/ 14 h 41"/>
                    <a:gd name="T10" fmla="*/ 16 w 22"/>
                    <a:gd name="T11" fmla="*/ 13 h 41"/>
                    <a:gd name="T12" fmla="*/ 20 w 22"/>
                    <a:gd name="T13" fmla="*/ 9 h 41"/>
                    <a:gd name="T14" fmla="*/ 21 w 22"/>
                    <a:gd name="T15" fmla="*/ 4 h 41"/>
                    <a:gd name="T16" fmla="*/ 16 w 22"/>
                    <a:gd name="T17" fmla="*/ 0 h 41"/>
                    <a:gd name="T18" fmla="*/ 15 w 22"/>
                    <a:gd name="T19" fmla="*/ 0 h 41"/>
                    <a:gd name="T20" fmla="*/ 8 w 22"/>
                    <a:gd name="T21" fmla="*/ 5 h 41"/>
                    <a:gd name="T22" fmla="*/ 8 w 22"/>
                    <a:gd name="T23" fmla="*/ 5 h 41"/>
                    <a:gd name="T24" fmla="*/ 6 w 22"/>
                    <a:gd name="T25" fmla="*/ 13 h 41"/>
                    <a:gd name="T26" fmla="*/ 9 w 22"/>
                    <a:gd name="T27" fmla="*/ 16 h 41"/>
                    <a:gd name="T28" fmla="*/ 7 w 22"/>
                    <a:gd name="T29" fmla="*/ 20 h 41"/>
                    <a:gd name="T30" fmla="*/ 7 w 22"/>
                    <a:gd name="T31" fmla="*/ 22 h 41"/>
                    <a:gd name="T32" fmla="*/ 7 w 22"/>
                    <a:gd name="T33" fmla="*/ 22 h 41"/>
                    <a:gd name="T34" fmla="*/ 5 w 22"/>
                    <a:gd name="T35" fmla="*/ 27 h 41"/>
                    <a:gd name="T36" fmla="*/ 5 w 22"/>
                    <a:gd name="T37" fmla="*/ 27 h 41"/>
                    <a:gd name="T38" fmla="*/ 0 w 22"/>
                    <a:gd name="T39" fmla="*/ 37 h 41"/>
                    <a:gd name="T40" fmla="*/ 3 w 22"/>
                    <a:gd name="T41" fmla="*/ 41 h 41"/>
                    <a:gd name="T42" fmla="*/ 6 w 22"/>
                    <a:gd name="T43" fmla="*/ 41 h 41"/>
                    <a:gd name="T44" fmla="*/ 6 w 22"/>
                    <a:gd name="T45" fmla="*/ 41 h 41"/>
                    <a:gd name="T46" fmla="*/ 18 w 22"/>
                    <a:gd name="T47" fmla="*/ 25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" h="41">
                      <a:moveTo>
                        <a:pt x="18" y="25"/>
                      </a:move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0" y="21"/>
                        <a:pt x="20" y="19"/>
                        <a:pt x="19" y="18"/>
                      </a:cubicBezTo>
                      <a:cubicBezTo>
                        <a:pt x="18" y="16"/>
                        <a:pt x="16" y="15"/>
                        <a:pt x="14" y="15"/>
                      </a:cubicBezTo>
                      <a:cubicBezTo>
                        <a:pt x="14" y="14"/>
                        <a:pt x="15" y="14"/>
                        <a:pt x="15" y="14"/>
                      </a:cubicBezTo>
                      <a:cubicBezTo>
                        <a:pt x="15" y="14"/>
                        <a:pt x="16" y="13"/>
                        <a:pt x="16" y="13"/>
                      </a:cubicBezTo>
                      <a:cubicBezTo>
                        <a:pt x="18" y="12"/>
                        <a:pt x="19" y="11"/>
                        <a:pt x="20" y="9"/>
                      </a:cubicBezTo>
                      <a:cubicBezTo>
                        <a:pt x="21" y="8"/>
                        <a:pt x="22" y="5"/>
                        <a:pt x="21" y="4"/>
                      </a:cubicBezTo>
                      <a:cubicBezTo>
                        <a:pt x="20" y="2"/>
                        <a:pt x="18" y="0"/>
                        <a:pt x="16" y="0"/>
                      </a:cubicBezTo>
                      <a:cubicBezTo>
                        <a:pt x="16" y="0"/>
                        <a:pt x="16" y="0"/>
                        <a:pt x="15" y="0"/>
                      </a:cubicBezTo>
                      <a:cubicBezTo>
                        <a:pt x="12" y="0"/>
                        <a:pt x="9" y="3"/>
                        <a:pt x="8" y="5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6" y="7"/>
                        <a:pt x="4" y="10"/>
                        <a:pt x="6" y="13"/>
                      </a:cubicBezTo>
                      <a:cubicBezTo>
                        <a:pt x="6" y="15"/>
                        <a:pt x="8" y="16"/>
                        <a:pt x="9" y="16"/>
                      </a:cubicBezTo>
                      <a:cubicBezTo>
                        <a:pt x="8" y="17"/>
                        <a:pt x="7" y="18"/>
                        <a:pt x="7" y="20"/>
                      </a:cubicBezTo>
                      <a:cubicBezTo>
                        <a:pt x="7" y="21"/>
                        <a:pt x="7" y="21"/>
                        <a:pt x="7" y="22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4"/>
                        <a:pt x="7" y="25"/>
                        <a:pt x="5" y="27"/>
                      </a:cubicBezTo>
                      <a:cubicBezTo>
                        <a:pt x="5" y="27"/>
                        <a:pt x="5" y="27"/>
                        <a:pt x="5" y="27"/>
                      </a:cubicBezTo>
                      <a:cubicBezTo>
                        <a:pt x="2" y="30"/>
                        <a:pt x="0" y="33"/>
                        <a:pt x="0" y="37"/>
                      </a:cubicBezTo>
                      <a:cubicBezTo>
                        <a:pt x="1" y="38"/>
                        <a:pt x="2" y="40"/>
                        <a:pt x="3" y="41"/>
                      </a:cubicBezTo>
                      <a:cubicBezTo>
                        <a:pt x="4" y="41"/>
                        <a:pt x="5" y="41"/>
                        <a:pt x="6" y="41"/>
                      </a:cubicBezTo>
                      <a:cubicBezTo>
                        <a:pt x="6" y="41"/>
                        <a:pt x="6" y="41"/>
                        <a:pt x="6" y="41"/>
                      </a:cubicBezTo>
                      <a:cubicBezTo>
                        <a:pt x="9" y="41"/>
                        <a:pt x="13" y="37"/>
                        <a:pt x="18" y="25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5" name="Freeform 80">
                  <a:extLst>
                    <a:ext uri="{FF2B5EF4-FFF2-40B4-BE49-F238E27FC236}">
                      <a16:creationId xmlns:a16="http://schemas.microsoft.com/office/drawing/2014/main" id="{57B77DEB-5974-4C48-B1D3-1342928008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7859" y="5003660"/>
                  <a:ext cx="82070" cy="123194"/>
                </a:xfrm>
                <a:custGeom>
                  <a:avLst/>
                  <a:gdLst>
                    <a:gd name="T0" fmla="*/ 8 w 15"/>
                    <a:gd name="T1" fmla="*/ 0 h 25"/>
                    <a:gd name="T2" fmla="*/ 5 w 15"/>
                    <a:gd name="T3" fmla="*/ 1 h 25"/>
                    <a:gd name="T4" fmla="*/ 4 w 15"/>
                    <a:gd name="T5" fmla="*/ 7 h 25"/>
                    <a:gd name="T6" fmla="*/ 4 w 15"/>
                    <a:gd name="T7" fmla="*/ 7 h 25"/>
                    <a:gd name="T8" fmla="*/ 4 w 15"/>
                    <a:gd name="T9" fmla="*/ 7 h 25"/>
                    <a:gd name="T10" fmla="*/ 3 w 15"/>
                    <a:gd name="T11" fmla="*/ 12 h 25"/>
                    <a:gd name="T12" fmla="*/ 3 w 15"/>
                    <a:gd name="T13" fmla="*/ 14 h 25"/>
                    <a:gd name="T14" fmla="*/ 1 w 15"/>
                    <a:gd name="T15" fmla="*/ 15 h 25"/>
                    <a:gd name="T16" fmla="*/ 0 w 15"/>
                    <a:gd name="T17" fmla="*/ 19 h 25"/>
                    <a:gd name="T18" fmla="*/ 6 w 15"/>
                    <a:gd name="T19" fmla="*/ 25 h 25"/>
                    <a:gd name="T20" fmla="*/ 11 w 15"/>
                    <a:gd name="T21" fmla="*/ 20 h 25"/>
                    <a:gd name="T22" fmla="*/ 9 w 15"/>
                    <a:gd name="T23" fmla="*/ 15 h 25"/>
                    <a:gd name="T24" fmla="*/ 9 w 15"/>
                    <a:gd name="T25" fmla="*/ 15 h 25"/>
                    <a:gd name="T26" fmla="*/ 11 w 15"/>
                    <a:gd name="T27" fmla="*/ 12 h 25"/>
                    <a:gd name="T28" fmla="*/ 12 w 15"/>
                    <a:gd name="T29" fmla="*/ 11 h 25"/>
                    <a:gd name="T30" fmla="*/ 12 w 15"/>
                    <a:gd name="T31" fmla="*/ 11 h 25"/>
                    <a:gd name="T32" fmla="*/ 15 w 15"/>
                    <a:gd name="T33" fmla="*/ 6 h 25"/>
                    <a:gd name="T34" fmla="*/ 8 w 15"/>
                    <a:gd name="T35" fmla="*/ 0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" h="25">
                      <a:moveTo>
                        <a:pt x="8" y="0"/>
                      </a:moveTo>
                      <a:cubicBezTo>
                        <a:pt x="7" y="0"/>
                        <a:pt x="6" y="0"/>
                        <a:pt x="5" y="1"/>
                      </a:cubicBezTo>
                      <a:cubicBezTo>
                        <a:pt x="2" y="3"/>
                        <a:pt x="4" y="6"/>
                        <a:pt x="4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3" y="8"/>
                        <a:pt x="2" y="10"/>
                        <a:pt x="3" y="12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2" y="14"/>
                        <a:pt x="2" y="14"/>
                        <a:pt x="1" y="15"/>
                      </a:cubicBezTo>
                      <a:cubicBezTo>
                        <a:pt x="1" y="16"/>
                        <a:pt x="0" y="17"/>
                        <a:pt x="0" y="19"/>
                      </a:cubicBezTo>
                      <a:cubicBezTo>
                        <a:pt x="1" y="22"/>
                        <a:pt x="3" y="25"/>
                        <a:pt x="6" y="25"/>
                      </a:cubicBezTo>
                      <a:cubicBezTo>
                        <a:pt x="8" y="25"/>
                        <a:pt x="11" y="23"/>
                        <a:pt x="11" y="20"/>
                      </a:cubicBezTo>
                      <a:cubicBezTo>
                        <a:pt x="11" y="18"/>
                        <a:pt x="11" y="16"/>
                        <a:pt x="9" y="15"/>
                      </a:cubicBezTo>
                      <a:cubicBezTo>
                        <a:pt x="9" y="15"/>
                        <a:pt x="9" y="15"/>
                        <a:pt x="9" y="15"/>
                      </a:cubicBezTo>
                      <a:cubicBezTo>
                        <a:pt x="10" y="14"/>
                        <a:pt x="11" y="13"/>
                        <a:pt x="11" y="12"/>
                      </a:cubicBezTo>
                      <a:cubicBezTo>
                        <a:pt x="12" y="12"/>
                        <a:pt x="12" y="11"/>
                        <a:pt x="12" y="11"/>
                      </a:cubicBezTo>
                      <a:cubicBezTo>
                        <a:pt x="12" y="11"/>
                        <a:pt x="12" y="11"/>
                        <a:pt x="12" y="11"/>
                      </a:cubicBezTo>
                      <a:cubicBezTo>
                        <a:pt x="13" y="10"/>
                        <a:pt x="15" y="9"/>
                        <a:pt x="15" y="6"/>
                      </a:cubicBezTo>
                      <a:cubicBezTo>
                        <a:pt x="15" y="3"/>
                        <a:pt x="11" y="0"/>
                        <a:pt x="8" y="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6" name="Freeform 81">
                  <a:extLst>
                    <a:ext uri="{FF2B5EF4-FFF2-40B4-BE49-F238E27FC236}">
                      <a16:creationId xmlns:a16="http://schemas.microsoft.com/office/drawing/2014/main" id="{D72275D4-46B2-1241-93ED-1DF069B412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750133" y="4800204"/>
                  <a:ext cx="108743" cy="83996"/>
                </a:xfrm>
                <a:custGeom>
                  <a:avLst/>
                  <a:gdLst>
                    <a:gd name="T0" fmla="*/ 14 w 20"/>
                    <a:gd name="T1" fmla="*/ 2 h 17"/>
                    <a:gd name="T2" fmla="*/ 12 w 20"/>
                    <a:gd name="T3" fmla="*/ 1 h 17"/>
                    <a:gd name="T4" fmla="*/ 8 w 20"/>
                    <a:gd name="T5" fmla="*/ 0 h 17"/>
                    <a:gd name="T6" fmla="*/ 4 w 20"/>
                    <a:gd name="T7" fmla="*/ 1 h 17"/>
                    <a:gd name="T8" fmla="*/ 1 w 20"/>
                    <a:gd name="T9" fmla="*/ 6 h 17"/>
                    <a:gd name="T10" fmla="*/ 4 w 20"/>
                    <a:gd name="T11" fmla="*/ 12 h 17"/>
                    <a:gd name="T12" fmla="*/ 5 w 20"/>
                    <a:gd name="T13" fmla="*/ 13 h 17"/>
                    <a:gd name="T14" fmla="*/ 5 w 20"/>
                    <a:gd name="T15" fmla="*/ 14 h 17"/>
                    <a:gd name="T16" fmla="*/ 10 w 20"/>
                    <a:gd name="T17" fmla="*/ 17 h 17"/>
                    <a:gd name="T18" fmla="*/ 12 w 20"/>
                    <a:gd name="T19" fmla="*/ 17 h 17"/>
                    <a:gd name="T20" fmla="*/ 14 w 20"/>
                    <a:gd name="T21" fmla="*/ 17 h 17"/>
                    <a:gd name="T22" fmla="*/ 14 w 20"/>
                    <a:gd name="T23" fmla="*/ 15 h 17"/>
                    <a:gd name="T24" fmla="*/ 14 w 20"/>
                    <a:gd name="T25" fmla="*/ 14 h 17"/>
                    <a:gd name="T26" fmla="*/ 14 w 20"/>
                    <a:gd name="T27" fmla="*/ 14 h 17"/>
                    <a:gd name="T28" fmla="*/ 18 w 20"/>
                    <a:gd name="T29" fmla="*/ 12 h 17"/>
                    <a:gd name="T30" fmla="*/ 20 w 20"/>
                    <a:gd name="T31" fmla="*/ 7 h 17"/>
                    <a:gd name="T32" fmla="*/ 14 w 20"/>
                    <a:gd name="T33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0" h="17">
                      <a:moveTo>
                        <a:pt x="14" y="2"/>
                      </a:moveTo>
                      <a:cubicBezTo>
                        <a:pt x="14" y="2"/>
                        <a:pt x="13" y="2"/>
                        <a:pt x="12" y="1"/>
                      </a:cubicBezTo>
                      <a:cubicBezTo>
                        <a:pt x="11" y="1"/>
                        <a:pt x="10" y="0"/>
                        <a:pt x="8" y="0"/>
                      </a:cubicBezTo>
                      <a:cubicBezTo>
                        <a:pt x="7" y="0"/>
                        <a:pt x="5" y="1"/>
                        <a:pt x="4" y="1"/>
                      </a:cubicBezTo>
                      <a:cubicBezTo>
                        <a:pt x="3" y="2"/>
                        <a:pt x="1" y="3"/>
                        <a:pt x="1" y="6"/>
                      </a:cubicBezTo>
                      <a:cubicBezTo>
                        <a:pt x="0" y="9"/>
                        <a:pt x="2" y="10"/>
                        <a:pt x="4" y="12"/>
                      </a:cubicBezTo>
                      <a:cubicBezTo>
                        <a:pt x="4" y="12"/>
                        <a:pt x="4" y="13"/>
                        <a:pt x="5" y="13"/>
                      </a:cubicBezTo>
                      <a:cubicBezTo>
                        <a:pt x="5" y="13"/>
                        <a:pt x="5" y="13"/>
                        <a:pt x="5" y="14"/>
                      </a:cubicBezTo>
                      <a:cubicBezTo>
                        <a:pt x="6" y="15"/>
                        <a:pt x="7" y="17"/>
                        <a:pt x="10" y="17"/>
                      </a:cubicBezTo>
                      <a:cubicBezTo>
                        <a:pt x="10" y="17"/>
                        <a:pt x="11" y="17"/>
                        <a:pt x="12" y="17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4" y="15"/>
                        <a:pt x="14" y="15"/>
                        <a:pt x="14" y="15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4" y="14"/>
                        <a:pt x="14" y="14"/>
                        <a:pt x="14" y="14"/>
                      </a:cubicBezTo>
                      <a:cubicBezTo>
                        <a:pt x="15" y="13"/>
                        <a:pt x="16" y="13"/>
                        <a:pt x="18" y="12"/>
                      </a:cubicBezTo>
                      <a:cubicBezTo>
                        <a:pt x="20" y="10"/>
                        <a:pt x="20" y="8"/>
                        <a:pt x="20" y="7"/>
                      </a:cubicBezTo>
                      <a:cubicBezTo>
                        <a:pt x="19" y="4"/>
                        <a:pt x="17" y="3"/>
                        <a:pt x="14" y="2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7" name="Freeform 83">
                  <a:extLst>
                    <a:ext uri="{FF2B5EF4-FFF2-40B4-BE49-F238E27FC236}">
                      <a16:creationId xmlns:a16="http://schemas.microsoft.com/office/drawing/2014/main" id="{9FEFD38C-87B6-5C44-9EB5-7FE6F7E3FF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608107" y="3336813"/>
                  <a:ext cx="420609" cy="451710"/>
                </a:xfrm>
                <a:custGeom>
                  <a:avLst/>
                  <a:gdLst>
                    <a:gd name="T0" fmla="*/ 68 w 77"/>
                    <a:gd name="T1" fmla="*/ 49 h 91"/>
                    <a:gd name="T2" fmla="*/ 67 w 77"/>
                    <a:gd name="T3" fmla="*/ 43 h 91"/>
                    <a:gd name="T4" fmla="*/ 67 w 77"/>
                    <a:gd name="T5" fmla="*/ 34 h 91"/>
                    <a:gd name="T6" fmla="*/ 65 w 77"/>
                    <a:gd name="T7" fmla="*/ 21 h 91"/>
                    <a:gd name="T8" fmla="*/ 55 w 77"/>
                    <a:gd name="T9" fmla="*/ 15 h 91"/>
                    <a:gd name="T10" fmla="*/ 55 w 77"/>
                    <a:gd name="T11" fmla="*/ 12 h 91"/>
                    <a:gd name="T12" fmla="*/ 41 w 77"/>
                    <a:gd name="T13" fmla="*/ 0 h 91"/>
                    <a:gd name="T14" fmla="*/ 33 w 77"/>
                    <a:gd name="T15" fmla="*/ 8 h 91"/>
                    <a:gd name="T16" fmla="*/ 28 w 77"/>
                    <a:gd name="T17" fmla="*/ 7 h 91"/>
                    <a:gd name="T18" fmla="*/ 22 w 77"/>
                    <a:gd name="T19" fmla="*/ 19 h 91"/>
                    <a:gd name="T20" fmla="*/ 18 w 77"/>
                    <a:gd name="T21" fmla="*/ 19 h 91"/>
                    <a:gd name="T22" fmla="*/ 9 w 77"/>
                    <a:gd name="T23" fmla="*/ 30 h 91"/>
                    <a:gd name="T24" fmla="*/ 2 w 77"/>
                    <a:gd name="T25" fmla="*/ 32 h 91"/>
                    <a:gd name="T26" fmla="*/ 4 w 77"/>
                    <a:gd name="T27" fmla="*/ 44 h 91"/>
                    <a:gd name="T28" fmla="*/ 10 w 77"/>
                    <a:gd name="T29" fmla="*/ 46 h 91"/>
                    <a:gd name="T30" fmla="*/ 11 w 77"/>
                    <a:gd name="T31" fmla="*/ 54 h 91"/>
                    <a:gd name="T32" fmla="*/ 19 w 77"/>
                    <a:gd name="T33" fmla="*/ 56 h 91"/>
                    <a:gd name="T34" fmla="*/ 21 w 77"/>
                    <a:gd name="T35" fmla="*/ 57 h 91"/>
                    <a:gd name="T36" fmla="*/ 27 w 77"/>
                    <a:gd name="T37" fmla="*/ 61 h 91"/>
                    <a:gd name="T38" fmla="*/ 32 w 77"/>
                    <a:gd name="T39" fmla="*/ 61 h 91"/>
                    <a:gd name="T40" fmla="*/ 40 w 77"/>
                    <a:gd name="T41" fmla="*/ 63 h 91"/>
                    <a:gd name="T42" fmla="*/ 38 w 77"/>
                    <a:gd name="T43" fmla="*/ 66 h 91"/>
                    <a:gd name="T44" fmla="*/ 35 w 77"/>
                    <a:gd name="T45" fmla="*/ 67 h 91"/>
                    <a:gd name="T46" fmla="*/ 30 w 77"/>
                    <a:gd name="T47" fmla="*/ 66 h 91"/>
                    <a:gd name="T48" fmla="*/ 22 w 77"/>
                    <a:gd name="T49" fmla="*/ 68 h 91"/>
                    <a:gd name="T50" fmla="*/ 24 w 77"/>
                    <a:gd name="T51" fmla="*/ 78 h 91"/>
                    <a:gd name="T52" fmla="*/ 43 w 77"/>
                    <a:gd name="T53" fmla="*/ 91 h 91"/>
                    <a:gd name="T54" fmla="*/ 66 w 77"/>
                    <a:gd name="T55" fmla="*/ 85 h 91"/>
                    <a:gd name="T56" fmla="*/ 77 w 77"/>
                    <a:gd name="T57" fmla="*/ 53 h 91"/>
                    <a:gd name="T58" fmla="*/ 50 w 77"/>
                    <a:gd name="T59" fmla="*/ 65 h 91"/>
                    <a:gd name="T60" fmla="*/ 47 w 77"/>
                    <a:gd name="T61" fmla="*/ 61 h 91"/>
                    <a:gd name="T62" fmla="*/ 49 w 77"/>
                    <a:gd name="T63" fmla="*/ 61 h 91"/>
                    <a:gd name="T64" fmla="*/ 56 w 77"/>
                    <a:gd name="T65" fmla="*/ 65 h 91"/>
                    <a:gd name="T66" fmla="*/ 52 w 77"/>
                    <a:gd name="T67" fmla="*/ 67 h 91"/>
                    <a:gd name="T68" fmla="*/ 39 w 77"/>
                    <a:gd name="T69" fmla="*/ 48 h 91"/>
                    <a:gd name="T70" fmla="*/ 37 w 77"/>
                    <a:gd name="T71" fmla="*/ 50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77" h="91">
                      <a:moveTo>
                        <a:pt x="73" y="51"/>
                      </a:moveTo>
                      <a:cubicBezTo>
                        <a:pt x="71" y="51"/>
                        <a:pt x="70" y="50"/>
                        <a:pt x="68" y="49"/>
                      </a:cubicBezTo>
                      <a:cubicBezTo>
                        <a:pt x="68" y="49"/>
                        <a:pt x="68" y="48"/>
                        <a:pt x="68" y="46"/>
                      </a:cubicBezTo>
                      <a:cubicBezTo>
                        <a:pt x="68" y="45"/>
                        <a:pt x="68" y="44"/>
                        <a:pt x="67" y="43"/>
                      </a:cubicBezTo>
                      <a:cubicBezTo>
                        <a:pt x="67" y="41"/>
                        <a:pt x="67" y="40"/>
                        <a:pt x="67" y="38"/>
                      </a:cubicBezTo>
                      <a:cubicBezTo>
                        <a:pt x="67" y="37"/>
                        <a:pt x="67" y="35"/>
                        <a:pt x="67" y="34"/>
                      </a:cubicBezTo>
                      <a:cubicBezTo>
                        <a:pt x="67" y="33"/>
                        <a:pt x="67" y="32"/>
                        <a:pt x="67" y="31"/>
                      </a:cubicBezTo>
                      <a:cubicBezTo>
                        <a:pt x="66" y="28"/>
                        <a:pt x="66" y="24"/>
                        <a:pt x="65" y="21"/>
                      </a:cubicBezTo>
                      <a:cubicBezTo>
                        <a:pt x="63" y="17"/>
                        <a:pt x="59" y="16"/>
                        <a:pt x="56" y="15"/>
                      </a:cubicBezTo>
                      <a:cubicBezTo>
                        <a:pt x="56" y="15"/>
                        <a:pt x="55" y="15"/>
                        <a:pt x="55" y="15"/>
                      </a:cubicBezTo>
                      <a:cubicBezTo>
                        <a:pt x="55" y="14"/>
                        <a:pt x="55" y="14"/>
                        <a:pt x="55" y="13"/>
                      </a:cubicBezTo>
                      <a:cubicBezTo>
                        <a:pt x="55" y="12"/>
                        <a:pt x="55" y="12"/>
                        <a:pt x="55" y="12"/>
                      </a:cubicBezTo>
                      <a:cubicBezTo>
                        <a:pt x="56" y="7"/>
                        <a:pt x="55" y="5"/>
                        <a:pt x="54" y="4"/>
                      </a:cubicBezTo>
                      <a:cubicBezTo>
                        <a:pt x="51" y="2"/>
                        <a:pt x="46" y="0"/>
                        <a:pt x="41" y="0"/>
                      </a:cubicBezTo>
                      <a:cubicBezTo>
                        <a:pt x="35" y="0"/>
                        <a:pt x="34" y="4"/>
                        <a:pt x="33" y="5"/>
                      </a:cubicBezTo>
                      <a:cubicBezTo>
                        <a:pt x="33" y="6"/>
                        <a:pt x="33" y="7"/>
                        <a:pt x="33" y="8"/>
                      </a:cubicBezTo>
                      <a:cubicBezTo>
                        <a:pt x="33" y="8"/>
                        <a:pt x="33" y="8"/>
                        <a:pt x="32" y="8"/>
                      </a:cubicBezTo>
                      <a:cubicBezTo>
                        <a:pt x="31" y="8"/>
                        <a:pt x="30" y="7"/>
                        <a:pt x="28" y="7"/>
                      </a:cubicBezTo>
                      <a:cubicBezTo>
                        <a:pt x="26" y="7"/>
                        <a:pt x="25" y="8"/>
                        <a:pt x="23" y="9"/>
                      </a:cubicBezTo>
                      <a:cubicBezTo>
                        <a:pt x="21" y="12"/>
                        <a:pt x="20" y="16"/>
                        <a:pt x="22" y="19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0" y="19"/>
                        <a:pt x="19" y="19"/>
                        <a:pt x="18" y="19"/>
                      </a:cubicBezTo>
                      <a:cubicBezTo>
                        <a:pt x="11" y="19"/>
                        <a:pt x="11" y="24"/>
                        <a:pt x="10" y="27"/>
                      </a:cubicBezTo>
                      <a:cubicBezTo>
                        <a:pt x="10" y="30"/>
                        <a:pt x="9" y="30"/>
                        <a:pt x="9" y="30"/>
                      </a:cubicBezTo>
                      <a:cubicBezTo>
                        <a:pt x="8" y="30"/>
                        <a:pt x="8" y="30"/>
                        <a:pt x="8" y="30"/>
                      </a:cubicBezTo>
                      <a:cubicBezTo>
                        <a:pt x="6" y="30"/>
                        <a:pt x="4" y="30"/>
                        <a:pt x="2" y="32"/>
                      </a:cubicBezTo>
                      <a:cubicBezTo>
                        <a:pt x="1" y="34"/>
                        <a:pt x="0" y="36"/>
                        <a:pt x="1" y="38"/>
                      </a:cubicBezTo>
                      <a:cubicBezTo>
                        <a:pt x="1" y="41"/>
                        <a:pt x="2" y="43"/>
                        <a:pt x="4" y="44"/>
                      </a:cubicBezTo>
                      <a:cubicBezTo>
                        <a:pt x="6" y="45"/>
                        <a:pt x="7" y="45"/>
                        <a:pt x="9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10" y="46"/>
                        <a:pt x="10" y="47"/>
                        <a:pt x="10" y="47"/>
                      </a:cubicBezTo>
                      <a:cubicBezTo>
                        <a:pt x="10" y="49"/>
                        <a:pt x="9" y="51"/>
                        <a:pt x="11" y="54"/>
                      </a:cubicBezTo>
                      <a:cubicBezTo>
                        <a:pt x="12" y="56"/>
                        <a:pt x="14" y="56"/>
                        <a:pt x="16" y="56"/>
                      </a:cubicBezTo>
                      <a:cubicBezTo>
                        <a:pt x="17" y="56"/>
                        <a:pt x="18" y="56"/>
                        <a:pt x="19" y="56"/>
                      </a:cubicBezTo>
                      <a:cubicBezTo>
                        <a:pt x="19" y="56"/>
                        <a:pt x="20" y="56"/>
                        <a:pt x="20" y="56"/>
                      </a:cubicBezTo>
                      <a:cubicBezTo>
                        <a:pt x="20" y="56"/>
                        <a:pt x="21" y="57"/>
                        <a:pt x="21" y="57"/>
                      </a:cubicBezTo>
                      <a:cubicBezTo>
                        <a:pt x="22" y="58"/>
                        <a:pt x="23" y="60"/>
                        <a:pt x="26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9" y="61"/>
                        <a:pt x="31" y="60"/>
                        <a:pt x="32" y="59"/>
                      </a:cubicBezTo>
                      <a:cubicBezTo>
                        <a:pt x="32" y="61"/>
                        <a:pt x="32" y="61"/>
                        <a:pt x="32" y="61"/>
                      </a:cubicBezTo>
                      <a:cubicBezTo>
                        <a:pt x="34" y="62"/>
                        <a:pt x="34" y="62"/>
                        <a:pt x="34" y="62"/>
                      </a:cubicBezTo>
                      <a:cubicBezTo>
                        <a:pt x="36" y="63"/>
                        <a:pt x="38" y="63"/>
                        <a:pt x="40" y="63"/>
                      </a:cubicBezTo>
                      <a:cubicBezTo>
                        <a:pt x="40" y="63"/>
                        <a:pt x="40" y="63"/>
                        <a:pt x="40" y="63"/>
                      </a:cubicBezTo>
                      <a:cubicBezTo>
                        <a:pt x="39" y="64"/>
                        <a:pt x="39" y="65"/>
                        <a:pt x="38" y="66"/>
                      </a:cubicBezTo>
                      <a:cubicBezTo>
                        <a:pt x="38" y="66"/>
                        <a:pt x="38" y="66"/>
                        <a:pt x="37" y="66"/>
                      </a:cubicBezTo>
                      <a:cubicBezTo>
                        <a:pt x="36" y="67"/>
                        <a:pt x="36" y="67"/>
                        <a:pt x="35" y="67"/>
                      </a:cubicBezTo>
                      <a:cubicBezTo>
                        <a:pt x="34" y="67"/>
                        <a:pt x="32" y="67"/>
                        <a:pt x="31" y="66"/>
                      </a:cubicBezTo>
                      <a:cubicBezTo>
                        <a:pt x="31" y="66"/>
                        <a:pt x="30" y="66"/>
                        <a:pt x="30" y="66"/>
                      </a:cubicBezTo>
                      <a:cubicBezTo>
                        <a:pt x="29" y="66"/>
                        <a:pt x="28" y="65"/>
                        <a:pt x="27" y="65"/>
                      </a:cubicBezTo>
                      <a:cubicBezTo>
                        <a:pt x="25" y="65"/>
                        <a:pt x="23" y="66"/>
                        <a:pt x="22" y="68"/>
                      </a:cubicBezTo>
                      <a:cubicBezTo>
                        <a:pt x="20" y="71"/>
                        <a:pt x="22" y="75"/>
                        <a:pt x="23" y="77"/>
                      </a:cubicBezTo>
                      <a:cubicBezTo>
                        <a:pt x="23" y="78"/>
                        <a:pt x="24" y="78"/>
                        <a:pt x="24" y="78"/>
                      </a:cubicBezTo>
                      <a:cubicBezTo>
                        <a:pt x="28" y="90"/>
                        <a:pt x="36" y="91"/>
                        <a:pt x="43" y="91"/>
                      </a:cubicBezTo>
                      <a:cubicBezTo>
                        <a:pt x="43" y="91"/>
                        <a:pt x="43" y="91"/>
                        <a:pt x="43" y="91"/>
                      </a:cubicBezTo>
                      <a:cubicBezTo>
                        <a:pt x="46" y="91"/>
                        <a:pt x="49" y="91"/>
                        <a:pt x="53" y="90"/>
                      </a:cubicBezTo>
                      <a:cubicBezTo>
                        <a:pt x="57" y="90"/>
                        <a:pt x="61" y="88"/>
                        <a:pt x="66" y="85"/>
                      </a:cubicBezTo>
                      <a:cubicBezTo>
                        <a:pt x="67" y="84"/>
                        <a:pt x="67" y="84"/>
                        <a:pt x="67" y="84"/>
                      </a:cubicBezTo>
                      <a:cubicBezTo>
                        <a:pt x="77" y="53"/>
                        <a:pt x="77" y="53"/>
                        <a:pt x="77" y="53"/>
                      </a:cubicBezTo>
                      <a:lnTo>
                        <a:pt x="73" y="51"/>
                      </a:lnTo>
                      <a:close/>
                      <a:moveTo>
                        <a:pt x="50" y="65"/>
                      </a:moveTo>
                      <a:cubicBezTo>
                        <a:pt x="49" y="64"/>
                        <a:pt x="48" y="62"/>
                        <a:pt x="46" y="62"/>
                      </a:cubicBezTo>
                      <a:cubicBezTo>
                        <a:pt x="46" y="62"/>
                        <a:pt x="47" y="61"/>
                        <a:pt x="47" y="61"/>
                      </a:cubicBezTo>
                      <a:cubicBezTo>
                        <a:pt x="47" y="61"/>
                        <a:pt x="48" y="60"/>
                        <a:pt x="48" y="60"/>
                      </a:cubicBezTo>
                      <a:cubicBezTo>
                        <a:pt x="49" y="61"/>
                        <a:pt x="49" y="61"/>
                        <a:pt x="49" y="61"/>
                      </a:cubicBezTo>
                      <a:cubicBezTo>
                        <a:pt x="50" y="63"/>
                        <a:pt x="51" y="64"/>
                        <a:pt x="54" y="64"/>
                      </a:cubicBezTo>
                      <a:cubicBezTo>
                        <a:pt x="55" y="64"/>
                        <a:pt x="56" y="64"/>
                        <a:pt x="56" y="65"/>
                      </a:cubicBezTo>
                      <a:cubicBezTo>
                        <a:pt x="57" y="65"/>
                        <a:pt x="57" y="65"/>
                        <a:pt x="58" y="65"/>
                      </a:cubicBezTo>
                      <a:cubicBezTo>
                        <a:pt x="56" y="66"/>
                        <a:pt x="54" y="67"/>
                        <a:pt x="52" y="67"/>
                      </a:cubicBezTo>
                      <a:cubicBezTo>
                        <a:pt x="52" y="67"/>
                        <a:pt x="50" y="66"/>
                        <a:pt x="50" y="65"/>
                      </a:cubicBezTo>
                      <a:close/>
                      <a:moveTo>
                        <a:pt x="39" y="48"/>
                      </a:moveTo>
                      <a:cubicBezTo>
                        <a:pt x="39" y="49"/>
                        <a:pt x="39" y="49"/>
                        <a:pt x="38" y="49"/>
                      </a:cubicBezTo>
                      <a:cubicBezTo>
                        <a:pt x="38" y="49"/>
                        <a:pt x="37" y="50"/>
                        <a:pt x="37" y="50"/>
                      </a:cubicBezTo>
                      <a:cubicBezTo>
                        <a:pt x="37" y="49"/>
                        <a:pt x="38" y="49"/>
                        <a:pt x="39" y="4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8" name="Freeform 86">
                  <a:extLst>
                    <a:ext uri="{FF2B5EF4-FFF2-40B4-BE49-F238E27FC236}">
                      <a16:creationId xmlns:a16="http://schemas.microsoft.com/office/drawing/2014/main" id="{B5B40639-85ED-5141-B6C7-BAE0EC79D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70731" y="3273350"/>
                  <a:ext cx="98484" cy="69063"/>
                </a:xfrm>
                <a:custGeom>
                  <a:avLst/>
                  <a:gdLst>
                    <a:gd name="T0" fmla="*/ 17 w 18"/>
                    <a:gd name="T1" fmla="*/ 6 h 14"/>
                    <a:gd name="T2" fmla="*/ 7 w 18"/>
                    <a:gd name="T3" fmla="*/ 0 h 14"/>
                    <a:gd name="T4" fmla="*/ 6 w 18"/>
                    <a:gd name="T5" fmla="*/ 0 h 14"/>
                    <a:gd name="T6" fmla="*/ 1 w 18"/>
                    <a:gd name="T7" fmla="*/ 3 h 14"/>
                    <a:gd name="T8" fmla="*/ 2 w 18"/>
                    <a:gd name="T9" fmla="*/ 8 h 14"/>
                    <a:gd name="T10" fmla="*/ 10 w 18"/>
                    <a:gd name="T11" fmla="*/ 14 h 14"/>
                    <a:gd name="T12" fmla="*/ 11 w 18"/>
                    <a:gd name="T13" fmla="*/ 14 h 14"/>
                    <a:gd name="T14" fmla="*/ 17 w 18"/>
                    <a:gd name="T15" fmla="*/ 11 h 14"/>
                    <a:gd name="T16" fmla="*/ 17 w 18"/>
                    <a:gd name="T17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" h="14">
                      <a:moveTo>
                        <a:pt x="17" y="6"/>
                      </a:moveTo>
                      <a:cubicBezTo>
                        <a:pt x="15" y="3"/>
                        <a:pt x="9" y="1"/>
                        <a:pt x="7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0"/>
                        <a:pt x="2" y="2"/>
                        <a:pt x="1" y="3"/>
                      </a:cubicBezTo>
                      <a:cubicBezTo>
                        <a:pt x="1" y="4"/>
                        <a:pt x="0" y="6"/>
                        <a:pt x="2" y="8"/>
                      </a:cubicBezTo>
                      <a:cubicBezTo>
                        <a:pt x="3" y="11"/>
                        <a:pt x="7" y="14"/>
                        <a:pt x="10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3" y="14"/>
                        <a:pt x="16" y="13"/>
                        <a:pt x="17" y="11"/>
                      </a:cubicBezTo>
                      <a:cubicBezTo>
                        <a:pt x="18" y="9"/>
                        <a:pt x="18" y="7"/>
                        <a:pt x="17" y="6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9" name="Freeform 88">
                  <a:extLst>
                    <a:ext uri="{FF2B5EF4-FFF2-40B4-BE49-F238E27FC236}">
                      <a16:creationId xmlns:a16="http://schemas.microsoft.com/office/drawing/2014/main" id="{EBF5D61D-84FF-3140-8971-3C806F815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55662" y="4785272"/>
                  <a:ext cx="96432" cy="69063"/>
                </a:xfrm>
                <a:custGeom>
                  <a:avLst/>
                  <a:gdLst>
                    <a:gd name="T0" fmla="*/ 17 w 18"/>
                    <a:gd name="T1" fmla="*/ 7 h 14"/>
                    <a:gd name="T2" fmla="*/ 6 w 18"/>
                    <a:gd name="T3" fmla="*/ 0 h 14"/>
                    <a:gd name="T4" fmla="*/ 2 w 18"/>
                    <a:gd name="T5" fmla="*/ 2 h 14"/>
                    <a:gd name="T6" fmla="*/ 0 w 18"/>
                    <a:gd name="T7" fmla="*/ 7 h 14"/>
                    <a:gd name="T8" fmla="*/ 3 w 18"/>
                    <a:gd name="T9" fmla="*/ 11 h 14"/>
                    <a:gd name="T10" fmla="*/ 5 w 18"/>
                    <a:gd name="T11" fmla="*/ 11 h 14"/>
                    <a:gd name="T12" fmla="*/ 7 w 18"/>
                    <a:gd name="T13" fmla="*/ 11 h 14"/>
                    <a:gd name="T14" fmla="*/ 8 w 18"/>
                    <a:gd name="T15" fmla="*/ 12 h 14"/>
                    <a:gd name="T16" fmla="*/ 13 w 18"/>
                    <a:gd name="T17" fmla="*/ 14 h 14"/>
                    <a:gd name="T18" fmla="*/ 16 w 18"/>
                    <a:gd name="T19" fmla="*/ 13 h 14"/>
                    <a:gd name="T20" fmla="*/ 17 w 18"/>
                    <a:gd name="T21" fmla="*/ 7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8" h="14">
                      <a:moveTo>
                        <a:pt x="17" y="7"/>
                      </a:moveTo>
                      <a:cubicBezTo>
                        <a:pt x="16" y="4"/>
                        <a:pt x="11" y="0"/>
                        <a:pt x="6" y="0"/>
                      </a:cubicBezTo>
                      <a:cubicBezTo>
                        <a:pt x="5" y="0"/>
                        <a:pt x="3" y="1"/>
                        <a:pt x="2" y="2"/>
                      </a:cubicBezTo>
                      <a:cubicBezTo>
                        <a:pt x="1" y="3"/>
                        <a:pt x="0" y="5"/>
                        <a:pt x="0" y="7"/>
                      </a:cubicBezTo>
                      <a:cubicBezTo>
                        <a:pt x="0" y="9"/>
                        <a:pt x="1" y="10"/>
                        <a:pt x="3" y="11"/>
                      </a:cubicBezTo>
                      <a:cubicBezTo>
                        <a:pt x="4" y="11"/>
                        <a:pt x="4" y="11"/>
                        <a:pt x="5" y="11"/>
                      </a:cubicBezTo>
                      <a:cubicBezTo>
                        <a:pt x="6" y="11"/>
                        <a:pt x="7" y="11"/>
                        <a:pt x="7" y="11"/>
                      </a:cubicBezTo>
                      <a:cubicBezTo>
                        <a:pt x="8" y="11"/>
                        <a:pt x="8" y="12"/>
                        <a:pt x="8" y="12"/>
                      </a:cubicBezTo>
                      <a:cubicBezTo>
                        <a:pt x="9" y="13"/>
                        <a:pt x="11" y="14"/>
                        <a:pt x="13" y="14"/>
                      </a:cubicBezTo>
                      <a:cubicBezTo>
                        <a:pt x="14" y="14"/>
                        <a:pt x="15" y="13"/>
                        <a:pt x="16" y="13"/>
                      </a:cubicBezTo>
                      <a:cubicBezTo>
                        <a:pt x="18" y="11"/>
                        <a:pt x="18" y="9"/>
                        <a:pt x="17" y="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0" name="Freeform 90">
                  <a:extLst>
                    <a:ext uri="{FF2B5EF4-FFF2-40B4-BE49-F238E27FC236}">
                      <a16:creationId xmlns:a16="http://schemas.microsoft.com/office/drawing/2014/main" id="{02BBC532-878A-8B40-8E5F-535D12FD09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56460" y="3695195"/>
                  <a:ext cx="110794" cy="98928"/>
                </a:xfrm>
                <a:custGeom>
                  <a:avLst/>
                  <a:gdLst>
                    <a:gd name="T0" fmla="*/ 19 w 20"/>
                    <a:gd name="T1" fmla="*/ 4 h 20"/>
                    <a:gd name="T2" fmla="*/ 12 w 20"/>
                    <a:gd name="T3" fmla="*/ 0 h 20"/>
                    <a:gd name="T4" fmla="*/ 1 w 20"/>
                    <a:gd name="T5" fmla="*/ 10 h 20"/>
                    <a:gd name="T6" fmla="*/ 8 w 20"/>
                    <a:gd name="T7" fmla="*/ 20 h 20"/>
                    <a:gd name="T8" fmla="*/ 11 w 20"/>
                    <a:gd name="T9" fmla="*/ 20 h 20"/>
                    <a:gd name="T10" fmla="*/ 11 w 20"/>
                    <a:gd name="T11" fmla="*/ 20 h 20"/>
                    <a:gd name="T12" fmla="*/ 18 w 20"/>
                    <a:gd name="T13" fmla="*/ 16 h 20"/>
                    <a:gd name="T14" fmla="*/ 19 w 20"/>
                    <a:gd name="T15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20">
                      <a:moveTo>
                        <a:pt x="19" y="4"/>
                      </a:moveTo>
                      <a:cubicBezTo>
                        <a:pt x="17" y="0"/>
                        <a:pt x="14" y="0"/>
                        <a:pt x="12" y="0"/>
                      </a:cubicBezTo>
                      <a:cubicBezTo>
                        <a:pt x="7" y="0"/>
                        <a:pt x="2" y="6"/>
                        <a:pt x="1" y="10"/>
                      </a:cubicBezTo>
                      <a:cubicBezTo>
                        <a:pt x="0" y="15"/>
                        <a:pt x="2" y="18"/>
                        <a:pt x="8" y="20"/>
                      </a:cubicBezTo>
                      <a:cubicBezTo>
                        <a:pt x="9" y="20"/>
                        <a:pt x="10" y="20"/>
                        <a:pt x="11" y="20"/>
                      </a:cubicBezTo>
                      <a:cubicBezTo>
                        <a:pt x="11" y="20"/>
                        <a:pt x="11" y="20"/>
                        <a:pt x="11" y="20"/>
                      </a:cubicBezTo>
                      <a:cubicBezTo>
                        <a:pt x="14" y="20"/>
                        <a:pt x="16" y="19"/>
                        <a:pt x="18" y="16"/>
                      </a:cubicBezTo>
                      <a:cubicBezTo>
                        <a:pt x="20" y="13"/>
                        <a:pt x="20" y="8"/>
                        <a:pt x="19" y="4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1" name="Freeform 92">
                  <a:extLst>
                    <a:ext uri="{FF2B5EF4-FFF2-40B4-BE49-F238E27FC236}">
                      <a16:creationId xmlns:a16="http://schemas.microsoft.com/office/drawing/2014/main" id="{2591F8B8-7E69-3143-8B32-23A00BCEEE2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334426" y="3450674"/>
                  <a:ext cx="385729" cy="391980"/>
                </a:xfrm>
                <a:custGeom>
                  <a:avLst/>
                  <a:gdLst>
                    <a:gd name="T0" fmla="*/ 69 w 71"/>
                    <a:gd name="T1" fmla="*/ 23 h 79"/>
                    <a:gd name="T2" fmla="*/ 60 w 71"/>
                    <a:gd name="T3" fmla="*/ 11 h 79"/>
                    <a:gd name="T4" fmla="*/ 54 w 71"/>
                    <a:gd name="T5" fmla="*/ 12 h 79"/>
                    <a:gd name="T6" fmla="*/ 46 w 71"/>
                    <a:gd name="T7" fmla="*/ 9 h 79"/>
                    <a:gd name="T8" fmla="*/ 41 w 71"/>
                    <a:gd name="T9" fmla="*/ 3 h 79"/>
                    <a:gd name="T10" fmla="*/ 35 w 71"/>
                    <a:gd name="T11" fmla="*/ 5 h 79"/>
                    <a:gd name="T12" fmla="*/ 34 w 71"/>
                    <a:gd name="T13" fmla="*/ 6 h 79"/>
                    <a:gd name="T14" fmla="*/ 31 w 71"/>
                    <a:gd name="T15" fmla="*/ 13 h 79"/>
                    <a:gd name="T16" fmla="*/ 29 w 71"/>
                    <a:gd name="T17" fmla="*/ 13 h 79"/>
                    <a:gd name="T18" fmla="*/ 23 w 71"/>
                    <a:gd name="T19" fmla="*/ 21 h 79"/>
                    <a:gd name="T20" fmla="*/ 19 w 71"/>
                    <a:gd name="T21" fmla="*/ 17 h 79"/>
                    <a:gd name="T22" fmla="*/ 19 w 71"/>
                    <a:gd name="T23" fmla="*/ 9 h 79"/>
                    <a:gd name="T24" fmla="*/ 15 w 71"/>
                    <a:gd name="T25" fmla="*/ 5 h 79"/>
                    <a:gd name="T26" fmla="*/ 11 w 71"/>
                    <a:gd name="T27" fmla="*/ 1 h 79"/>
                    <a:gd name="T28" fmla="*/ 2 w 71"/>
                    <a:gd name="T29" fmla="*/ 3 h 79"/>
                    <a:gd name="T30" fmla="*/ 2 w 71"/>
                    <a:gd name="T31" fmla="*/ 11 h 79"/>
                    <a:gd name="T32" fmla="*/ 2 w 71"/>
                    <a:gd name="T33" fmla="*/ 16 h 79"/>
                    <a:gd name="T34" fmla="*/ 2 w 71"/>
                    <a:gd name="T35" fmla="*/ 23 h 79"/>
                    <a:gd name="T36" fmla="*/ 6 w 71"/>
                    <a:gd name="T37" fmla="*/ 31 h 79"/>
                    <a:gd name="T38" fmla="*/ 10 w 71"/>
                    <a:gd name="T39" fmla="*/ 40 h 79"/>
                    <a:gd name="T40" fmla="*/ 11 w 71"/>
                    <a:gd name="T41" fmla="*/ 41 h 79"/>
                    <a:gd name="T42" fmla="*/ 13 w 71"/>
                    <a:gd name="T43" fmla="*/ 47 h 79"/>
                    <a:gd name="T44" fmla="*/ 19 w 71"/>
                    <a:gd name="T45" fmla="*/ 52 h 79"/>
                    <a:gd name="T46" fmla="*/ 26 w 71"/>
                    <a:gd name="T47" fmla="*/ 51 h 79"/>
                    <a:gd name="T48" fmla="*/ 33 w 71"/>
                    <a:gd name="T49" fmla="*/ 52 h 79"/>
                    <a:gd name="T50" fmla="*/ 39 w 71"/>
                    <a:gd name="T51" fmla="*/ 51 h 79"/>
                    <a:gd name="T52" fmla="*/ 40 w 71"/>
                    <a:gd name="T53" fmla="*/ 51 h 79"/>
                    <a:gd name="T54" fmla="*/ 31 w 71"/>
                    <a:gd name="T55" fmla="*/ 58 h 79"/>
                    <a:gd name="T56" fmla="*/ 31 w 71"/>
                    <a:gd name="T57" fmla="*/ 65 h 79"/>
                    <a:gd name="T58" fmla="*/ 31 w 71"/>
                    <a:gd name="T59" fmla="*/ 71 h 79"/>
                    <a:gd name="T60" fmla="*/ 37 w 71"/>
                    <a:gd name="T61" fmla="*/ 78 h 79"/>
                    <a:gd name="T62" fmla="*/ 41 w 71"/>
                    <a:gd name="T63" fmla="*/ 77 h 79"/>
                    <a:gd name="T64" fmla="*/ 42 w 71"/>
                    <a:gd name="T65" fmla="*/ 77 h 79"/>
                    <a:gd name="T66" fmla="*/ 47 w 71"/>
                    <a:gd name="T67" fmla="*/ 79 h 79"/>
                    <a:gd name="T68" fmla="*/ 53 w 71"/>
                    <a:gd name="T69" fmla="*/ 79 h 79"/>
                    <a:gd name="T70" fmla="*/ 58 w 71"/>
                    <a:gd name="T71" fmla="*/ 78 h 79"/>
                    <a:gd name="T72" fmla="*/ 62 w 71"/>
                    <a:gd name="T73" fmla="*/ 67 h 79"/>
                    <a:gd name="T74" fmla="*/ 63 w 71"/>
                    <a:gd name="T75" fmla="*/ 62 h 79"/>
                    <a:gd name="T76" fmla="*/ 67 w 71"/>
                    <a:gd name="T77" fmla="*/ 51 h 79"/>
                    <a:gd name="T78" fmla="*/ 66 w 71"/>
                    <a:gd name="T79" fmla="*/ 46 h 79"/>
                    <a:gd name="T80" fmla="*/ 69 w 71"/>
                    <a:gd name="T81" fmla="*/ 39 h 79"/>
                    <a:gd name="T82" fmla="*/ 23 w 71"/>
                    <a:gd name="T83" fmla="*/ 25 h 79"/>
                    <a:gd name="T84" fmla="*/ 23 w 71"/>
                    <a:gd name="T85" fmla="*/ 26 h 79"/>
                    <a:gd name="T86" fmla="*/ 23 w 71"/>
                    <a:gd name="T87" fmla="*/ 25 h 79"/>
                    <a:gd name="T88" fmla="*/ 35 w 71"/>
                    <a:gd name="T89" fmla="*/ 16 h 79"/>
                    <a:gd name="T90" fmla="*/ 35 w 71"/>
                    <a:gd name="T91" fmla="*/ 16 h 79"/>
                    <a:gd name="T92" fmla="*/ 40 w 71"/>
                    <a:gd name="T93" fmla="*/ 28 h 79"/>
                    <a:gd name="T94" fmla="*/ 37 w 71"/>
                    <a:gd name="T95" fmla="*/ 22 h 79"/>
                    <a:gd name="T96" fmla="*/ 36 w 71"/>
                    <a:gd name="T97" fmla="*/ 18 h 79"/>
                    <a:gd name="T98" fmla="*/ 40 w 71"/>
                    <a:gd name="T99" fmla="*/ 22 h 79"/>
                    <a:gd name="T100" fmla="*/ 43 w 71"/>
                    <a:gd name="T101" fmla="*/ 3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71" h="79">
                      <a:moveTo>
                        <a:pt x="69" y="26"/>
                      </a:moveTo>
                      <a:cubicBezTo>
                        <a:pt x="69" y="25"/>
                        <a:pt x="69" y="24"/>
                        <a:pt x="69" y="23"/>
                      </a:cubicBezTo>
                      <a:cubicBezTo>
                        <a:pt x="68" y="20"/>
                        <a:pt x="68" y="18"/>
                        <a:pt x="67" y="16"/>
                      </a:cubicBezTo>
                      <a:cubicBezTo>
                        <a:pt x="66" y="13"/>
                        <a:pt x="63" y="11"/>
                        <a:pt x="60" y="11"/>
                      </a:cubicBezTo>
                      <a:cubicBezTo>
                        <a:pt x="58" y="11"/>
                        <a:pt x="57" y="11"/>
                        <a:pt x="55" y="12"/>
                      </a:cubicBezTo>
                      <a:cubicBezTo>
                        <a:pt x="55" y="12"/>
                        <a:pt x="54" y="12"/>
                        <a:pt x="54" y="12"/>
                      </a:cubicBezTo>
                      <a:cubicBezTo>
                        <a:pt x="52" y="10"/>
                        <a:pt x="51" y="9"/>
                        <a:pt x="47" y="8"/>
                      </a:cubicBezTo>
                      <a:cubicBezTo>
                        <a:pt x="47" y="8"/>
                        <a:pt x="47" y="9"/>
                        <a:pt x="46" y="9"/>
                      </a:cubicBezTo>
                      <a:cubicBezTo>
                        <a:pt x="47" y="7"/>
                        <a:pt x="46" y="6"/>
                        <a:pt x="46" y="5"/>
                      </a:cubicBezTo>
                      <a:cubicBezTo>
                        <a:pt x="45" y="3"/>
                        <a:pt x="43" y="3"/>
                        <a:pt x="41" y="3"/>
                      </a:cubicBezTo>
                      <a:cubicBezTo>
                        <a:pt x="39" y="3"/>
                        <a:pt x="38" y="3"/>
                        <a:pt x="36" y="4"/>
                      </a:cubicBezTo>
                      <a:cubicBezTo>
                        <a:pt x="36" y="4"/>
                        <a:pt x="36" y="5"/>
                        <a:pt x="35" y="5"/>
                      </a:cubicBezTo>
                      <a:cubicBezTo>
                        <a:pt x="35" y="5"/>
                        <a:pt x="35" y="5"/>
                        <a:pt x="35" y="6"/>
                      </a:cubicBezTo>
                      <a:cubicBezTo>
                        <a:pt x="34" y="6"/>
                        <a:pt x="34" y="6"/>
                        <a:pt x="34" y="6"/>
                      </a:cubicBezTo>
                      <a:cubicBezTo>
                        <a:pt x="33" y="6"/>
                        <a:pt x="32" y="7"/>
                        <a:pt x="31" y="8"/>
                      </a:cubicBezTo>
                      <a:cubicBezTo>
                        <a:pt x="30" y="9"/>
                        <a:pt x="30" y="11"/>
                        <a:pt x="31" y="13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31" y="13"/>
                        <a:pt x="30" y="13"/>
                        <a:pt x="29" y="13"/>
                      </a:cubicBezTo>
                      <a:cubicBezTo>
                        <a:pt x="28" y="13"/>
                        <a:pt x="26" y="14"/>
                        <a:pt x="25" y="15"/>
                      </a:cubicBezTo>
                      <a:cubicBezTo>
                        <a:pt x="24" y="16"/>
                        <a:pt x="23" y="19"/>
                        <a:pt x="23" y="21"/>
                      </a:cubicBezTo>
                      <a:cubicBezTo>
                        <a:pt x="23" y="20"/>
                        <a:pt x="23" y="19"/>
                        <a:pt x="22" y="19"/>
                      </a:cubicBezTo>
                      <a:cubicBezTo>
                        <a:pt x="22" y="18"/>
                        <a:pt x="20" y="17"/>
                        <a:pt x="19" y="17"/>
                      </a:cubicBezTo>
                      <a:cubicBezTo>
                        <a:pt x="19" y="17"/>
                        <a:pt x="19" y="16"/>
                        <a:pt x="20" y="16"/>
                      </a:cubicBezTo>
                      <a:cubicBezTo>
                        <a:pt x="20" y="14"/>
                        <a:pt x="20" y="11"/>
                        <a:pt x="19" y="9"/>
                      </a:cubicBezTo>
                      <a:cubicBezTo>
                        <a:pt x="18" y="8"/>
                        <a:pt x="17" y="7"/>
                        <a:pt x="16" y="7"/>
                      </a:cubicBezTo>
                      <a:cubicBezTo>
                        <a:pt x="16" y="6"/>
                        <a:pt x="16" y="6"/>
                        <a:pt x="15" y="5"/>
                      </a:cubicBezTo>
                      <a:cubicBezTo>
                        <a:pt x="15" y="5"/>
                        <a:pt x="15" y="5"/>
                        <a:pt x="15" y="5"/>
                      </a:cubicBezTo>
                      <a:cubicBezTo>
                        <a:pt x="14" y="3"/>
                        <a:pt x="13" y="2"/>
                        <a:pt x="11" y="1"/>
                      </a:cubicBezTo>
                      <a:cubicBezTo>
                        <a:pt x="10" y="1"/>
                        <a:pt x="9" y="0"/>
                        <a:pt x="8" y="0"/>
                      </a:cubicBezTo>
                      <a:cubicBezTo>
                        <a:pt x="5" y="0"/>
                        <a:pt x="3" y="1"/>
                        <a:pt x="2" y="3"/>
                      </a:cubicBezTo>
                      <a:cubicBezTo>
                        <a:pt x="0" y="5"/>
                        <a:pt x="0" y="8"/>
                        <a:pt x="1" y="10"/>
                      </a:cubicBezTo>
                      <a:cubicBezTo>
                        <a:pt x="1" y="11"/>
                        <a:pt x="2" y="11"/>
                        <a:pt x="2" y="11"/>
                      </a:cubicBez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2" y="13"/>
                        <a:pt x="2" y="15"/>
                        <a:pt x="2" y="16"/>
                      </a:cubicBezTo>
                      <a:cubicBezTo>
                        <a:pt x="3" y="17"/>
                        <a:pt x="4" y="18"/>
                        <a:pt x="5" y="19"/>
                      </a:cubicBezTo>
                      <a:cubicBezTo>
                        <a:pt x="3" y="20"/>
                        <a:pt x="2" y="22"/>
                        <a:pt x="2" y="23"/>
                      </a:cubicBezTo>
                      <a:cubicBezTo>
                        <a:pt x="1" y="26"/>
                        <a:pt x="2" y="28"/>
                        <a:pt x="3" y="29"/>
                      </a:cubicBezTo>
                      <a:cubicBezTo>
                        <a:pt x="4" y="30"/>
                        <a:pt x="5" y="31"/>
                        <a:pt x="6" y="31"/>
                      </a:cubicBezTo>
                      <a:cubicBezTo>
                        <a:pt x="6" y="32"/>
                        <a:pt x="5" y="33"/>
                        <a:pt x="6" y="35"/>
                      </a:cubicBezTo>
                      <a:cubicBezTo>
                        <a:pt x="6" y="37"/>
                        <a:pt x="8" y="39"/>
                        <a:pt x="10" y="40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0"/>
                        <a:pt x="11" y="41"/>
                        <a:pt x="11" y="41"/>
                      </a:cubicBezTo>
                      <a:cubicBezTo>
                        <a:pt x="12" y="42"/>
                        <a:pt x="13" y="42"/>
                        <a:pt x="14" y="43"/>
                      </a:cubicBezTo>
                      <a:cubicBezTo>
                        <a:pt x="13" y="44"/>
                        <a:pt x="13" y="45"/>
                        <a:pt x="13" y="47"/>
                      </a:cubicBezTo>
                      <a:cubicBezTo>
                        <a:pt x="14" y="48"/>
                        <a:pt x="15" y="51"/>
                        <a:pt x="18" y="52"/>
                      </a:cubicBezTo>
                      <a:cubicBezTo>
                        <a:pt x="18" y="52"/>
                        <a:pt x="19" y="52"/>
                        <a:pt x="19" y="52"/>
                      </a:cubicBezTo>
                      <a:cubicBezTo>
                        <a:pt x="20" y="52"/>
                        <a:pt x="22" y="52"/>
                        <a:pt x="23" y="52"/>
                      </a:cubicBezTo>
                      <a:cubicBezTo>
                        <a:pt x="24" y="51"/>
                        <a:pt x="25" y="51"/>
                        <a:pt x="26" y="51"/>
                      </a:cubicBezTo>
                      <a:cubicBezTo>
                        <a:pt x="27" y="51"/>
                        <a:pt x="28" y="51"/>
                        <a:pt x="29" y="52"/>
                      </a:cubicBezTo>
                      <a:cubicBezTo>
                        <a:pt x="30" y="52"/>
                        <a:pt x="31" y="52"/>
                        <a:pt x="33" y="52"/>
                      </a:cubicBezTo>
                      <a:cubicBezTo>
                        <a:pt x="34" y="52"/>
                        <a:pt x="35" y="51"/>
                        <a:pt x="37" y="51"/>
                      </a:cubicBezTo>
                      <a:cubicBezTo>
                        <a:pt x="38" y="51"/>
                        <a:pt x="38" y="51"/>
                        <a:pt x="39" y="51"/>
                      </a:cubicBezTo>
                      <a:cubicBezTo>
                        <a:pt x="39" y="51"/>
                        <a:pt x="39" y="51"/>
                        <a:pt x="39" y="51"/>
                      </a:cubicBezTo>
                      <a:cubicBezTo>
                        <a:pt x="40" y="51"/>
                        <a:pt x="40" y="51"/>
                        <a:pt x="40" y="51"/>
                      </a:cubicBezTo>
                      <a:cubicBezTo>
                        <a:pt x="40" y="52"/>
                        <a:pt x="38" y="52"/>
                        <a:pt x="37" y="53"/>
                      </a:cubicBezTo>
                      <a:cubicBezTo>
                        <a:pt x="35" y="54"/>
                        <a:pt x="33" y="55"/>
                        <a:pt x="31" y="58"/>
                      </a:cubicBezTo>
                      <a:cubicBezTo>
                        <a:pt x="30" y="60"/>
                        <a:pt x="31" y="62"/>
                        <a:pt x="31" y="63"/>
                      </a:cubicBezTo>
                      <a:cubicBezTo>
                        <a:pt x="31" y="64"/>
                        <a:pt x="31" y="64"/>
                        <a:pt x="31" y="65"/>
                      </a:cubicBezTo>
                      <a:cubicBezTo>
                        <a:pt x="31" y="66"/>
                        <a:pt x="31" y="67"/>
                        <a:pt x="31" y="68"/>
                      </a:cubicBezTo>
                      <a:cubicBezTo>
                        <a:pt x="31" y="69"/>
                        <a:pt x="31" y="70"/>
                        <a:pt x="31" y="71"/>
                      </a:cubicBezTo>
                      <a:cubicBezTo>
                        <a:pt x="31" y="73"/>
                        <a:pt x="31" y="75"/>
                        <a:pt x="32" y="76"/>
                      </a:cubicBezTo>
                      <a:cubicBezTo>
                        <a:pt x="33" y="77"/>
                        <a:pt x="35" y="78"/>
                        <a:pt x="37" y="78"/>
                      </a:cubicBezTo>
                      <a:cubicBezTo>
                        <a:pt x="38" y="78"/>
                        <a:pt x="39" y="77"/>
                        <a:pt x="40" y="77"/>
                      </a:cubicBezTo>
                      <a:cubicBezTo>
                        <a:pt x="41" y="77"/>
                        <a:pt x="41" y="77"/>
                        <a:pt x="41" y="77"/>
                      </a:cubicBezTo>
                      <a:cubicBezTo>
                        <a:pt x="41" y="77"/>
                        <a:pt x="41" y="77"/>
                        <a:pt x="41" y="77"/>
                      </a:cubicBezTo>
                      <a:cubicBezTo>
                        <a:pt x="41" y="77"/>
                        <a:pt x="42" y="77"/>
                        <a:pt x="42" y="77"/>
                      </a:cubicBezTo>
                      <a:cubicBezTo>
                        <a:pt x="43" y="78"/>
                        <a:pt x="44" y="79"/>
                        <a:pt x="46" y="79"/>
                      </a:cubicBezTo>
                      <a:cubicBezTo>
                        <a:pt x="47" y="79"/>
                        <a:pt x="47" y="79"/>
                        <a:pt x="47" y="79"/>
                      </a:cubicBezTo>
                      <a:cubicBezTo>
                        <a:pt x="48" y="79"/>
                        <a:pt x="49" y="79"/>
                        <a:pt x="50" y="79"/>
                      </a:cubicBezTo>
                      <a:cubicBezTo>
                        <a:pt x="51" y="79"/>
                        <a:pt x="52" y="79"/>
                        <a:pt x="53" y="79"/>
                      </a:cubicBezTo>
                      <a:cubicBezTo>
                        <a:pt x="53" y="79"/>
                        <a:pt x="53" y="79"/>
                        <a:pt x="53" y="79"/>
                      </a:cubicBezTo>
                      <a:cubicBezTo>
                        <a:pt x="55" y="79"/>
                        <a:pt x="57" y="79"/>
                        <a:pt x="58" y="78"/>
                      </a:cubicBezTo>
                      <a:cubicBezTo>
                        <a:pt x="61" y="76"/>
                        <a:pt x="62" y="72"/>
                        <a:pt x="62" y="70"/>
                      </a:cubicBezTo>
                      <a:cubicBezTo>
                        <a:pt x="62" y="69"/>
                        <a:pt x="62" y="68"/>
                        <a:pt x="62" y="67"/>
                      </a:cubicBezTo>
                      <a:cubicBezTo>
                        <a:pt x="62" y="65"/>
                        <a:pt x="62" y="64"/>
                        <a:pt x="62" y="64"/>
                      </a:cubicBezTo>
                      <a:cubicBezTo>
                        <a:pt x="62" y="63"/>
                        <a:pt x="63" y="63"/>
                        <a:pt x="63" y="62"/>
                      </a:cubicBezTo>
                      <a:cubicBezTo>
                        <a:pt x="64" y="62"/>
                        <a:pt x="65" y="61"/>
                        <a:pt x="65" y="60"/>
                      </a:cubicBezTo>
                      <a:cubicBezTo>
                        <a:pt x="68" y="57"/>
                        <a:pt x="67" y="54"/>
                        <a:pt x="67" y="51"/>
                      </a:cubicBezTo>
                      <a:cubicBezTo>
                        <a:pt x="67" y="51"/>
                        <a:pt x="67" y="50"/>
                        <a:pt x="67" y="50"/>
                      </a:cubicBezTo>
                      <a:cubicBezTo>
                        <a:pt x="66" y="48"/>
                        <a:pt x="66" y="47"/>
                        <a:pt x="66" y="46"/>
                      </a:cubicBezTo>
                      <a:cubicBezTo>
                        <a:pt x="67" y="45"/>
                        <a:pt x="67" y="44"/>
                        <a:pt x="68" y="42"/>
                      </a:cubicBezTo>
                      <a:cubicBezTo>
                        <a:pt x="68" y="41"/>
                        <a:pt x="69" y="40"/>
                        <a:pt x="69" y="39"/>
                      </a:cubicBezTo>
                      <a:cubicBezTo>
                        <a:pt x="71" y="34"/>
                        <a:pt x="70" y="30"/>
                        <a:pt x="69" y="26"/>
                      </a:cubicBezTo>
                      <a:close/>
                      <a:moveTo>
                        <a:pt x="23" y="25"/>
                      </a:moveTo>
                      <a:cubicBezTo>
                        <a:pt x="23" y="26"/>
                        <a:pt x="23" y="26"/>
                        <a:pt x="23" y="27"/>
                      </a:cubicBezTo>
                      <a:cubicBezTo>
                        <a:pt x="23" y="27"/>
                        <a:pt x="23" y="26"/>
                        <a:pt x="23" y="26"/>
                      </a:cubicBezTo>
                      <a:cubicBezTo>
                        <a:pt x="23" y="26"/>
                        <a:pt x="23" y="25"/>
                        <a:pt x="23" y="25"/>
                      </a:cubicBezTo>
                      <a:cubicBezTo>
                        <a:pt x="23" y="25"/>
                        <a:pt x="23" y="25"/>
                        <a:pt x="23" y="25"/>
                      </a:cubicBezTo>
                      <a:close/>
                      <a:moveTo>
                        <a:pt x="35" y="16"/>
                      </a:moveTo>
                      <a:cubicBezTo>
                        <a:pt x="35" y="16"/>
                        <a:pt x="35" y="16"/>
                        <a:pt x="35" y="16"/>
                      </a:cubicBezTo>
                      <a:cubicBezTo>
                        <a:pt x="35" y="16"/>
                        <a:pt x="35" y="17"/>
                        <a:pt x="35" y="17"/>
                      </a:cubicBezTo>
                      <a:cubicBezTo>
                        <a:pt x="35" y="17"/>
                        <a:pt x="35" y="16"/>
                        <a:pt x="35" y="16"/>
                      </a:cubicBezTo>
                      <a:close/>
                      <a:moveTo>
                        <a:pt x="43" y="30"/>
                      </a:moveTo>
                      <a:cubicBezTo>
                        <a:pt x="42" y="29"/>
                        <a:pt x="41" y="29"/>
                        <a:pt x="40" y="28"/>
                      </a:cubicBezTo>
                      <a:cubicBezTo>
                        <a:pt x="40" y="27"/>
                        <a:pt x="40" y="27"/>
                        <a:pt x="39" y="26"/>
                      </a:cubicBezTo>
                      <a:cubicBezTo>
                        <a:pt x="38" y="25"/>
                        <a:pt x="37" y="23"/>
                        <a:pt x="37" y="22"/>
                      </a:cubicBezTo>
                      <a:cubicBezTo>
                        <a:pt x="36" y="21"/>
                        <a:pt x="36" y="21"/>
                        <a:pt x="36" y="20"/>
                      </a:cubicBezTo>
                      <a:cubicBezTo>
                        <a:pt x="36" y="20"/>
                        <a:pt x="36" y="19"/>
                        <a:pt x="36" y="18"/>
                      </a:cubicBezTo>
                      <a:cubicBezTo>
                        <a:pt x="36" y="19"/>
                        <a:pt x="36" y="19"/>
                        <a:pt x="36" y="20"/>
                      </a:cubicBezTo>
                      <a:cubicBezTo>
                        <a:pt x="37" y="21"/>
                        <a:pt x="39" y="22"/>
                        <a:pt x="40" y="22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3" y="23"/>
                        <a:pt x="43" y="27"/>
                        <a:pt x="43" y="30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2" name="Freeform 27">
                  <a:extLst>
                    <a:ext uri="{FF2B5EF4-FFF2-40B4-BE49-F238E27FC236}">
                      <a16:creationId xmlns:a16="http://schemas.microsoft.com/office/drawing/2014/main" id="{28C730DA-B8DF-414F-95AC-B183BCFEDD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109676" y="4001313"/>
                  <a:ext cx="4704662" cy="2713993"/>
                </a:xfrm>
                <a:custGeom>
                  <a:avLst/>
                  <a:gdLst>
                    <a:gd name="T0" fmla="*/ 834 w 863"/>
                    <a:gd name="T1" fmla="*/ 311 h 547"/>
                    <a:gd name="T2" fmla="*/ 792 w 863"/>
                    <a:gd name="T3" fmla="*/ 284 h 547"/>
                    <a:gd name="T4" fmla="*/ 774 w 863"/>
                    <a:gd name="T5" fmla="*/ 241 h 547"/>
                    <a:gd name="T6" fmla="*/ 848 w 863"/>
                    <a:gd name="T7" fmla="*/ 263 h 547"/>
                    <a:gd name="T8" fmla="*/ 847 w 863"/>
                    <a:gd name="T9" fmla="*/ 195 h 547"/>
                    <a:gd name="T10" fmla="*/ 790 w 863"/>
                    <a:gd name="T11" fmla="*/ 178 h 547"/>
                    <a:gd name="T12" fmla="*/ 735 w 863"/>
                    <a:gd name="T13" fmla="*/ 169 h 547"/>
                    <a:gd name="T14" fmla="*/ 725 w 863"/>
                    <a:gd name="T15" fmla="*/ 129 h 547"/>
                    <a:gd name="T16" fmla="*/ 689 w 863"/>
                    <a:gd name="T17" fmla="*/ 93 h 547"/>
                    <a:gd name="T18" fmla="*/ 665 w 863"/>
                    <a:gd name="T19" fmla="*/ 87 h 547"/>
                    <a:gd name="T20" fmla="*/ 614 w 863"/>
                    <a:gd name="T21" fmla="*/ 63 h 547"/>
                    <a:gd name="T22" fmla="*/ 550 w 863"/>
                    <a:gd name="T23" fmla="*/ 63 h 547"/>
                    <a:gd name="T24" fmla="*/ 523 w 863"/>
                    <a:gd name="T25" fmla="*/ 14 h 547"/>
                    <a:gd name="T26" fmla="*/ 480 w 863"/>
                    <a:gd name="T27" fmla="*/ 95 h 547"/>
                    <a:gd name="T28" fmla="*/ 467 w 863"/>
                    <a:gd name="T29" fmla="*/ 13 h 547"/>
                    <a:gd name="T30" fmla="*/ 446 w 863"/>
                    <a:gd name="T31" fmla="*/ 151 h 547"/>
                    <a:gd name="T32" fmla="*/ 494 w 863"/>
                    <a:gd name="T33" fmla="*/ 169 h 547"/>
                    <a:gd name="T34" fmla="*/ 483 w 863"/>
                    <a:gd name="T35" fmla="*/ 244 h 547"/>
                    <a:gd name="T36" fmla="*/ 462 w 863"/>
                    <a:gd name="T37" fmla="*/ 226 h 547"/>
                    <a:gd name="T38" fmla="*/ 428 w 863"/>
                    <a:gd name="T39" fmla="*/ 227 h 547"/>
                    <a:gd name="T40" fmla="*/ 397 w 863"/>
                    <a:gd name="T41" fmla="*/ 176 h 547"/>
                    <a:gd name="T42" fmla="*/ 394 w 863"/>
                    <a:gd name="T43" fmla="*/ 112 h 547"/>
                    <a:gd name="T44" fmla="*/ 424 w 863"/>
                    <a:gd name="T45" fmla="*/ 35 h 547"/>
                    <a:gd name="T46" fmla="*/ 364 w 863"/>
                    <a:gd name="T47" fmla="*/ 58 h 547"/>
                    <a:gd name="T48" fmla="*/ 346 w 863"/>
                    <a:gd name="T49" fmla="*/ 121 h 547"/>
                    <a:gd name="T50" fmla="*/ 368 w 863"/>
                    <a:gd name="T51" fmla="*/ 186 h 547"/>
                    <a:gd name="T52" fmla="*/ 376 w 863"/>
                    <a:gd name="T53" fmla="*/ 219 h 547"/>
                    <a:gd name="T54" fmla="*/ 348 w 863"/>
                    <a:gd name="T55" fmla="*/ 269 h 547"/>
                    <a:gd name="T56" fmla="*/ 338 w 863"/>
                    <a:gd name="T57" fmla="*/ 226 h 547"/>
                    <a:gd name="T58" fmla="*/ 315 w 863"/>
                    <a:gd name="T59" fmla="*/ 242 h 547"/>
                    <a:gd name="T60" fmla="*/ 293 w 863"/>
                    <a:gd name="T61" fmla="*/ 239 h 547"/>
                    <a:gd name="T62" fmla="*/ 246 w 863"/>
                    <a:gd name="T63" fmla="*/ 229 h 547"/>
                    <a:gd name="T64" fmla="*/ 205 w 863"/>
                    <a:gd name="T65" fmla="*/ 179 h 547"/>
                    <a:gd name="T66" fmla="*/ 188 w 863"/>
                    <a:gd name="T67" fmla="*/ 204 h 547"/>
                    <a:gd name="T68" fmla="*/ 162 w 863"/>
                    <a:gd name="T69" fmla="*/ 247 h 547"/>
                    <a:gd name="T70" fmla="*/ 132 w 863"/>
                    <a:gd name="T71" fmla="*/ 198 h 547"/>
                    <a:gd name="T72" fmla="*/ 81 w 863"/>
                    <a:gd name="T73" fmla="*/ 180 h 547"/>
                    <a:gd name="T74" fmla="*/ 71 w 863"/>
                    <a:gd name="T75" fmla="*/ 129 h 547"/>
                    <a:gd name="T76" fmla="*/ 339 w 863"/>
                    <a:gd name="T77" fmla="*/ 547 h 547"/>
                    <a:gd name="T78" fmla="*/ 370 w 863"/>
                    <a:gd name="T79" fmla="*/ 480 h 547"/>
                    <a:gd name="T80" fmla="*/ 403 w 863"/>
                    <a:gd name="T81" fmla="*/ 448 h 547"/>
                    <a:gd name="T82" fmla="*/ 466 w 863"/>
                    <a:gd name="T83" fmla="*/ 385 h 547"/>
                    <a:gd name="T84" fmla="*/ 489 w 863"/>
                    <a:gd name="T85" fmla="*/ 308 h 547"/>
                    <a:gd name="T86" fmla="*/ 526 w 863"/>
                    <a:gd name="T87" fmla="*/ 303 h 547"/>
                    <a:gd name="T88" fmla="*/ 552 w 863"/>
                    <a:gd name="T89" fmla="*/ 244 h 547"/>
                    <a:gd name="T90" fmla="*/ 538 w 863"/>
                    <a:gd name="T91" fmla="*/ 185 h 547"/>
                    <a:gd name="T92" fmla="*/ 531 w 863"/>
                    <a:gd name="T93" fmla="*/ 170 h 547"/>
                    <a:gd name="T94" fmla="*/ 595 w 863"/>
                    <a:gd name="T95" fmla="*/ 161 h 547"/>
                    <a:gd name="T96" fmla="*/ 613 w 863"/>
                    <a:gd name="T97" fmla="*/ 200 h 547"/>
                    <a:gd name="T98" fmla="*/ 671 w 863"/>
                    <a:gd name="T99" fmla="*/ 215 h 547"/>
                    <a:gd name="T100" fmla="*/ 675 w 863"/>
                    <a:gd name="T101" fmla="*/ 310 h 547"/>
                    <a:gd name="T102" fmla="*/ 621 w 863"/>
                    <a:gd name="T103" fmla="*/ 342 h 547"/>
                    <a:gd name="T104" fmla="*/ 685 w 863"/>
                    <a:gd name="T105" fmla="*/ 353 h 547"/>
                    <a:gd name="T106" fmla="*/ 728 w 863"/>
                    <a:gd name="T107" fmla="*/ 369 h 547"/>
                    <a:gd name="T108" fmla="*/ 776 w 863"/>
                    <a:gd name="T109" fmla="*/ 396 h 547"/>
                    <a:gd name="T110" fmla="*/ 837 w 863"/>
                    <a:gd name="T111" fmla="*/ 378 h 547"/>
                    <a:gd name="T112" fmla="*/ 825 w 863"/>
                    <a:gd name="T113" fmla="*/ 361 h 547"/>
                    <a:gd name="T114" fmla="*/ 493 w 863"/>
                    <a:gd name="T115" fmla="*/ 121 h 547"/>
                    <a:gd name="T116" fmla="*/ 457 w 863"/>
                    <a:gd name="T117" fmla="*/ 345 h 547"/>
                    <a:gd name="T118" fmla="*/ 573 w 863"/>
                    <a:gd name="T119" fmla="*/ 140 h 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63" h="547">
                      <a:moveTo>
                        <a:pt x="862" y="359"/>
                      </a:moveTo>
                      <a:cubicBezTo>
                        <a:pt x="863" y="356"/>
                        <a:pt x="863" y="352"/>
                        <a:pt x="862" y="349"/>
                      </a:cubicBezTo>
                      <a:cubicBezTo>
                        <a:pt x="860" y="347"/>
                        <a:pt x="859" y="344"/>
                        <a:pt x="856" y="342"/>
                      </a:cubicBezTo>
                      <a:cubicBezTo>
                        <a:pt x="856" y="342"/>
                        <a:pt x="855" y="342"/>
                        <a:pt x="855" y="341"/>
                      </a:cubicBezTo>
                      <a:cubicBezTo>
                        <a:pt x="855" y="341"/>
                        <a:pt x="854" y="341"/>
                        <a:pt x="854" y="340"/>
                      </a:cubicBezTo>
                      <a:cubicBezTo>
                        <a:pt x="854" y="340"/>
                        <a:pt x="855" y="339"/>
                        <a:pt x="856" y="339"/>
                      </a:cubicBezTo>
                      <a:cubicBezTo>
                        <a:pt x="858" y="335"/>
                        <a:pt x="858" y="330"/>
                        <a:pt x="854" y="326"/>
                      </a:cubicBezTo>
                      <a:cubicBezTo>
                        <a:pt x="853" y="324"/>
                        <a:pt x="851" y="324"/>
                        <a:pt x="849" y="323"/>
                      </a:cubicBezTo>
                      <a:cubicBezTo>
                        <a:pt x="848" y="323"/>
                        <a:pt x="847" y="323"/>
                        <a:pt x="847" y="323"/>
                      </a:cubicBezTo>
                      <a:cubicBezTo>
                        <a:pt x="847" y="322"/>
                        <a:pt x="847" y="322"/>
                        <a:pt x="847" y="321"/>
                      </a:cubicBezTo>
                      <a:cubicBezTo>
                        <a:pt x="847" y="320"/>
                        <a:pt x="847" y="318"/>
                        <a:pt x="846" y="316"/>
                      </a:cubicBezTo>
                      <a:cubicBezTo>
                        <a:pt x="845" y="315"/>
                        <a:pt x="842" y="315"/>
                        <a:pt x="841" y="315"/>
                      </a:cubicBezTo>
                      <a:cubicBezTo>
                        <a:pt x="841" y="315"/>
                        <a:pt x="841" y="315"/>
                        <a:pt x="841" y="315"/>
                      </a:cubicBezTo>
                      <a:cubicBezTo>
                        <a:pt x="840" y="315"/>
                        <a:pt x="839" y="315"/>
                        <a:pt x="839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8" y="315"/>
                        <a:pt x="838" y="315"/>
                        <a:pt x="838" y="315"/>
                      </a:cubicBezTo>
                      <a:cubicBezTo>
                        <a:pt x="837" y="315"/>
                        <a:pt x="837" y="314"/>
                        <a:pt x="837" y="313"/>
                      </a:cubicBezTo>
                      <a:cubicBezTo>
                        <a:pt x="836" y="313"/>
                        <a:pt x="835" y="312"/>
                        <a:pt x="834" y="311"/>
                      </a:cubicBezTo>
                      <a:cubicBezTo>
                        <a:pt x="834" y="310"/>
                        <a:pt x="833" y="310"/>
                        <a:pt x="833" y="310"/>
                      </a:cubicBezTo>
                      <a:cubicBezTo>
                        <a:pt x="833" y="310"/>
                        <a:pt x="833" y="310"/>
                        <a:pt x="833" y="310"/>
                      </a:cubicBezTo>
                      <a:cubicBezTo>
                        <a:pt x="833" y="309"/>
                        <a:pt x="834" y="307"/>
                        <a:pt x="834" y="306"/>
                      </a:cubicBezTo>
                      <a:cubicBezTo>
                        <a:pt x="836" y="303"/>
                        <a:pt x="836" y="303"/>
                        <a:pt x="836" y="303"/>
                      </a:cubicBezTo>
                      <a:cubicBezTo>
                        <a:pt x="833" y="302"/>
                        <a:pt x="833" y="302"/>
                        <a:pt x="833" y="302"/>
                      </a:cubicBezTo>
                      <a:cubicBezTo>
                        <a:pt x="831" y="301"/>
                        <a:pt x="830" y="301"/>
                        <a:pt x="829" y="301"/>
                      </a:cubicBezTo>
                      <a:cubicBezTo>
                        <a:pt x="828" y="301"/>
                        <a:pt x="826" y="301"/>
                        <a:pt x="826" y="301"/>
                      </a:cubicBezTo>
                      <a:cubicBezTo>
                        <a:pt x="825" y="301"/>
                        <a:pt x="824" y="301"/>
                        <a:pt x="824" y="301"/>
                      </a:cubicBezTo>
                      <a:cubicBezTo>
                        <a:pt x="824" y="300"/>
                        <a:pt x="824" y="299"/>
                        <a:pt x="824" y="299"/>
                      </a:cubicBezTo>
                      <a:cubicBezTo>
                        <a:pt x="824" y="297"/>
                        <a:pt x="823" y="292"/>
                        <a:pt x="817" y="292"/>
                      </a:cubicBezTo>
                      <a:cubicBezTo>
                        <a:pt x="815" y="292"/>
                        <a:pt x="813" y="293"/>
                        <a:pt x="812" y="294"/>
                      </a:cubicBezTo>
                      <a:cubicBezTo>
                        <a:pt x="811" y="294"/>
                        <a:pt x="810" y="295"/>
                        <a:pt x="810" y="295"/>
                      </a:cubicBezTo>
                      <a:cubicBezTo>
                        <a:pt x="810" y="295"/>
                        <a:pt x="809" y="294"/>
                        <a:pt x="808" y="293"/>
                      </a:cubicBezTo>
                      <a:cubicBezTo>
                        <a:pt x="807" y="292"/>
                        <a:pt x="807" y="291"/>
                        <a:pt x="806" y="290"/>
                      </a:cubicBezTo>
                      <a:cubicBezTo>
                        <a:pt x="804" y="289"/>
                        <a:pt x="801" y="289"/>
                        <a:pt x="800" y="289"/>
                      </a:cubicBezTo>
                      <a:cubicBezTo>
                        <a:pt x="798" y="289"/>
                        <a:pt x="798" y="289"/>
                        <a:pt x="798" y="289"/>
                      </a:cubicBezTo>
                      <a:cubicBezTo>
                        <a:pt x="797" y="289"/>
                        <a:pt x="796" y="289"/>
                        <a:pt x="796" y="289"/>
                      </a:cubicBezTo>
                      <a:cubicBezTo>
                        <a:pt x="794" y="288"/>
                        <a:pt x="793" y="287"/>
                        <a:pt x="792" y="284"/>
                      </a:cubicBezTo>
                      <a:cubicBezTo>
                        <a:pt x="791" y="281"/>
                        <a:pt x="790" y="278"/>
                        <a:pt x="787" y="276"/>
                      </a:cubicBezTo>
                      <a:cubicBezTo>
                        <a:pt x="786" y="276"/>
                        <a:pt x="786" y="276"/>
                        <a:pt x="785" y="276"/>
                      </a:cubicBezTo>
                      <a:cubicBezTo>
                        <a:pt x="785" y="275"/>
                        <a:pt x="785" y="274"/>
                        <a:pt x="785" y="274"/>
                      </a:cubicBezTo>
                      <a:cubicBezTo>
                        <a:pt x="784" y="273"/>
                        <a:pt x="783" y="270"/>
                        <a:pt x="779" y="270"/>
                      </a:cubicBezTo>
                      <a:cubicBezTo>
                        <a:pt x="779" y="270"/>
                        <a:pt x="778" y="270"/>
                        <a:pt x="777" y="270"/>
                      </a:cubicBezTo>
                      <a:cubicBezTo>
                        <a:pt x="776" y="271"/>
                        <a:pt x="775" y="271"/>
                        <a:pt x="775" y="272"/>
                      </a:cubicBezTo>
                      <a:cubicBezTo>
                        <a:pt x="775" y="272"/>
                        <a:pt x="775" y="272"/>
                        <a:pt x="775" y="271"/>
                      </a:cubicBezTo>
                      <a:cubicBezTo>
                        <a:pt x="774" y="270"/>
                        <a:pt x="772" y="270"/>
                        <a:pt x="771" y="268"/>
                      </a:cubicBezTo>
                      <a:cubicBezTo>
                        <a:pt x="771" y="268"/>
                        <a:pt x="771" y="268"/>
                        <a:pt x="770" y="268"/>
                      </a:cubicBezTo>
                      <a:cubicBezTo>
                        <a:pt x="771" y="268"/>
                        <a:pt x="772" y="268"/>
                        <a:pt x="772" y="268"/>
                      </a:cubicBezTo>
                      <a:cubicBezTo>
                        <a:pt x="773" y="268"/>
                        <a:pt x="774" y="268"/>
                        <a:pt x="775" y="268"/>
                      </a:cubicBezTo>
                      <a:cubicBezTo>
                        <a:pt x="777" y="267"/>
                        <a:pt x="779" y="266"/>
                        <a:pt x="780" y="263"/>
                      </a:cubicBezTo>
                      <a:cubicBezTo>
                        <a:pt x="781" y="261"/>
                        <a:pt x="780" y="258"/>
                        <a:pt x="779" y="256"/>
                      </a:cubicBezTo>
                      <a:cubicBezTo>
                        <a:pt x="777" y="253"/>
                        <a:pt x="774" y="252"/>
                        <a:pt x="771" y="251"/>
                      </a:cubicBezTo>
                      <a:cubicBezTo>
                        <a:pt x="768" y="250"/>
                        <a:pt x="766" y="249"/>
                        <a:pt x="765" y="247"/>
                      </a:cubicBezTo>
                      <a:cubicBezTo>
                        <a:pt x="765" y="246"/>
                        <a:pt x="765" y="246"/>
                        <a:pt x="765" y="246"/>
                      </a:cubicBezTo>
                      <a:cubicBezTo>
                        <a:pt x="765" y="244"/>
                        <a:pt x="768" y="243"/>
                        <a:pt x="770" y="243"/>
                      </a:cubicBezTo>
                      <a:cubicBezTo>
                        <a:pt x="772" y="242"/>
                        <a:pt x="773" y="242"/>
                        <a:pt x="774" y="241"/>
                      </a:cubicBezTo>
                      <a:cubicBezTo>
                        <a:pt x="776" y="240"/>
                        <a:pt x="776" y="240"/>
                        <a:pt x="776" y="240"/>
                      </a:cubicBezTo>
                      <a:cubicBezTo>
                        <a:pt x="776" y="240"/>
                        <a:pt x="777" y="240"/>
                        <a:pt x="777" y="239"/>
                      </a:cubicBezTo>
                      <a:cubicBezTo>
                        <a:pt x="777" y="239"/>
                        <a:pt x="777" y="240"/>
                        <a:pt x="779" y="240"/>
                      </a:cubicBezTo>
                      <a:cubicBezTo>
                        <a:pt x="779" y="241"/>
                        <a:pt x="779" y="241"/>
                        <a:pt x="779" y="241"/>
                      </a:cubicBezTo>
                      <a:cubicBezTo>
                        <a:pt x="782" y="243"/>
                        <a:pt x="784" y="245"/>
                        <a:pt x="788" y="247"/>
                      </a:cubicBezTo>
                      <a:cubicBezTo>
                        <a:pt x="789" y="248"/>
                        <a:pt x="789" y="248"/>
                        <a:pt x="790" y="248"/>
                      </a:cubicBezTo>
                      <a:cubicBezTo>
                        <a:pt x="792" y="249"/>
                        <a:pt x="793" y="249"/>
                        <a:pt x="794" y="251"/>
                      </a:cubicBezTo>
                      <a:cubicBezTo>
                        <a:pt x="795" y="251"/>
                        <a:pt x="795" y="251"/>
                        <a:pt x="795" y="251"/>
                      </a:cubicBezTo>
                      <a:cubicBezTo>
                        <a:pt x="797" y="253"/>
                        <a:pt x="799" y="256"/>
                        <a:pt x="802" y="256"/>
                      </a:cubicBezTo>
                      <a:cubicBezTo>
                        <a:pt x="803" y="256"/>
                        <a:pt x="804" y="256"/>
                        <a:pt x="805" y="255"/>
                      </a:cubicBezTo>
                      <a:cubicBezTo>
                        <a:pt x="805" y="258"/>
                        <a:pt x="805" y="261"/>
                        <a:pt x="807" y="262"/>
                      </a:cubicBezTo>
                      <a:cubicBezTo>
                        <a:pt x="809" y="264"/>
                        <a:pt x="812" y="265"/>
                        <a:pt x="814" y="266"/>
                      </a:cubicBezTo>
                      <a:cubicBezTo>
                        <a:pt x="815" y="266"/>
                        <a:pt x="816" y="266"/>
                        <a:pt x="816" y="266"/>
                      </a:cubicBezTo>
                      <a:cubicBezTo>
                        <a:pt x="818" y="267"/>
                        <a:pt x="820" y="268"/>
                        <a:pt x="822" y="270"/>
                      </a:cubicBezTo>
                      <a:cubicBezTo>
                        <a:pt x="826" y="275"/>
                        <a:pt x="830" y="278"/>
                        <a:pt x="838" y="278"/>
                      </a:cubicBezTo>
                      <a:cubicBezTo>
                        <a:pt x="843" y="278"/>
                        <a:pt x="847" y="277"/>
                        <a:pt x="849" y="274"/>
                      </a:cubicBezTo>
                      <a:cubicBezTo>
                        <a:pt x="850" y="272"/>
                        <a:pt x="851" y="270"/>
                        <a:pt x="849" y="266"/>
                      </a:cubicBezTo>
                      <a:cubicBezTo>
                        <a:pt x="848" y="263"/>
                        <a:pt x="848" y="263"/>
                        <a:pt x="848" y="263"/>
                      </a:cubicBezTo>
                      <a:cubicBezTo>
                        <a:pt x="847" y="260"/>
                        <a:pt x="845" y="255"/>
                        <a:pt x="843" y="252"/>
                      </a:cubicBezTo>
                      <a:cubicBezTo>
                        <a:pt x="844" y="252"/>
                        <a:pt x="844" y="252"/>
                        <a:pt x="845" y="252"/>
                      </a:cubicBezTo>
                      <a:cubicBezTo>
                        <a:pt x="846" y="252"/>
                        <a:pt x="846" y="252"/>
                        <a:pt x="847" y="251"/>
                      </a:cubicBezTo>
                      <a:cubicBezTo>
                        <a:pt x="850" y="250"/>
                        <a:pt x="851" y="247"/>
                        <a:pt x="852" y="245"/>
                      </a:cubicBezTo>
                      <a:cubicBezTo>
                        <a:pt x="852" y="244"/>
                        <a:pt x="852" y="243"/>
                        <a:pt x="853" y="242"/>
                      </a:cubicBezTo>
                      <a:cubicBezTo>
                        <a:pt x="855" y="239"/>
                        <a:pt x="855" y="237"/>
                        <a:pt x="853" y="234"/>
                      </a:cubicBezTo>
                      <a:cubicBezTo>
                        <a:pt x="853" y="234"/>
                        <a:pt x="852" y="234"/>
                        <a:pt x="852" y="233"/>
                      </a:cubicBezTo>
                      <a:cubicBezTo>
                        <a:pt x="852" y="233"/>
                        <a:pt x="853" y="232"/>
                        <a:pt x="853" y="231"/>
                      </a:cubicBezTo>
                      <a:cubicBezTo>
                        <a:pt x="854" y="230"/>
                        <a:pt x="855" y="229"/>
                        <a:pt x="854" y="227"/>
                      </a:cubicBezTo>
                      <a:cubicBezTo>
                        <a:pt x="853" y="225"/>
                        <a:pt x="851" y="224"/>
                        <a:pt x="850" y="223"/>
                      </a:cubicBezTo>
                      <a:cubicBezTo>
                        <a:pt x="849" y="223"/>
                        <a:pt x="849" y="223"/>
                        <a:pt x="849" y="223"/>
                      </a:cubicBezTo>
                      <a:cubicBezTo>
                        <a:pt x="848" y="222"/>
                        <a:pt x="848" y="222"/>
                        <a:pt x="847" y="221"/>
                      </a:cubicBezTo>
                      <a:cubicBezTo>
                        <a:pt x="851" y="221"/>
                        <a:pt x="853" y="219"/>
                        <a:pt x="854" y="218"/>
                      </a:cubicBezTo>
                      <a:cubicBezTo>
                        <a:pt x="855" y="215"/>
                        <a:pt x="855" y="213"/>
                        <a:pt x="854" y="211"/>
                      </a:cubicBezTo>
                      <a:cubicBezTo>
                        <a:pt x="854" y="210"/>
                        <a:pt x="854" y="209"/>
                        <a:pt x="854" y="209"/>
                      </a:cubicBezTo>
                      <a:cubicBezTo>
                        <a:pt x="854" y="208"/>
                        <a:pt x="855" y="208"/>
                        <a:pt x="855" y="207"/>
                      </a:cubicBezTo>
                      <a:cubicBezTo>
                        <a:pt x="856" y="205"/>
                        <a:pt x="858" y="200"/>
                        <a:pt x="852" y="197"/>
                      </a:cubicBezTo>
                      <a:cubicBezTo>
                        <a:pt x="850" y="196"/>
                        <a:pt x="848" y="196"/>
                        <a:pt x="847" y="195"/>
                      </a:cubicBezTo>
                      <a:cubicBezTo>
                        <a:pt x="845" y="195"/>
                        <a:pt x="844" y="195"/>
                        <a:pt x="843" y="194"/>
                      </a:cubicBezTo>
                      <a:cubicBezTo>
                        <a:pt x="842" y="194"/>
                        <a:pt x="842" y="194"/>
                        <a:pt x="842" y="194"/>
                      </a:cubicBezTo>
                      <a:cubicBezTo>
                        <a:pt x="840" y="193"/>
                        <a:pt x="839" y="192"/>
                        <a:pt x="837" y="192"/>
                      </a:cubicBezTo>
                      <a:cubicBezTo>
                        <a:pt x="835" y="192"/>
                        <a:pt x="833" y="193"/>
                        <a:pt x="831" y="195"/>
                      </a:cubicBezTo>
                      <a:cubicBezTo>
                        <a:pt x="830" y="196"/>
                        <a:pt x="829" y="197"/>
                        <a:pt x="829" y="198"/>
                      </a:cubicBezTo>
                      <a:cubicBezTo>
                        <a:pt x="827" y="199"/>
                        <a:pt x="826" y="201"/>
                        <a:pt x="825" y="201"/>
                      </a:cubicBezTo>
                      <a:cubicBezTo>
                        <a:pt x="825" y="200"/>
                        <a:pt x="825" y="200"/>
                        <a:pt x="825" y="199"/>
                      </a:cubicBezTo>
                      <a:cubicBezTo>
                        <a:pt x="825" y="196"/>
                        <a:pt x="825" y="193"/>
                        <a:pt x="823" y="191"/>
                      </a:cubicBezTo>
                      <a:cubicBezTo>
                        <a:pt x="822" y="190"/>
                        <a:pt x="821" y="189"/>
                        <a:pt x="819" y="189"/>
                      </a:cubicBezTo>
                      <a:cubicBezTo>
                        <a:pt x="819" y="189"/>
                        <a:pt x="818" y="189"/>
                        <a:pt x="818" y="190"/>
                      </a:cubicBezTo>
                      <a:cubicBezTo>
                        <a:pt x="816" y="190"/>
                        <a:pt x="814" y="191"/>
                        <a:pt x="812" y="193"/>
                      </a:cubicBezTo>
                      <a:cubicBezTo>
                        <a:pt x="811" y="193"/>
                        <a:pt x="810" y="194"/>
                        <a:pt x="810" y="194"/>
                      </a:cubicBezTo>
                      <a:cubicBezTo>
                        <a:pt x="810" y="194"/>
                        <a:pt x="810" y="194"/>
                        <a:pt x="810" y="194"/>
                      </a:cubicBezTo>
                      <a:cubicBezTo>
                        <a:pt x="809" y="194"/>
                        <a:pt x="808" y="193"/>
                        <a:pt x="807" y="191"/>
                      </a:cubicBezTo>
                      <a:cubicBezTo>
                        <a:pt x="806" y="191"/>
                        <a:pt x="806" y="190"/>
                        <a:pt x="805" y="189"/>
                      </a:cubicBezTo>
                      <a:cubicBezTo>
                        <a:pt x="802" y="186"/>
                        <a:pt x="799" y="183"/>
                        <a:pt x="796" y="181"/>
                      </a:cubicBezTo>
                      <a:cubicBezTo>
                        <a:pt x="796" y="181"/>
                        <a:pt x="796" y="181"/>
                        <a:pt x="796" y="181"/>
                      </a:cubicBezTo>
                      <a:cubicBezTo>
                        <a:pt x="795" y="180"/>
                        <a:pt x="793" y="178"/>
                        <a:pt x="790" y="178"/>
                      </a:cubicBezTo>
                      <a:cubicBezTo>
                        <a:pt x="790" y="178"/>
                        <a:pt x="789" y="178"/>
                        <a:pt x="789" y="178"/>
                      </a:cubicBezTo>
                      <a:cubicBezTo>
                        <a:pt x="788" y="179"/>
                        <a:pt x="787" y="179"/>
                        <a:pt x="786" y="180"/>
                      </a:cubicBezTo>
                      <a:cubicBezTo>
                        <a:pt x="785" y="177"/>
                        <a:pt x="785" y="175"/>
                        <a:pt x="783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2" y="174"/>
                        <a:pt x="782" y="174"/>
                        <a:pt x="782" y="174"/>
                      </a:cubicBezTo>
                      <a:cubicBezTo>
                        <a:pt x="780" y="174"/>
                        <a:pt x="778" y="176"/>
                        <a:pt x="776" y="177"/>
                      </a:cubicBezTo>
                      <a:cubicBezTo>
                        <a:pt x="776" y="178"/>
                        <a:pt x="775" y="179"/>
                        <a:pt x="774" y="179"/>
                      </a:cubicBezTo>
                      <a:cubicBezTo>
                        <a:pt x="774" y="179"/>
                        <a:pt x="774" y="179"/>
                        <a:pt x="774" y="179"/>
                      </a:cubicBezTo>
                      <a:cubicBezTo>
                        <a:pt x="773" y="179"/>
                        <a:pt x="773" y="179"/>
                        <a:pt x="772" y="179"/>
                      </a:cubicBezTo>
                      <a:cubicBezTo>
                        <a:pt x="772" y="179"/>
                        <a:pt x="771" y="179"/>
                        <a:pt x="771" y="179"/>
                      </a:cubicBezTo>
                      <a:cubicBezTo>
                        <a:pt x="770" y="179"/>
                        <a:pt x="769" y="180"/>
                        <a:pt x="768" y="180"/>
                      </a:cubicBezTo>
                      <a:cubicBezTo>
                        <a:pt x="767" y="180"/>
                        <a:pt x="767" y="180"/>
                        <a:pt x="766" y="181"/>
                      </a:cubicBezTo>
                      <a:cubicBezTo>
                        <a:pt x="766" y="181"/>
                        <a:pt x="765" y="181"/>
                        <a:pt x="765" y="181"/>
                      </a:cubicBezTo>
                      <a:cubicBezTo>
                        <a:pt x="764" y="181"/>
                        <a:pt x="763" y="181"/>
                        <a:pt x="762" y="180"/>
                      </a:cubicBezTo>
                      <a:cubicBezTo>
                        <a:pt x="762" y="180"/>
                        <a:pt x="761" y="180"/>
                        <a:pt x="760" y="179"/>
                      </a:cubicBezTo>
                      <a:cubicBezTo>
                        <a:pt x="755" y="178"/>
                        <a:pt x="751" y="176"/>
                        <a:pt x="747" y="173"/>
                      </a:cubicBezTo>
                      <a:cubicBezTo>
                        <a:pt x="746" y="173"/>
                        <a:pt x="746" y="173"/>
                        <a:pt x="746" y="173"/>
                      </a:cubicBezTo>
                      <a:cubicBezTo>
                        <a:pt x="742" y="171"/>
                        <a:pt x="738" y="170"/>
                        <a:pt x="735" y="169"/>
                      </a:cubicBezTo>
                      <a:cubicBezTo>
                        <a:pt x="733" y="169"/>
                        <a:pt x="731" y="168"/>
                        <a:pt x="729" y="168"/>
                      </a:cubicBezTo>
                      <a:cubicBezTo>
                        <a:pt x="727" y="167"/>
                        <a:pt x="726" y="165"/>
                        <a:pt x="727" y="163"/>
                      </a:cubicBezTo>
                      <a:cubicBezTo>
                        <a:pt x="727" y="163"/>
                        <a:pt x="728" y="161"/>
                        <a:pt x="728" y="161"/>
                      </a:cubicBezTo>
                      <a:cubicBezTo>
                        <a:pt x="730" y="159"/>
                        <a:pt x="733" y="156"/>
                        <a:pt x="731" y="152"/>
                      </a:cubicBezTo>
                      <a:cubicBezTo>
                        <a:pt x="731" y="151"/>
                        <a:pt x="730" y="151"/>
                        <a:pt x="730" y="150"/>
                      </a:cubicBezTo>
                      <a:cubicBezTo>
                        <a:pt x="731" y="150"/>
                        <a:pt x="733" y="149"/>
                        <a:pt x="734" y="149"/>
                      </a:cubicBezTo>
                      <a:cubicBezTo>
                        <a:pt x="736" y="149"/>
                        <a:pt x="737" y="149"/>
                        <a:pt x="738" y="148"/>
                      </a:cubicBezTo>
                      <a:cubicBezTo>
                        <a:pt x="742" y="147"/>
                        <a:pt x="745" y="143"/>
                        <a:pt x="745" y="140"/>
                      </a:cubicBezTo>
                      <a:cubicBezTo>
                        <a:pt x="745" y="137"/>
                        <a:pt x="743" y="134"/>
                        <a:pt x="740" y="132"/>
                      </a:cubicBezTo>
                      <a:cubicBezTo>
                        <a:pt x="738" y="131"/>
                        <a:pt x="737" y="131"/>
                        <a:pt x="735" y="131"/>
                      </a:cubicBezTo>
                      <a:cubicBezTo>
                        <a:pt x="732" y="131"/>
                        <a:pt x="730" y="132"/>
                        <a:pt x="727" y="133"/>
                      </a:cubicBezTo>
                      <a:cubicBezTo>
                        <a:pt x="725" y="134"/>
                        <a:pt x="724" y="135"/>
                        <a:pt x="722" y="135"/>
                      </a:cubicBezTo>
                      <a:cubicBezTo>
                        <a:pt x="721" y="135"/>
                        <a:pt x="720" y="135"/>
                        <a:pt x="719" y="135"/>
                      </a:cubicBezTo>
                      <a:cubicBezTo>
                        <a:pt x="718" y="135"/>
                        <a:pt x="718" y="135"/>
                        <a:pt x="717" y="135"/>
                      </a:cubicBezTo>
                      <a:cubicBezTo>
                        <a:pt x="717" y="135"/>
                        <a:pt x="717" y="135"/>
                        <a:pt x="717" y="135"/>
                      </a:cubicBezTo>
                      <a:cubicBezTo>
                        <a:pt x="717" y="135"/>
                        <a:pt x="717" y="135"/>
                        <a:pt x="718" y="134"/>
                      </a:cubicBezTo>
                      <a:cubicBezTo>
                        <a:pt x="718" y="132"/>
                        <a:pt x="721" y="129"/>
                        <a:pt x="724" y="129"/>
                      </a:cubicBezTo>
                      <a:cubicBezTo>
                        <a:pt x="724" y="129"/>
                        <a:pt x="725" y="129"/>
                        <a:pt x="725" y="129"/>
                      </a:cubicBezTo>
                      <a:cubicBezTo>
                        <a:pt x="727" y="129"/>
                        <a:pt x="732" y="129"/>
                        <a:pt x="733" y="125"/>
                      </a:cubicBezTo>
                      <a:cubicBezTo>
                        <a:pt x="734" y="121"/>
                        <a:pt x="732" y="117"/>
                        <a:pt x="727" y="112"/>
                      </a:cubicBezTo>
                      <a:cubicBezTo>
                        <a:pt x="725" y="111"/>
                        <a:pt x="717" y="106"/>
                        <a:pt x="712" y="106"/>
                      </a:cubicBezTo>
                      <a:cubicBezTo>
                        <a:pt x="708" y="106"/>
                        <a:pt x="706" y="108"/>
                        <a:pt x="706" y="113"/>
                      </a:cubicBezTo>
                      <a:cubicBezTo>
                        <a:pt x="706" y="113"/>
                        <a:pt x="706" y="114"/>
                        <a:pt x="706" y="115"/>
                      </a:cubicBezTo>
                      <a:cubicBezTo>
                        <a:pt x="706" y="115"/>
                        <a:pt x="705" y="114"/>
                        <a:pt x="705" y="114"/>
                      </a:cubicBezTo>
                      <a:cubicBezTo>
                        <a:pt x="704" y="113"/>
                        <a:pt x="704" y="112"/>
                        <a:pt x="703" y="112"/>
                      </a:cubicBezTo>
                      <a:cubicBezTo>
                        <a:pt x="703" y="111"/>
                        <a:pt x="704" y="109"/>
                        <a:pt x="705" y="109"/>
                      </a:cubicBezTo>
                      <a:cubicBezTo>
                        <a:pt x="705" y="108"/>
                        <a:pt x="706" y="108"/>
                        <a:pt x="706" y="107"/>
                      </a:cubicBezTo>
                      <a:cubicBezTo>
                        <a:pt x="706" y="107"/>
                        <a:pt x="706" y="107"/>
                        <a:pt x="706" y="107"/>
                      </a:cubicBezTo>
                      <a:cubicBezTo>
                        <a:pt x="707" y="105"/>
                        <a:pt x="710" y="101"/>
                        <a:pt x="707" y="97"/>
                      </a:cubicBezTo>
                      <a:cubicBezTo>
                        <a:pt x="705" y="95"/>
                        <a:pt x="702" y="95"/>
                        <a:pt x="701" y="95"/>
                      </a:cubicBezTo>
                      <a:cubicBezTo>
                        <a:pt x="701" y="95"/>
                        <a:pt x="700" y="95"/>
                        <a:pt x="699" y="95"/>
                      </a:cubicBezTo>
                      <a:cubicBezTo>
                        <a:pt x="699" y="95"/>
                        <a:pt x="698" y="95"/>
                        <a:pt x="698" y="95"/>
                      </a:cubicBezTo>
                      <a:cubicBezTo>
                        <a:pt x="697" y="95"/>
                        <a:pt x="697" y="95"/>
                        <a:pt x="697" y="95"/>
                      </a:cubicBezTo>
                      <a:cubicBezTo>
                        <a:pt x="697" y="95"/>
                        <a:pt x="696" y="94"/>
                        <a:pt x="695" y="94"/>
                      </a:cubicBezTo>
                      <a:cubicBezTo>
                        <a:pt x="694" y="93"/>
                        <a:pt x="693" y="92"/>
                        <a:pt x="691" y="92"/>
                      </a:cubicBezTo>
                      <a:cubicBezTo>
                        <a:pt x="690" y="92"/>
                        <a:pt x="690" y="92"/>
                        <a:pt x="689" y="93"/>
                      </a:cubicBezTo>
                      <a:cubicBezTo>
                        <a:pt x="689" y="93"/>
                        <a:pt x="688" y="93"/>
                        <a:pt x="687" y="94"/>
                      </a:cubicBezTo>
                      <a:cubicBezTo>
                        <a:pt x="687" y="93"/>
                        <a:pt x="687" y="93"/>
                        <a:pt x="687" y="93"/>
                      </a:cubicBezTo>
                      <a:cubicBezTo>
                        <a:pt x="685" y="93"/>
                        <a:pt x="685" y="93"/>
                        <a:pt x="685" y="93"/>
                      </a:cubicBezTo>
                      <a:cubicBezTo>
                        <a:pt x="683" y="93"/>
                        <a:pt x="681" y="94"/>
                        <a:pt x="679" y="95"/>
                      </a:cubicBezTo>
                      <a:cubicBezTo>
                        <a:pt x="679" y="95"/>
                        <a:pt x="679" y="95"/>
                        <a:pt x="679" y="95"/>
                      </a:cubicBezTo>
                      <a:cubicBezTo>
                        <a:pt x="678" y="96"/>
                        <a:pt x="677" y="97"/>
                        <a:pt x="676" y="97"/>
                      </a:cubicBezTo>
                      <a:cubicBezTo>
                        <a:pt x="676" y="98"/>
                        <a:pt x="675" y="98"/>
                        <a:pt x="675" y="99"/>
                      </a:cubicBezTo>
                      <a:cubicBezTo>
                        <a:pt x="675" y="99"/>
                        <a:pt x="675" y="98"/>
                        <a:pt x="675" y="98"/>
                      </a:cubicBezTo>
                      <a:cubicBezTo>
                        <a:pt x="675" y="96"/>
                        <a:pt x="675" y="90"/>
                        <a:pt x="670" y="88"/>
                      </a:cubicBezTo>
                      <a:cubicBezTo>
                        <a:pt x="670" y="88"/>
                        <a:pt x="669" y="88"/>
                        <a:pt x="668" y="88"/>
                      </a:cubicBezTo>
                      <a:cubicBezTo>
                        <a:pt x="664" y="88"/>
                        <a:pt x="663" y="92"/>
                        <a:pt x="661" y="95"/>
                      </a:cubicBezTo>
                      <a:cubicBezTo>
                        <a:pt x="661" y="96"/>
                        <a:pt x="661" y="97"/>
                        <a:pt x="661" y="97"/>
                      </a:cubicBezTo>
                      <a:cubicBezTo>
                        <a:pt x="660" y="98"/>
                        <a:pt x="660" y="99"/>
                        <a:pt x="659" y="99"/>
                      </a:cubicBezTo>
                      <a:cubicBezTo>
                        <a:pt x="658" y="101"/>
                        <a:pt x="656" y="104"/>
                        <a:pt x="655" y="104"/>
                      </a:cubicBezTo>
                      <a:cubicBezTo>
                        <a:pt x="654" y="104"/>
                        <a:pt x="654" y="104"/>
                        <a:pt x="654" y="104"/>
                      </a:cubicBezTo>
                      <a:cubicBezTo>
                        <a:pt x="654" y="104"/>
                        <a:pt x="653" y="103"/>
                        <a:pt x="654" y="101"/>
                      </a:cubicBezTo>
                      <a:cubicBezTo>
                        <a:pt x="655" y="98"/>
                        <a:pt x="656" y="97"/>
                        <a:pt x="656" y="96"/>
                      </a:cubicBezTo>
                      <a:cubicBezTo>
                        <a:pt x="659" y="95"/>
                        <a:pt x="663" y="92"/>
                        <a:pt x="665" y="87"/>
                      </a:cubicBezTo>
                      <a:cubicBezTo>
                        <a:pt x="666" y="85"/>
                        <a:pt x="665" y="83"/>
                        <a:pt x="664" y="82"/>
                      </a:cubicBezTo>
                      <a:cubicBezTo>
                        <a:pt x="663" y="80"/>
                        <a:pt x="661" y="79"/>
                        <a:pt x="659" y="78"/>
                      </a:cubicBezTo>
                      <a:cubicBezTo>
                        <a:pt x="659" y="78"/>
                        <a:pt x="658" y="78"/>
                        <a:pt x="658" y="78"/>
                      </a:cubicBezTo>
                      <a:cubicBezTo>
                        <a:pt x="657" y="78"/>
                        <a:pt x="657" y="77"/>
                        <a:pt x="656" y="77"/>
                      </a:cubicBezTo>
                      <a:cubicBezTo>
                        <a:pt x="654" y="76"/>
                        <a:pt x="651" y="74"/>
                        <a:pt x="648" y="74"/>
                      </a:cubicBezTo>
                      <a:cubicBezTo>
                        <a:pt x="647" y="73"/>
                        <a:pt x="646" y="73"/>
                        <a:pt x="645" y="73"/>
                      </a:cubicBezTo>
                      <a:cubicBezTo>
                        <a:pt x="642" y="73"/>
                        <a:pt x="640" y="74"/>
                        <a:pt x="638" y="76"/>
                      </a:cubicBezTo>
                      <a:cubicBezTo>
                        <a:pt x="637" y="78"/>
                        <a:pt x="637" y="80"/>
                        <a:pt x="637" y="82"/>
                      </a:cubicBezTo>
                      <a:cubicBezTo>
                        <a:pt x="637" y="83"/>
                        <a:pt x="637" y="84"/>
                        <a:pt x="637" y="85"/>
                      </a:cubicBezTo>
                      <a:cubicBezTo>
                        <a:pt x="637" y="86"/>
                        <a:pt x="636" y="87"/>
                        <a:pt x="636" y="87"/>
                      </a:cubicBezTo>
                      <a:cubicBezTo>
                        <a:pt x="636" y="87"/>
                        <a:pt x="636" y="86"/>
                        <a:pt x="635" y="86"/>
                      </a:cubicBezTo>
                      <a:cubicBezTo>
                        <a:pt x="634" y="82"/>
                        <a:pt x="632" y="77"/>
                        <a:pt x="627" y="76"/>
                      </a:cubicBezTo>
                      <a:cubicBezTo>
                        <a:pt x="626" y="76"/>
                        <a:pt x="626" y="76"/>
                        <a:pt x="625" y="76"/>
                      </a:cubicBezTo>
                      <a:cubicBezTo>
                        <a:pt x="623" y="76"/>
                        <a:pt x="621" y="77"/>
                        <a:pt x="619" y="78"/>
                      </a:cubicBezTo>
                      <a:cubicBezTo>
                        <a:pt x="619" y="78"/>
                        <a:pt x="618" y="79"/>
                        <a:pt x="617" y="79"/>
                      </a:cubicBezTo>
                      <a:cubicBezTo>
                        <a:pt x="618" y="79"/>
                        <a:pt x="618" y="78"/>
                        <a:pt x="618" y="77"/>
                      </a:cubicBezTo>
                      <a:cubicBezTo>
                        <a:pt x="620" y="75"/>
                        <a:pt x="622" y="72"/>
                        <a:pt x="621" y="70"/>
                      </a:cubicBezTo>
                      <a:cubicBezTo>
                        <a:pt x="621" y="64"/>
                        <a:pt x="616" y="63"/>
                        <a:pt x="614" y="63"/>
                      </a:cubicBezTo>
                      <a:cubicBezTo>
                        <a:pt x="611" y="63"/>
                        <a:pt x="610" y="62"/>
                        <a:pt x="609" y="61"/>
                      </a:cubicBezTo>
                      <a:cubicBezTo>
                        <a:pt x="609" y="60"/>
                        <a:pt x="608" y="59"/>
                        <a:pt x="608" y="58"/>
                      </a:cubicBezTo>
                      <a:cubicBezTo>
                        <a:pt x="608" y="56"/>
                        <a:pt x="607" y="55"/>
                        <a:pt x="607" y="54"/>
                      </a:cubicBezTo>
                      <a:cubicBezTo>
                        <a:pt x="605" y="50"/>
                        <a:pt x="600" y="47"/>
                        <a:pt x="596" y="46"/>
                      </a:cubicBezTo>
                      <a:cubicBezTo>
                        <a:pt x="596" y="46"/>
                        <a:pt x="595" y="46"/>
                        <a:pt x="595" y="46"/>
                      </a:cubicBezTo>
                      <a:cubicBezTo>
                        <a:pt x="594" y="46"/>
                        <a:pt x="593" y="46"/>
                        <a:pt x="593" y="47"/>
                      </a:cubicBezTo>
                      <a:cubicBezTo>
                        <a:pt x="592" y="47"/>
                        <a:pt x="591" y="47"/>
                        <a:pt x="591" y="47"/>
                      </a:cubicBezTo>
                      <a:cubicBezTo>
                        <a:pt x="590" y="47"/>
                        <a:pt x="590" y="47"/>
                        <a:pt x="589" y="47"/>
                      </a:cubicBezTo>
                      <a:cubicBezTo>
                        <a:pt x="588" y="46"/>
                        <a:pt x="587" y="46"/>
                        <a:pt x="586" y="45"/>
                      </a:cubicBezTo>
                      <a:cubicBezTo>
                        <a:pt x="584" y="44"/>
                        <a:pt x="581" y="43"/>
                        <a:pt x="578" y="43"/>
                      </a:cubicBezTo>
                      <a:cubicBezTo>
                        <a:pt x="578" y="43"/>
                        <a:pt x="577" y="43"/>
                        <a:pt x="576" y="44"/>
                      </a:cubicBezTo>
                      <a:cubicBezTo>
                        <a:pt x="572" y="44"/>
                        <a:pt x="568" y="47"/>
                        <a:pt x="564" y="52"/>
                      </a:cubicBezTo>
                      <a:cubicBezTo>
                        <a:pt x="561" y="57"/>
                        <a:pt x="560" y="60"/>
                        <a:pt x="564" y="65"/>
                      </a:cubicBezTo>
                      <a:cubicBezTo>
                        <a:pt x="564" y="65"/>
                        <a:pt x="564" y="65"/>
                        <a:pt x="564" y="65"/>
                      </a:cubicBezTo>
                      <a:cubicBezTo>
                        <a:pt x="563" y="66"/>
                        <a:pt x="562" y="66"/>
                        <a:pt x="561" y="67"/>
                      </a:cubicBezTo>
                      <a:cubicBezTo>
                        <a:pt x="560" y="65"/>
                        <a:pt x="557" y="64"/>
                        <a:pt x="555" y="64"/>
                      </a:cubicBezTo>
                      <a:cubicBezTo>
                        <a:pt x="555" y="64"/>
                        <a:pt x="554" y="64"/>
                        <a:pt x="554" y="63"/>
                      </a:cubicBezTo>
                      <a:cubicBezTo>
                        <a:pt x="553" y="63"/>
                        <a:pt x="551" y="63"/>
                        <a:pt x="550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9" y="63"/>
                        <a:pt x="549" y="63"/>
                        <a:pt x="549" y="63"/>
                      </a:cubicBezTo>
                      <a:cubicBezTo>
                        <a:pt x="545" y="63"/>
                        <a:pt x="544" y="67"/>
                        <a:pt x="544" y="70"/>
                      </a:cubicBezTo>
                      <a:cubicBezTo>
                        <a:pt x="543" y="70"/>
                        <a:pt x="543" y="71"/>
                        <a:pt x="543" y="71"/>
                      </a:cubicBezTo>
                      <a:cubicBezTo>
                        <a:pt x="542" y="74"/>
                        <a:pt x="541" y="76"/>
                        <a:pt x="541" y="77"/>
                      </a:cubicBezTo>
                      <a:cubicBezTo>
                        <a:pt x="540" y="76"/>
                        <a:pt x="540" y="74"/>
                        <a:pt x="540" y="72"/>
                      </a:cubicBezTo>
                      <a:cubicBezTo>
                        <a:pt x="540" y="72"/>
                        <a:pt x="540" y="71"/>
                        <a:pt x="540" y="71"/>
                      </a:cubicBezTo>
                      <a:cubicBezTo>
                        <a:pt x="540" y="70"/>
                        <a:pt x="540" y="69"/>
                        <a:pt x="540" y="69"/>
                      </a:cubicBezTo>
                      <a:cubicBezTo>
                        <a:pt x="540" y="66"/>
                        <a:pt x="539" y="64"/>
                        <a:pt x="540" y="62"/>
                      </a:cubicBezTo>
                      <a:cubicBezTo>
                        <a:pt x="540" y="62"/>
                        <a:pt x="540" y="62"/>
                        <a:pt x="541" y="61"/>
                      </a:cubicBezTo>
                      <a:cubicBezTo>
                        <a:pt x="542" y="60"/>
                        <a:pt x="543" y="60"/>
                        <a:pt x="543" y="58"/>
                      </a:cubicBezTo>
                      <a:cubicBezTo>
                        <a:pt x="547" y="52"/>
                        <a:pt x="543" y="47"/>
                        <a:pt x="541" y="43"/>
                      </a:cubicBezTo>
                      <a:cubicBezTo>
                        <a:pt x="540" y="42"/>
                        <a:pt x="539" y="41"/>
                        <a:pt x="539" y="40"/>
                      </a:cubicBezTo>
                      <a:cubicBezTo>
                        <a:pt x="538" y="38"/>
                        <a:pt x="537" y="37"/>
                        <a:pt x="536" y="36"/>
                      </a:cubicBezTo>
                      <a:cubicBezTo>
                        <a:pt x="535" y="34"/>
                        <a:pt x="534" y="33"/>
                        <a:pt x="533" y="32"/>
                      </a:cubicBezTo>
                      <a:cubicBezTo>
                        <a:pt x="533" y="31"/>
                        <a:pt x="533" y="30"/>
                        <a:pt x="533" y="29"/>
                      </a:cubicBezTo>
                      <a:cubicBezTo>
                        <a:pt x="532" y="28"/>
                        <a:pt x="532" y="27"/>
                        <a:pt x="532" y="26"/>
                      </a:cubicBezTo>
                      <a:cubicBezTo>
                        <a:pt x="531" y="21"/>
                        <a:pt x="527" y="16"/>
                        <a:pt x="523" y="14"/>
                      </a:cubicBezTo>
                      <a:cubicBezTo>
                        <a:pt x="522" y="13"/>
                        <a:pt x="521" y="13"/>
                        <a:pt x="519" y="13"/>
                      </a:cubicBezTo>
                      <a:cubicBezTo>
                        <a:pt x="517" y="13"/>
                        <a:pt x="515" y="14"/>
                        <a:pt x="513" y="15"/>
                      </a:cubicBezTo>
                      <a:cubicBezTo>
                        <a:pt x="512" y="16"/>
                        <a:pt x="511" y="16"/>
                        <a:pt x="510" y="17"/>
                      </a:cubicBezTo>
                      <a:cubicBezTo>
                        <a:pt x="509" y="17"/>
                        <a:pt x="509" y="17"/>
                        <a:pt x="508" y="17"/>
                      </a:cubicBezTo>
                      <a:cubicBezTo>
                        <a:pt x="506" y="18"/>
                        <a:pt x="504" y="18"/>
                        <a:pt x="501" y="20"/>
                      </a:cubicBezTo>
                      <a:cubicBezTo>
                        <a:pt x="496" y="23"/>
                        <a:pt x="491" y="28"/>
                        <a:pt x="487" y="33"/>
                      </a:cubicBezTo>
                      <a:cubicBezTo>
                        <a:pt x="479" y="43"/>
                        <a:pt x="473" y="57"/>
                        <a:pt x="479" y="67"/>
                      </a:cubicBezTo>
                      <a:cubicBezTo>
                        <a:pt x="480" y="68"/>
                        <a:pt x="482" y="70"/>
                        <a:pt x="484" y="71"/>
                      </a:cubicBezTo>
                      <a:cubicBezTo>
                        <a:pt x="485" y="72"/>
                        <a:pt x="488" y="74"/>
                        <a:pt x="489" y="75"/>
                      </a:cubicBezTo>
                      <a:cubicBezTo>
                        <a:pt x="488" y="76"/>
                        <a:pt x="488" y="76"/>
                        <a:pt x="487" y="76"/>
                      </a:cubicBezTo>
                      <a:cubicBezTo>
                        <a:pt x="487" y="76"/>
                        <a:pt x="486" y="77"/>
                        <a:pt x="486" y="77"/>
                      </a:cubicBezTo>
                      <a:cubicBezTo>
                        <a:pt x="484" y="79"/>
                        <a:pt x="481" y="81"/>
                        <a:pt x="479" y="85"/>
                      </a:cubicBezTo>
                      <a:cubicBezTo>
                        <a:pt x="476" y="94"/>
                        <a:pt x="485" y="100"/>
                        <a:pt x="489" y="102"/>
                      </a:cubicBezTo>
                      <a:cubicBezTo>
                        <a:pt x="493" y="105"/>
                        <a:pt x="495" y="106"/>
                        <a:pt x="494" y="110"/>
                      </a:cubicBezTo>
                      <a:cubicBezTo>
                        <a:pt x="494" y="111"/>
                        <a:pt x="494" y="111"/>
                        <a:pt x="494" y="112"/>
                      </a:cubicBezTo>
                      <a:cubicBezTo>
                        <a:pt x="494" y="108"/>
                        <a:pt x="490" y="106"/>
                        <a:pt x="487" y="104"/>
                      </a:cubicBezTo>
                      <a:cubicBezTo>
                        <a:pt x="486" y="103"/>
                        <a:pt x="484" y="102"/>
                        <a:pt x="483" y="101"/>
                      </a:cubicBezTo>
                      <a:cubicBezTo>
                        <a:pt x="482" y="100"/>
                        <a:pt x="481" y="97"/>
                        <a:pt x="480" y="95"/>
                      </a:cubicBezTo>
                      <a:cubicBezTo>
                        <a:pt x="480" y="94"/>
                        <a:pt x="479" y="93"/>
                        <a:pt x="478" y="91"/>
                      </a:cubicBezTo>
                      <a:cubicBezTo>
                        <a:pt x="478" y="90"/>
                        <a:pt x="478" y="90"/>
                        <a:pt x="478" y="90"/>
                      </a:cubicBezTo>
                      <a:cubicBezTo>
                        <a:pt x="476" y="87"/>
                        <a:pt x="475" y="86"/>
                        <a:pt x="475" y="83"/>
                      </a:cubicBezTo>
                      <a:cubicBezTo>
                        <a:pt x="475" y="81"/>
                        <a:pt x="475" y="80"/>
                        <a:pt x="476" y="78"/>
                      </a:cubicBezTo>
                      <a:cubicBezTo>
                        <a:pt x="476" y="73"/>
                        <a:pt x="477" y="68"/>
                        <a:pt x="473" y="62"/>
                      </a:cubicBezTo>
                      <a:cubicBezTo>
                        <a:pt x="473" y="62"/>
                        <a:pt x="472" y="61"/>
                        <a:pt x="472" y="61"/>
                      </a:cubicBezTo>
                      <a:cubicBezTo>
                        <a:pt x="471" y="60"/>
                        <a:pt x="471" y="59"/>
                        <a:pt x="471" y="58"/>
                      </a:cubicBezTo>
                      <a:cubicBezTo>
                        <a:pt x="471" y="55"/>
                        <a:pt x="472" y="51"/>
                        <a:pt x="473" y="49"/>
                      </a:cubicBezTo>
                      <a:cubicBezTo>
                        <a:pt x="474" y="46"/>
                        <a:pt x="475" y="43"/>
                        <a:pt x="477" y="41"/>
                      </a:cubicBezTo>
                      <a:cubicBezTo>
                        <a:pt x="477" y="40"/>
                        <a:pt x="478" y="39"/>
                        <a:pt x="478" y="38"/>
                      </a:cubicBezTo>
                      <a:cubicBezTo>
                        <a:pt x="479" y="36"/>
                        <a:pt x="481" y="33"/>
                        <a:pt x="483" y="31"/>
                      </a:cubicBezTo>
                      <a:cubicBezTo>
                        <a:pt x="483" y="30"/>
                        <a:pt x="484" y="30"/>
                        <a:pt x="485" y="29"/>
                      </a:cubicBezTo>
                      <a:cubicBezTo>
                        <a:pt x="487" y="25"/>
                        <a:pt x="489" y="22"/>
                        <a:pt x="489" y="17"/>
                      </a:cubicBezTo>
                      <a:cubicBezTo>
                        <a:pt x="488" y="14"/>
                        <a:pt x="488" y="14"/>
                        <a:pt x="488" y="14"/>
                      </a:cubicBezTo>
                      <a:cubicBezTo>
                        <a:pt x="486" y="14"/>
                        <a:pt x="486" y="14"/>
                        <a:pt x="486" y="14"/>
                      </a:cubicBezTo>
                      <a:cubicBezTo>
                        <a:pt x="481" y="14"/>
                        <a:pt x="477" y="14"/>
                        <a:pt x="473" y="13"/>
                      </a:cubicBezTo>
                      <a:cubicBezTo>
                        <a:pt x="470" y="13"/>
                        <a:pt x="470" y="13"/>
                        <a:pt x="470" y="13"/>
                      </a:cubicBezTo>
                      <a:cubicBezTo>
                        <a:pt x="469" y="13"/>
                        <a:pt x="468" y="13"/>
                        <a:pt x="467" y="13"/>
                      </a:cubicBezTo>
                      <a:cubicBezTo>
                        <a:pt x="464" y="13"/>
                        <a:pt x="462" y="13"/>
                        <a:pt x="460" y="15"/>
                      </a:cubicBezTo>
                      <a:cubicBezTo>
                        <a:pt x="459" y="16"/>
                        <a:pt x="459" y="16"/>
                        <a:pt x="458" y="17"/>
                      </a:cubicBezTo>
                      <a:cubicBezTo>
                        <a:pt x="455" y="19"/>
                        <a:pt x="451" y="22"/>
                        <a:pt x="449" y="25"/>
                      </a:cubicBezTo>
                      <a:cubicBezTo>
                        <a:pt x="448" y="27"/>
                        <a:pt x="448" y="27"/>
                        <a:pt x="448" y="27"/>
                      </a:cubicBezTo>
                      <a:cubicBezTo>
                        <a:pt x="443" y="36"/>
                        <a:pt x="437" y="44"/>
                        <a:pt x="434" y="54"/>
                      </a:cubicBezTo>
                      <a:cubicBezTo>
                        <a:pt x="430" y="68"/>
                        <a:pt x="426" y="89"/>
                        <a:pt x="428" y="108"/>
                      </a:cubicBezTo>
                      <a:cubicBezTo>
                        <a:pt x="430" y="115"/>
                        <a:pt x="434" y="119"/>
                        <a:pt x="441" y="121"/>
                      </a:cubicBezTo>
                      <a:cubicBezTo>
                        <a:pt x="444" y="122"/>
                        <a:pt x="446" y="122"/>
                        <a:pt x="449" y="122"/>
                      </a:cubicBezTo>
                      <a:cubicBezTo>
                        <a:pt x="450" y="122"/>
                        <a:pt x="450" y="122"/>
                        <a:pt x="450" y="122"/>
                      </a:cubicBezTo>
                      <a:cubicBezTo>
                        <a:pt x="454" y="122"/>
                        <a:pt x="461" y="126"/>
                        <a:pt x="461" y="129"/>
                      </a:cubicBezTo>
                      <a:cubicBezTo>
                        <a:pt x="461" y="129"/>
                        <a:pt x="461" y="129"/>
                        <a:pt x="460" y="129"/>
                      </a:cubicBezTo>
                      <a:cubicBezTo>
                        <a:pt x="458" y="129"/>
                        <a:pt x="453" y="127"/>
                        <a:pt x="452" y="126"/>
                      </a:cubicBezTo>
                      <a:cubicBezTo>
                        <a:pt x="452" y="126"/>
                        <a:pt x="450" y="126"/>
                        <a:pt x="449" y="125"/>
                      </a:cubicBezTo>
                      <a:cubicBezTo>
                        <a:pt x="447" y="124"/>
                        <a:pt x="443" y="123"/>
                        <a:pt x="440" y="123"/>
                      </a:cubicBezTo>
                      <a:cubicBezTo>
                        <a:pt x="438" y="123"/>
                        <a:pt x="437" y="124"/>
                        <a:pt x="436" y="125"/>
                      </a:cubicBezTo>
                      <a:cubicBezTo>
                        <a:pt x="431" y="129"/>
                        <a:pt x="434" y="134"/>
                        <a:pt x="436" y="137"/>
                      </a:cubicBezTo>
                      <a:cubicBezTo>
                        <a:pt x="437" y="138"/>
                        <a:pt x="437" y="139"/>
                        <a:pt x="437" y="139"/>
                      </a:cubicBezTo>
                      <a:cubicBezTo>
                        <a:pt x="439" y="145"/>
                        <a:pt x="442" y="147"/>
                        <a:pt x="446" y="151"/>
                      </a:cubicBezTo>
                      <a:cubicBezTo>
                        <a:pt x="452" y="156"/>
                        <a:pt x="460" y="157"/>
                        <a:pt x="463" y="157"/>
                      </a:cubicBezTo>
                      <a:cubicBezTo>
                        <a:pt x="463" y="157"/>
                        <a:pt x="464" y="157"/>
                        <a:pt x="464" y="157"/>
                      </a:cubicBezTo>
                      <a:cubicBezTo>
                        <a:pt x="466" y="157"/>
                        <a:pt x="468" y="157"/>
                        <a:pt x="469" y="156"/>
                      </a:cubicBezTo>
                      <a:cubicBezTo>
                        <a:pt x="470" y="156"/>
                        <a:pt x="471" y="156"/>
                        <a:pt x="472" y="156"/>
                      </a:cubicBezTo>
                      <a:cubicBezTo>
                        <a:pt x="472" y="156"/>
                        <a:pt x="473" y="156"/>
                        <a:pt x="474" y="158"/>
                      </a:cubicBezTo>
                      <a:cubicBezTo>
                        <a:pt x="475" y="159"/>
                        <a:pt x="475" y="159"/>
                        <a:pt x="475" y="159"/>
                      </a:cubicBezTo>
                      <a:cubicBezTo>
                        <a:pt x="477" y="162"/>
                        <a:pt x="480" y="166"/>
                        <a:pt x="484" y="167"/>
                      </a:cubicBezTo>
                      <a:cubicBezTo>
                        <a:pt x="485" y="167"/>
                        <a:pt x="485" y="167"/>
                        <a:pt x="486" y="167"/>
                      </a:cubicBezTo>
                      <a:cubicBezTo>
                        <a:pt x="488" y="167"/>
                        <a:pt x="489" y="166"/>
                        <a:pt x="491" y="166"/>
                      </a:cubicBezTo>
                      <a:cubicBezTo>
                        <a:pt x="492" y="165"/>
                        <a:pt x="493" y="165"/>
                        <a:pt x="494" y="165"/>
                      </a:cubicBezTo>
                      <a:cubicBezTo>
                        <a:pt x="494" y="165"/>
                        <a:pt x="495" y="165"/>
                        <a:pt x="495" y="165"/>
                      </a:cubicBezTo>
                      <a:cubicBezTo>
                        <a:pt x="498" y="166"/>
                        <a:pt x="498" y="166"/>
                        <a:pt x="498" y="166"/>
                      </a:cubicBezTo>
                      <a:cubicBezTo>
                        <a:pt x="500" y="166"/>
                        <a:pt x="502" y="167"/>
                        <a:pt x="505" y="167"/>
                      </a:cubicBezTo>
                      <a:cubicBezTo>
                        <a:pt x="503" y="167"/>
                        <a:pt x="501" y="168"/>
                        <a:pt x="500" y="168"/>
                      </a:cubicBezTo>
                      <a:cubicBezTo>
                        <a:pt x="499" y="169"/>
                        <a:pt x="499" y="169"/>
                        <a:pt x="498" y="169"/>
                      </a:cubicBezTo>
                      <a:cubicBezTo>
                        <a:pt x="497" y="169"/>
                        <a:pt x="496" y="169"/>
                        <a:pt x="495" y="169"/>
                      </a:cubicBezTo>
                      <a:cubicBezTo>
                        <a:pt x="495" y="169"/>
                        <a:pt x="495" y="169"/>
                        <a:pt x="495" y="169"/>
                      </a:cubicBezTo>
                      <a:cubicBezTo>
                        <a:pt x="495" y="169"/>
                        <a:pt x="494" y="169"/>
                        <a:pt x="494" y="169"/>
                      </a:cubicBezTo>
                      <a:cubicBezTo>
                        <a:pt x="494" y="169"/>
                        <a:pt x="493" y="169"/>
                        <a:pt x="492" y="169"/>
                      </a:cubicBezTo>
                      <a:cubicBezTo>
                        <a:pt x="492" y="169"/>
                        <a:pt x="491" y="169"/>
                        <a:pt x="491" y="169"/>
                      </a:cubicBezTo>
                      <a:cubicBezTo>
                        <a:pt x="487" y="171"/>
                        <a:pt x="487" y="176"/>
                        <a:pt x="488" y="181"/>
                      </a:cubicBezTo>
                      <a:cubicBezTo>
                        <a:pt x="488" y="181"/>
                        <a:pt x="488" y="182"/>
                        <a:pt x="488" y="182"/>
                      </a:cubicBezTo>
                      <a:cubicBezTo>
                        <a:pt x="488" y="186"/>
                        <a:pt x="488" y="190"/>
                        <a:pt x="489" y="193"/>
                      </a:cubicBezTo>
                      <a:cubicBezTo>
                        <a:pt x="490" y="198"/>
                        <a:pt x="494" y="199"/>
                        <a:pt x="497" y="199"/>
                      </a:cubicBezTo>
                      <a:cubicBezTo>
                        <a:pt x="497" y="200"/>
                        <a:pt x="497" y="200"/>
                        <a:pt x="497" y="201"/>
                      </a:cubicBezTo>
                      <a:cubicBezTo>
                        <a:pt x="497" y="201"/>
                        <a:pt x="497" y="202"/>
                        <a:pt x="497" y="203"/>
                      </a:cubicBezTo>
                      <a:cubicBezTo>
                        <a:pt x="497" y="203"/>
                        <a:pt x="497" y="204"/>
                        <a:pt x="497" y="204"/>
                      </a:cubicBezTo>
                      <a:cubicBezTo>
                        <a:pt x="497" y="206"/>
                        <a:pt x="497" y="209"/>
                        <a:pt x="496" y="210"/>
                      </a:cubicBezTo>
                      <a:cubicBezTo>
                        <a:pt x="495" y="210"/>
                        <a:pt x="494" y="211"/>
                        <a:pt x="494" y="211"/>
                      </a:cubicBezTo>
                      <a:cubicBezTo>
                        <a:pt x="492" y="212"/>
                        <a:pt x="489" y="213"/>
                        <a:pt x="488" y="215"/>
                      </a:cubicBezTo>
                      <a:cubicBezTo>
                        <a:pt x="487" y="217"/>
                        <a:pt x="487" y="220"/>
                        <a:pt x="487" y="223"/>
                      </a:cubicBezTo>
                      <a:cubicBezTo>
                        <a:pt x="487" y="224"/>
                        <a:pt x="487" y="225"/>
                        <a:pt x="486" y="226"/>
                      </a:cubicBezTo>
                      <a:cubicBezTo>
                        <a:pt x="486" y="229"/>
                        <a:pt x="486" y="231"/>
                        <a:pt x="486" y="234"/>
                      </a:cubicBezTo>
                      <a:cubicBezTo>
                        <a:pt x="486" y="237"/>
                        <a:pt x="486" y="240"/>
                        <a:pt x="485" y="243"/>
                      </a:cubicBezTo>
                      <a:cubicBezTo>
                        <a:pt x="485" y="243"/>
                        <a:pt x="485" y="243"/>
                        <a:pt x="484" y="243"/>
                      </a:cubicBezTo>
                      <a:cubicBezTo>
                        <a:pt x="484" y="244"/>
                        <a:pt x="484" y="244"/>
                        <a:pt x="483" y="244"/>
                      </a:cubicBezTo>
                      <a:cubicBezTo>
                        <a:pt x="481" y="246"/>
                        <a:pt x="479" y="250"/>
                        <a:pt x="478" y="254"/>
                      </a:cubicBezTo>
                      <a:cubicBezTo>
                        <a:pt x="478" y="255"/>
                        <a:pt x="478" y="257"/>
                        <a:pt x="478" y="258"/>
                      </a:cubicBezTo>
                      <a:cubicBezTo>
                        <a:pt x="478" y="260"/>
                        <a:pt x="478" y="262"/>
                        <a:pt x="478" y="263"/>
                      </a:cubicBezTo>
                      <a:cubicBezTo>
                        <a:pt x="477" y="263"/>
                        <a:pt x="477" y="264"/>
                        <a:pt x="476" y="264"/>
                      </a:cubicBezTo>
                      <a:cubicBezTo>
                        <a:pt x="475" y="264"/>
                        <a:pt x="474" y="265"/>
                        <a:pt x="473" y="266"/>
                      </a:cubicBezTo>
                      <a:cubicBezTo>
                        <a:pt x="472" y="267"/>
                        <a:pt x="471" y="268"/>
                        <a:pt x="471" y="269"/>
                      </a:cubicBezTo>
                      <a:cubicBezTo>
                        <a:pt x="470" y="268"/>
                        <a:pt x="469" y="266"/>
                        <a:pt x="468" y="264"/>
                      </a:cubicBezTo>
                      <a:cubicBezTo>
                        <a:pt x="467" y="262"/>
                        <a:pt x="465" y="260"/>
                        <a:pt x="463" y="258"/>
                      </a:cubicBezTo>
                      <a:cubicBezTo>
                        <a:pt x="463" y="258"/>
                        <a:pt x="463" y="258"/>
                        <a:pt x="463" y="258"/>
                      </a:cubicBezTo>
                      <a:cubicBezTo>
                        <a:pt x="461" y="257"/>
                        <a:pt x="460" y="255"/>
                        <a:pt x="459" y="253"/>
                      </a:cubicBezTo>
                      <a:cubicBezTo>
                        <a:pt x="458" y="251"/>
                        <a:pt x="457" y="251"/>
                        <a:pt x="457" y="250"/>
                      </a:cubicBezTo>
                      <a:cubicBezTo>
                        <a:pt x="457" y="248"/>
                        <a:pt x="457" y="248"/>
                        <a:pt x="457" y="248"/>
                      </a:cubicBezTo>
                      <a:cubicBezTo>
                        <a:pt x="458" y="246"/>
                        <a:pt x="458" y="243"/>
                        <a:pt x="457" y="241"/>
                      </a:cubicBezTo>
                      <a:cubicBezTo>
                        <a:pt x="457" y="240"/>
                        <a:pt x="457" y="240"/>
                        <a:pt x="457" y="240"/>
                      </a:cubicBezTo>
                      <a:cubicBezTo>
                        <a:pt x="457" y="239"/>
                        <a:pt x="456" y="237"/>
                        <a:pt x="456" y="237"/>
                      </a:cubicBezTo>
                      <a:cubicBezTo>
                        <a:pt x="457" y="236"/>
                        <a:pt x="458" y="235"/>
                        <a:pt x="458" y="234"/>
                      </a:cubicBezTo>
                      <a:cubicBezTo>
                        <a:pt x="459" y="233"/>
                        <a:pt x="459" y="233"/>
                        <a:pt x="459" y="233"/>
                      </a:cubicBezTo>
                      <a:cubicBezTo>
                        <a:pt x="461" y="231"/>
                        <a:pt x="462" y="228"/>
                        <a:pt x="462" y="226"/>
                      </a:cubicBezTo>
                      <a:cubicBezTo>
                        <a:pt x="462" y="225"/>
                        <a:pt x="462" y="224"/>
                        <a:pt x="462" y="223"/>
                      </a:cubicBezTo>
                      <a:cubicBezTo>
                        <a:pt x="462" y="220"/>
                        <a:pt x="463" y="216"/>
                        <a:pt x="461" y="212"/>
                      </a:cubicBezTo>
                      <a:cubicBezTo>
                        <a:pt x="460" y="211"/>
                        <a:pt x="459" y="210"/>
                        <a:pt x="459" y="209"/>
                      </a:cubicBezTo>
                      <a:cubicBezTo>
                        <a:pt x="458" y="208"/>
                        <a:pt x="458" y="208"/>
                        <a:pt x="457" y="207"/>
                      </a:cubicBezTo>
                      <a:cubicBezTo>
                        <a:pt x="456" y="205"/>
                        <a:pt x="454" y="204"/>
                        <a:pt x="452" y="202"/>
                      </a:cubicBezTo>
                      <a:cubicBezTo>
                        <a:pt x="452" y="201"/>
                        <a:pt x="451" y="201"/>
                        <a:pt x="450" y="200"/>
                      </a:cubicBezTo>
                      <a:cubicBezTo>
                        <a:pt x="449" y="200"/>
                        <a:pt x="448" y="199"/>
                        <a:pt x="448" y="199"/>
                      </a:cubicBezTo>
                      <a:cubicBezTo>
                        <a:pt x="448" y="198"/>
                        <a:pt x="448" y="198"/>
                        <a:pt x="447" y="197"/>
                      </a:cubicBezTo>
                      <a:cubicBezTo>
                        <a:pt x="446" y="196"/>
                        <a:pt x="444" y="192"/>
                        <a:pt x="441" y="192"/>
                      </a:cubicBezTo>
                      <a:cubicBezTo>
                        <a:pt x="440" y="192"/>
                        <a:pt x="440" y="192"/>
                        <a:pt x="440" y="192"/>
                      </a:cubicBezTo>
                      <a:cubicBezTo>
                        <a:pt x="435" y="193"/>
                        <a:pt x="435" y="197"/>
                        <a:pt x="435" y="199"/>
                      </a:cubicBezTo>
                      <a:cubicBezTo>
                        <a:pt x="435" y="199"/>
                        <a:pt x="434" y="200"/>
                        <a:pt x="434" y="201"/>
                      </a:cubicBezTo>
                      <a:cubicBezTo>
                        <a:pt x="433" y="202"/>
                        <a:pt x="433" y="203"/>
                        <a:pt x="432" y="205"/>
                      </a:cubicBezTo>
                      <a:cubicBezTo>
                        <a:pt x="432" y="206"/>
                        <a:pt x="432" y="206"/>
                        <a:pt x="432" y="206"/>
                      </a:cubicBezTo>
                      <a:cubicBezTo>
                        <a:pt x="432" y="208"/>
                        <a:pt x="432" y="210"/>
                        <a:pt x="432" y="212"/>
                      </a:cubicBezTo>
                      <a:cubicBezTo>
                        <a:pt x="432" y="215"/>
                        <a:pt x="431" y="217"/>
                        <a:pt x="429" y="220"/>
                      </a:cubicBezTo>
                      <a:cubicBezTo>
                        <a:pt x="429" y="221"/>
                        <a:pt x="429" y="222"/>
                        <a:pt x="428" y="223"/>
                      </a:cubicBezTo>
                      <a:cubicBezTo>
                        <a:pt x="428" y="224"/>
                        <a:pt x="428" y="226"/>
                        <a:pt x="428" y="227"/>
                      </a:cubicBezTo>
                      <a:cubicBezTo>
                        <a:pt x="428" y="230"/>
                        <a:pt x="427" y="230"/>
                        <a:pt x="427" y="231"/>
                      </a:cubicBezTo>
                      <a:cubicBezTo>
                        <a:pt x="427" y="231"/>
                        <a:pt x="426" y="230"/>
                        <a:pt x="425" y="222"/>
                      </a:cubicBezTo>
                      <a:cubicBezTo>
                        <a:pt x="425" y="221"/>
                        <a:pt x="425" y="219"/>
                        <a:pt x="426" y="217"/>
                      </a:cubicBezTo>
                      <a:cubicBezTo>
                        <a:pt x="426" y="213"/>
                        <a:pt x="426" y="208"/>
                        <a:pt x="424" y="203"/>
                      </a:cubicBezTo>
                      <a:cubicBezTo>
                        <a:pt x="423" y="202"/>
                        <a:pt x="422" y="201"/>
                        <a:pt x="422" y="200"/>
                      </a:cubicBezTo>
                      <a:cubicBezTo>
                        <a:pt x="421" y="199"/>
                        <a:pt x="420" y="198"/>
                        <a:pt x="419" y="197"/>
                      </a:cubicBezTo>
                      <a:cubicBezTo>
                        <a:pt x="419" y="196"/>
                        <a:pt x="420" y="196"/>
                        <a:pt x="421" y="194"/>
                      </a:cubicBezTo>
                      <a:cubicBezTo>
                        <a:pt x="423" y="193"/>
                        <a:pt x="425" y="191"/>
                        <a:pt x="425" y="188"/>
                      </a:cubicBezTo>
                      <a:cubicBezTo>
                        <a:pt x="425" y="184"/>
                        <a:pt x="421" y="183"/>
                        <a:pt x="418" y="182"/>
                      </a:cubicBezTo>
                      <a:cubicBezTo>
                        <a:pt x="418" y="182"/>
                        <a:pt x="417" y="182"/>
                        <a:pt x="417" y="182"/>
                      </a:cubicBezTo>
                      <a:cubicBezTo>
                        <a:pt x="416" y="181"/>
                        <a:pt x="415" y="181"/>
                        <a:pt x="415" y="181"/>
                      </a:cubicBezTo>
                      <a:cubicBezTo>
                        <a:pt x="414" y="180"/>
                        <a:pt x="412" y="179"/>
                        <a:pt x="411" y="179"/>
                      </a:cubicBezTo>
                      <a:cubicBezTo>
                        <a:pt x="409" y="179"/>
                        <a:pt x="407" y="181"/>
                        <a:pt x="405" y="182"/>
                      </a:cubicBezTo>
                      <a:cubicBezTo>
                        <a:pt x="405" y="183"/>
                        <a:pt x="404" y="183"/>
                        <a:pt x="404" y="183"/>
                      </a:cubicBezTo>
                      <a:cubicBezTo>
                        <a:pt x="404" y="183"/>
                        <a:pt x="403" y="182"/>
                        <a:pt x="403" y="181"/>
                      </a:cubicBezTo>
                      <a:cubicBezTo>
                        <a:pt x="402" y="180"/>
                        <a:pt x="402" y="180"/>
                        <a:pt x="402" y="180"/>
                      </a:cubicBezTo>
                      <a:cubicBezTo>
                        <a:pt x="401" y="179"/>
                        <a:pt x="399" y="178"/>
                        <a:pt x="398" y="177"/>
                      </a:cubicBezTo>
                      <a:cubicBezTo>
                        <a:pt x="398" y="177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397" y="176"/>
                      </a:cubicBezTo>
                      <a:cubicBezTo>
                        <a:pt x="397" y="176"/>
                        <a:pt x="397" y="176"/>
                        <a:pt x="400" y="175"/>
                      </a:cubicBezTo>
                      <a:cubicBezTo>
                        <a:pt x="401" y="174"/>
                        <a:pt x="403" y="173"/>
                        <a:pt x="405" y="172"/>
                      </a:cubicBezTo>
                      <a:cubicBezTo>
                        <a:pt x="406" y="170"/>
                        <a:pt x="406" y="168"/>
                        <a:pt x="406" y="167"/>
                      </a:cubicBezTo>
                      <a:cubicBezTo>
                        <a:pt x="406" y="166"/>
                        <a:pt x="406" y="165"/>
                        <a:pt x="406" y="165"/>
                      </a:cubicBezTo>
                      <a:cubicBezTo>
                        <a:pt x="406" y="165"/>
                        <a:pt x="407" y="165"/>
                        <a:pt x="408" y="165"/>
                      </a:cubicBezTo>
                      <a:cubicBezTo>
                        <a:pt x="409" y="165"/>
                        <a:pt x="411" y="165"/>
                        <a:pt x="412" y="161"/>
                      </a:cubicBezTo>
                      <a:cubicBezTo>
                        <a:pt x="414" y="157"/>
                        <a:pt x="410" y="154"/>
                        <a:pt x="409" y="153"/>
                      </a:cubicBezTo>
                      <a:cubicBezTo>
                        <a:pt x="407" y="152"/>
                        <a:pt x="407" y="152"/>
                        <a:pt x="406" y="151"/>
                      </a:cubicBezTo>
                      <a:cubicBezTo>
                        <a:pt x="406" y="150"/>
                        <a:pt x="405" y="149"/>
                        <a:pt x="405" y="148"/>
                      </a:cubicBezTo>
                      <a:cubicBezTo>
                        <a:pt x="404" y="147"/>
                        <a:pt x="404" y="146"/>
                        <a:pt x="403" y="145"/>
                      </a:cubicBezTo>
                      <a:cubicBezTo>
                        <a:pt x="403" y="144"/>
                        <a:pt x="403" y="143"/>
                        <a:pt x="403" y="143"/>
                      </a:cubicBezTo>
                      <a:cubicBezTo>
                        <a:pt x="402" y="141"/>
                        <a:pt x="402" y="140"/>
                        <a:pt x="401" y="138"/>
                      </a:cubicBezTo>
                      <a:cubicBezTo>
                        <a:pt x="400" y="137"/>
                        <a:pt x="399" y="137"/>
                        <a:pt x="399" y="136"/>
                      </a:cubicBezTo>
                      <a:cubicBezTo>
                        <a:pt x="398" y="135"/>
                        <a:pt x="397" y="135"/>
                        <a:pt x="397" y="134"/>
                      </a:cubicBezTo>
                      <a:cubicBezTo>
                        <a:pt x="396" y="132"/>
                        <a:pt x="396" y="130"/>
                        <a:pt x="397" y="127"/>
                      </a:cubicBezTo>
                      <a:cubicBezTo>
                        <a:pt x="397" y="125"/>
                        <a:pt x="397" y="124"/>
                        <a:pt x="397" y="123"/>
                      </a:cubicBezTo>
                      <a:cubicBezTo>
                        <a:pt x="397" y="119"/>
                        <a:pt x="396" y="115"/>
                        <a:pt x="394" y="112"/>
                      </a:cubicBezTo>
                      <a:cubicBezTo>
                        <a:pt x="394" y="110"/>
                        <a:pt x="392" y="108"/>
                        <a:pt x="391" y="107"/>
                      </a:cubicBezTo>
                      <a:cubicBezTo>
                        <a:pt x="391" y="106"/>
                        <a:pt x="390" y="105"/>
                        <a:pt x="389" y="104"/>
                      </a:cubicBezTo>
                      <a:cubicBezTo>
                        <a:pt x="389" y="104"/>
                        <a:pt x="389" y="103"/>
                        <a:pt x="388" y="102"/>
                      </a:cubicBezTo>
                      <a:cubicBezTo>
                        <a:pt x="388" y="100"/>
                        <a:pt x="387" y="97"/>
                        <a:pt x="385" y="96"/>
                      </a:cubicBezTo>
                      <a:cubicBezTo>
                        <a:pt x="383" y="94"/>
                        <a:pt x="381" y="94"/>
                        <a:pt x="379" y="93"/>
                      </a:cubicBezTo>
                      <a:cubicBezTo>
                        <a:pt x="379" y="93"/>
                        <a:pt x="379" y="93"/>
                        <a:pt x="378" y="93"/>
                      </a:cubicBezTo>
                      <a:cubicBezTo>
                        <a:pt x="380" y="92"/>
                        <a:pt x="381" y="91"/>
                        <a:pt x="382" y="90"/>
                      </a:cubicBezTo>
                      <a:cubicBezTo>
                        <a:pt x="383" y="89"/>
                        <a:pt x="384" y="88"/>
                        <a:pt x="385" y="87"/>
                      </a:cubicBezTo>
                      <a:cubicBezTo>
                        <a:pt x="386" y="86"/>
                        <a:pt x="387" y="86"/>
                        <a:pt x="388" y="85"/>
                      </a:cubicBezTo>
                      <a:cubicBezTo>
                        <a:pt x="393" y="80"/>
                        <a:pt x="392" y="71"/>
                        <a:pt x="391" y="65"/>
                      </a:cubicBezTo>
                      <a:cubicBezTo>
                        <a:pt x="391" y="64"/>
                        <a:pt x="391" y="64"/>
                        <a:pt x="391" y="64"/>
                      </a:cubicBezTo>
                      <a:cubicBezTo>
                        <a:pt x="391" y="63"/>
                        <a:pt x="391" y="62"/>
                        <a:pt x="391" y="62"/>
                      </a:cubicBezTo>
                      <a:cubicBezTo>
                        <a:pt x="391" y="62"/>
                        <a:pt x="392" y="62"/>
                        <a:pt x="393" y="63"/>
                      </a:cubicBezTo>
                      <a:cubicBezTo>
                        <a:pt x="396" y="63"/>
                        <a:pt x="398" y="64"/>
                        <a:pt x="400" y="64"/>
                      </a:cubicBezTo>
                      <a:cubicBezTo>
                        <a:pt x="405" y="64"/>
                        <a:pt x="409" y="62"/>
                        <a:pt x="412" y="58"/>
                      </a:cubicBezTo>
                      <a:cubicBezTo>
                        <a:pt x="414" y="55"/>
                        <a:pt x="416" y="51"/>
                        <a:pt x="417" y="48"/>
                      </a:cubicBezTo>
                      <a:cubicBezTo>
                        <a:pt x="418" y="45"/>
                        <a:pt x="418" y="43"/>
                        <a:pt x="420" y="41"/>
                      </a:cubicBezTo>
                      <a:cubicBezTo>
                        <a:pt x="421" y="39"/>
                        <a:pt x="422" y="37"/>
                        <a:pt x="424" y="35"/>
                      </a:cubicBezTo>
                      <a:cubicBezTo>
                        <a:pt x="426" y="32"/>
                        <a:pt x="429" y="28"/>
                        <a:pt x="430" y="24"/>
                      </a:cubicBezTo>
                      <a:cubicBezTo>
                        <a:pt x="431" y="20"/>
                        <a:pt x="431" y="17"/>
                        <a:pt x="429" y="15"/>
                      </a:cubicBezTo>
                      <a:cubicBezTo>
                        <a:pt x="426" y="10"/>
                        <a:pt x="418" y="8"/>
                        <a:pt x="411" y="6"/>
                      </a:cubicBezTo>
                      <a:cubicBezTo>
                        <a:pt x="408" y="6"/>
                        <a:pt x="405" y="5"/>
                        <a:pt x="403" y="4"/>
                      </a:cubicBezTo>
                      <a:cubicBezTo>
                        <a:pt x="398" y="1"/>
                        <a:pt x="393" y="0"/>
                        <a:pt x="389" y="0"/>
                      </a:cubicBezTo>
                      <a:cubicBezTo>
                        <a:pt x="386" y="0"/>
                        <a:pt x="384" y="1"/>
                        <a:pt x="382" y="1"/>
                      </a:cubicBezTo>
                      <a:cubicBezTo>
                        <a:pt x="379" y="2"/>
                        <a:pt x="372" y="4"/>
                        <a:pt x="370" y="9"/>
                      </a:cubicBezTo>
                      <a:cubicBezTo>
                        <a:pt x="369" y="10"/>
                        <a:pt x="369" y="13"/>
                        <a:pt x="370" y="16"/>
                      </a:cubicBezTo>
                      <a:cubicBezTo>
                        <a:pt x="369" y="16"/>
                        <a:pt x="368" y="17"/>
                        <a:pt x="368" y="17"/>
                      </a:cubicBezTo>
                      <a:cubicBezTo>
                        <a:pt x="365" y="19"/>
                        <a:pt x="365" y="22"/>
                        <a:pt x="365" y="24"/>
                      </a:cubicBezTo>
                      <a:cubicBezTo>
                        <a:pt x="365" y="25"/>
                        <a:pt x="365" y="25"/>
                        <a:pt x="365" y="25"/>
                      </a:cubicBezTo>
                      <a:cubicBezTo>
                        <a:pt x="365" y="26"/>
                        <a:pt x="365" y="27"/>
                        <a:pt x="365" y="28"/>
                      </a:cubicBezTo>
                      <a:cubicBezTo>
                        <a:pt x="364" y="30"/>
                        <a:pt x="364" y="32"/>
                        <a:pt x="364" y="34"/>
                      </a:cubicBezTo>
                      <a:cubicBezTo>
                        <a:pt x="364" y="36"/>
                        <a:pt x="364" y="37"/>
                        <a:pt x="364" y="39"/>
                      </a:cubicBezTo>
                      <a:cubicBezTo>
                        <a:pt x="364" y="42"/>
                        <a:pt x="365" y="45"/>
                        <a:pt x="364" y="47"/>
                      </a:cubicBezTo>
                      <a:cubicBezTo>
                        <a:pt x="364" y="47"/>
                        <a:pt x="364" y="48"/>
                        <a:pt x="363" y="48"/>
                      </a:cubicBezTo>
                      <a:cubicBezTo>
                        <a:pt x="363" y="50"/>
                        <a:pt x="362" y="52"/>
                        <a:pt x="363" y="55"/>
                      </a:cubicBezTo>
                      <a:cubicBezTo>
                        <a:pt x="363" y="56"/>
                        <a:pt x="363" y="57"/>
                        <a:pt x="364" y="58"/>
                      </a:cubicBezTo>
                      <a:cubicBezTo>
                        <a:pt x="364" y="59"/>
                        <a:pt x="365" y="59"/>
                        <a:pt x="365" y="60"/>
                      </a:cubicBezTo>
                      <a:cubicBezTo>
                        <a:pt x="366" y="64"/>
                        <a:pt x="366" y="68"/>
                        <a:pt x="366" y="73"/>
                      </a:cubicBezTo>
                      <a:cubicBezTo>
                        <a:pt x="366" y="74"/>
                        <a:pt x="366" y="76"/>
                        <a:pt x="366" y="77"/>
                      </a:cubicBezTo>
                      <a:cubicBezTo>
                        <a:pt x="366" y="79"/>
                        <a:pt x="366" y="81"/>
                        <a:pt x="366" y="82"/>
                      </a:cubicBezTo>
                      <a:cubicBezTo>
                        <a:pt x="366" y="83"/>
                        <a:pt x="365" y="83"/>
                        <a:pt x="365" y="84"/>
                      </a:cubicBezTo>
                      <a:cubicBezTo>
                        <a:pt x="364" y="86"/>
                        <a:pt x="363" y="88"/>
                        <a:pt x="365" y="91"/>
                      </a:cubicBezTo>
                      <a:cubicBezTo>
                        <a:pt x="365" y="91"/>
                        <a:pt x="365" y="91"/>
                        <a:pt x="365" y="91"/>
                      </a:cubicBezTo>
                      <a:cubicBezTo>
                        <a:pt x="363" y="92"/>
                        <a:pt x="363" y="94"/>
                        <a:pt x="362" y="95"/>
                      </a:cubicBezTo>
                      <a:cubicBezTo>
                        <a:pt x="362" y="96"/>
                        <a:pt x="362" y="96"/>
                        <a:pt x="362" y="96"/>
                      </a:cubicBezTo>
                      <a:cubicBezTo>
                        <a:pt x="362" y="96"/>
                        <a:pt x="362" y="96"/>
                        <a:pt x="361" y="97"/>
                      </a:cubicBezTo>
                      <a:cubicBezTo>
                        <a:pt x="359" y="97"/>
                        <a:pt x="357" y="98"/>
                        <a:pt x="356" y="100"/>
                      </a:cubicBezTo>
                      <a:cubicBezTo>
                        <a:pt x="355" y="102"/>
                        <a:pt x="355" y="105"/>
                        <a:pt x="356" y="106"/>
                      </a:cubicBezTo>
                      <a:cubicBezTo>
                        <a:pt x="357" y="107"/>
                        <a:pt x="358" y="108"/>
                        <a:pt x="360" y="108"/>
                      </a:cubicBezTo>
                      <a:cubicBezTo>
                        <a:pt x="360" y="108"/>
                        <a:pt x="360" y="108"/>
                        <a:pt x="359" y="108"/>
                      </a:cubicBezTo>
                      <a:cubicBezTo>
                        <a:pt x="359" y="108"/>
                        <a:pt x="359" y="108"/>
                        <a:pt x="358" y="108"/>
                      </a:cubicBezTo>
                      <a:cubicBezTo>
                        <a:pt x="358" y="108"/>
                        <a:pt x="357" y="108"/>
                        <a:pt x="356" y="108"/>
                      </a:cubicBezTo>
                      <a:cubicBezTo>
                        <a:pt x="355" y="108"/>
                        <a:pt x="352" y="108"/>
                        <a:pt x="350" y="110"/>
                      </a:cubicBezTo>
                      <a:cubicBezTo>
                        <a:pt x="348" y="113"/>
                        <a:pt x="347" y="118"/>
                        <a:pt x="346" y="121"/>
                      </a:cubicBezTo>
                      <a:cubicBezTo>
                        <a:pt x="345" y="122"/>
                        <a:pt x="345" y="123"/>
                        <a:pt x="345" y="124"/>
                      </a:cubicBezTo>
                      <a:cubicBezTo>
                        <a:pt x="345" y="124"/>
                        <a:pt x="345" y="125"/>
                        <a:pt x="345" y="125"/>
                      </a:cubicBezTo>
                      <a:cubicBezTo>
                        <a:pt x="343" y="128"/>
                        <a:pt x="341" y="136"/>
                        <a:pt x="347" y="139"/>
                      </a:cubicBezTo>
                      <a:cubicBezTo>
                        <a:pt x="348" y="139"/>
                        <a:pt x="348" y="139"/>
                        <a:pt x="349" y="139"/>
                      </a:cubicBezTo>
                      <a:cubicBezTo>
                        <a:pt x="349" y="139"/>
                        <a:pt x="348" y="140"/>
                        <a:pt x="348" y="140"/>
                      </a:cubicBezTo>
                      <a:cubicBezTo>
                        <a:pt x="346" y="141"/>
                        <a:pt x="345" y="143"/>
                        <a:pt x="344" y="144"/>
                      </a:cubicBezTo>
                      <a:cubicBezTo>
                        <a:pt x="344" y="144"/>
                        <a:pt x="344" y="145"/>
                        <a:pt x="343" y="145"/>
                      </a:cubicBezTo>
                      <a:cubicBezTo>
                        <a:pt x="343" y="146"/>
                        <a:pt x="342" y="146"/>
                        <a:pt x="341" y="148"/>
                      </a:cubicBezTo>
                      <a:cubicBezTo>
                        <a:pt x="340" y="151"/>
                        <a:pt x="340" y="156"/>
                        <a:pt x="340" y="158"/>
                      </a:cubicBezTo>
                      <a:cubicBezTo>
                        <a:pt x="341" y="161"/>
                        <a:pt x="342" y="162"/>
                        <a:pt x="344" y="163"/>
                      </a:cubicBezTo>
                      <a:cubicBezTo>
                        <a:pt x="344" y="164"/>
                        <a:pt x="345" y="164"/>
                        <a:pt x="345" y="165"/>
                      </a:cubicBezTo>
                      <a:cubicBezTo>
                        <a:pt x="345" y="165"/>
                        <a:pt x="345" y="166"/>
                        <a:pt x="345" y="166"/>
                      </a:cubicBezTo>
                      <a:cubicBezTo>
                        <a:pt x="345" y="167"/>
                        <a:pt x="345" y="168"/>
                        <a:pt x="345" y="170"/>
                      </a:cubicBezTo>
                      <a:cubicBezTo>
                        <a:pt x="346" y="172"/>
                        <a:pt x="347" y="173"/>
                        <a:pt x="349" y="174"/>
                      </a:cubicBezTo>
                      <a:cubicBezTo>
                        <a:pt x="351" y="175"/>
                        <a:pt x="353" y="176"/>
                        <a:pt x="355" y="177"/>
                      </a:cubicBezTo>
                      <a:cubicBezTo>
                        <a:pt x="356" y="177"/>
                        <a:pt x="356" y="177"/>
                        <a:pt x="357" y="178"/>
                      </a:cubicBezTo>
                      <a:cubicBezTo>
                        <a:pt x="360" y="179"/>
                        <a:pt x="362" y="181"/>
                        <a:pt x="364" y="182"/>
                      </a:cubicBezTo>
                      <a:cubicBezTo>
                        <a:pt x="365" y="184"/>
                        <a:pt x="367" y="185"/>
                        <a:pt x="368" y="186"/>
                      </a:cubicBezTo>
                      <a:cubicBezTo>
                        <a:pt x="370" y="187"/>
                        <a:pt x="372" y="188"/>
                        <a:pt x="374" y="188"/>
                      </a:cubicBezTo>
                      <a:cubicBezTo>
                        <a:pt x="374" y="188"/>
                        <a:pt x="375" y="188"/>
                        <a:pt x="375" y="188"/>
                      </a:cubicBezTo>
                      <a:cubicBezTo>
                        <a:pt x="376" y="188"/>
                        <a:pt x="377" y="188"/>
                        <a:pt x="378" y="188"/>
                      </a:cubicBezTo>
                      <a:cubicBezTo>
                        <a:pt x="378" y="188"/>
                        <a:pt x="379" y="188"/>
                        <a:pt x="379" y="188"/>
                      </a:cubicBezTo>
                      <a:cubicBezTo>
                        <a:pt x="380" y="188"/>
                        <a:pt x="380" y="188"/>
                        <a:pt x="381" y="188"/>
                      </a:cubicBezTo>
                      <a:cubicBezTo>
                        <a:pt x="381" y="189"/>
                        <a:pt x="380" y="189"/>
                        <a:pt x="379" y="190"/>
                      </a:cubicBezTo>
                      <a:cubicBezTo>
                        <a:pt x="379" y="190"/>
                        <a:pt x="379" y="190"/>
                        <a:pt x="379" y="190"/>
                      </a:cubicBezTo>
                      <a:cubicBezTo>
                        <a:pt x="378" y="190"/>
                        <a:pt x="377" y="189"/>
                        <a:pt x="377" y="189"/>
                      </a:cubicBezTo>
                      <a:cubicBezTo>
                        <a:pt x="376" y="189"/>
                        <a:pt x="375" y="189"/>
                        <a:pt x="374" y="189"/>
                      </a:cubicBezTo>
                      <a:cubicBezTo>
                        <a:pt x="368" y="189"/>
                        <a:pt x="367" y="193"/>
                        <a:pt x="367" y="195"/>
                      </a:cubicBezTo>
                      <a:cubicBezTo>
                        <a:pt x="367" y="196"/>
                        <a:pt x="368" y="197"/>
                        <a:pt x="368" y="198"/>
                      </a:cubicBezTo>
                      <a:cubicBezTo>
                        <a:pt x="368" y="199"/>
                        <a:pt x="368" y="201"/>
                        <a:pt x="368" y="201"/>
                      </a:cubicBezTo>
                      <a:cubicBezTo>
                        <a:pt x="367" y="202"/>
                        <a:pt x="363" y="203"/>
                        <a:pt x="362" y="208"/>
                      </a:cubicBezTo>
                      <a:cubicBezTo>
                        <a:pt x="362" y="211"/>
                        <a:pt x="363" y="214"/>
                        <a:pt x="365" y="216"/>
                      </a:cubicBezTo>
                      <a:cubicBezTo>
                        <a:pt x="367" y="217"/>
                        <a:pt x="368" y="218"/>
                        <a:pt x="369" y="218"/>
                      </a:cubicBezTo>
                      <a:cubicBezTo>
                        <a:pt x="373" y="218"/>
                        <a:pt x="374" y="215"/>
                        <a:pt x="376" y="212"/>
                      </a:cubicBezTo>
                      <a:cubicBezTo>
                        <a:pt x="376" y="213"/>
                        <a:pt x="376" y="214"/>
                        <a:pt x="376" y="214"/>
                      </a:cubicBezTo>
                      <a:cubicBezTo>
                        <a:pt x="376" y="216"/>
                        <a:pt x="376" y="217"/>
                        <a:pt x="376" y="219"/>
                      </a:cubicBezTo>
                      <a:cubicBezTo>
                        <a:pt x="376" y="219"/>
                        <a:pt x="375" y="219"/>
                        <a:pt x="374" y="220"/>
                      </a:cubicBezTo>
                      <a:cubicBezTo>
                        <a:pt x="373" y="221"/>
                        <a:pt x="371" y="223"/>
                        <a:pt x="369" y="225"/>
                      </a:cubicBezTo>
                      <a:cubicBezTo>
                        <a:pt x="367" y="226"/>
                        <a:pt x="366" y="228"/>
                        <a:pt x="365" y="230"/>
                      </a:cubicBezTo>
                      <a:cubicBezTo>
                        <a:pt x="364" y="232"/>
                        <a:pt x="364" y="232"/>
                        <a:pt x="364" y="232"/>
                      </a:cubicBezTo>
                      <a:cubicBezTo>
                        <a:pt x="364" y="232"/>
                        <a:pt x="364" y="232"/>
                        <a:pt x="364" y="233"/>
                      </a:cubicBezTo>
                      <a:cubicBezTo>
                        <a:pt x="363" y="233"/>
                        <a:pt x="363" y="234"/>
                        <a:pt x="363" y="234"/>
                      </a:cubicBezTo>
                      <a:cubicBezTo>
                        <a:pt x="363" y="234"/>
                        <a:pt x="362" y="234"/>
                        <a:pt x="362" y="234"/>
                      </a:cubicBezTo>
                      <a:cubicBezTo>
                        <a:pt x="362" y="234"/>
                        <a:pt x="361" y="234"/>
                        <a:pt x="361" y="234"/>
                      </a:cubicBezTo>
                      <a:cubicBezTo>
                        <a:pt x="360" y="234"/>
                        <a:pt x="360" y="234"/>
                        <a:pt x="359" y="234"/>
                      </a:cubicBezTo>
                      <a:cubicBezTo>
                        <a:pt x="357" y="234"/>
                        <a:pt x="356" y="234"/>
                        <a:pt x="354" y="235"/>
                      </a:cubicBezTo>
                      <a:cubicBezTo>
                        <a:pt x="351" y="237"/>
                        <a:pt x="349" y="239"/>
                        <a:pt x="347" y="242"/>
                      </a:cubicBezTo>
                      <a:cubicBezTo>
                        <a:pt x="347" y="242"/>
                        <a:pt x="347" y="242"/>
                        <a:pt x="347" y="242"/>
                      </a:cubicBezTo>
                      <a:cubicBezTo>
                        <a:pt x="344" y="247"/>
                        <a:pt x="345" y="251"/>
                        <a:pt x="346" y="254"/>
                      </a:cubicBezTo>
                      <a:cubicBezTo>
                        <a:pt x="346" y="255"/>
                        <a:pt x="346" y="255"/>
                        <a:pt x="346" y="255"/>
                      </a:cubicBezTo>
                      <a:cubicBezTo>
                        <a:pt x="347" y="256"/>
                        <a:pt x="347" y="257"/>
                        <a:pt x="347" y="259"/>
                      </a:cubicBezTo>
                      <a:cubicBezTo>
                        <a:pt x="347" y="259"/>
                        <a:pt x="348" y="260"/>
                        <a:pt x="348" y="260"/>
                      </a:cubicBezTo>
                      <a:cubicBezTo>
                        <a:pt x="348" y="262"/>
                        <a:pt x="348" y="263"/>
                        <a:pt x="349" y="265"/>
                      </a:cubicBezTo>
                      <a:cubicBezTo>
                        <a:pt x="349" y="267"/>
                        <a:pt x="349" y="268"/>
                        <a:pt x="348" y="269"/>
                      </a:cubicBezTo>
                      <a:cubicBezTo>
                        <a:pt x="348" y="270"/>
                        <a:pt x="348" y="270"/>
                        <a:pt x="348" y="270"/>
                      </a:cubicBezTo>
                      <a:cubicBezTo>
                        <a:pt x="348" y="270"/>
                        <a:pt x="348" y="270"/>
                        <a:pt x="347" y="270"/>
                      </a:cubicBezTo>
                      <a:cubicBezTo>
                        <a:pt x="347" y="270"/>
                        <a:pt x="346" y="269"/>
                        <a:pt x="345" y="269"/>
                      </a:cubicBezTo>
                      <a:cubicBezTo>
                        <a:pt x="345" y="268"/>
                        <a:pt x="344" y="268"/>
                        <a:pt x="344" y="268"/>
                      </a:cubicBezTo>
                      <a:cubicBezTo>
                        <a:pt x="343" y="268"/>
                        <a:pt x="342" y="268"/>
                        <a:pt x="342" y="267"/>
                      </a:cubicBezTo>
                      <a:cubicBezTo>
                        <a:pt x="342" y="267"/>
                        <a:pt x="342" y="266"/>
                        <a:pt x="342" y="265"/>
                      </a:cubicBezTo>
                      <a:cubicBezTo>
                        <a:pt x="342" y="264"/>
                        <a:pt x="342" y="264"/>
                        <a:pt x="342" y="263"/>
                      </a:cubicBezTo>
                      <a:cubicBezTo>
                        <a:pt x="342" y="262"/>
                        <a:pt x="341" y="260"/>
                        <a:pt x="340" y="259"/>
                      </a:cubicBezTo>
                      <a:cubicBezTo>
                        <a:pt x="340" y="258"/>
                        <a:pt x="340" y="257"/>
                        <a:pt x="340" y="257"/>
                      </a:cubicBezTo>
                      <a:cubicBezTo>
                        <a:pt x="340" y="255"/>
                        <a:pt x="340" y="254"/>
                        <a:pt x="341" y="252"/>
                      </a:cubicBezTo>
                      <a:cubicBezTo>
                        <a:pt x="341" y="251"/>
                        <a:pt x="341" y="250"/>
                        <a:pt x="341" y="249"/>
                      </a:cubicBezTo>
                      <a:cubicBezTo>
                        <a:pt x="341" y="249"/>
                        <a:pt x="341" y="248"/>
                        <a:pt x="342" y="247"/>
                      </a:cubicBezTo>
                      <a:cubicBezTo>
                        <a:pt x="342" y="246"/>
                        <a:pt x="343" y="245"/>
                        <a:pt x="344" y="244"/>
                      </a:cubicBezTo>
                      <a:cubicBezTo>
                        <a:pt x="346" y="242"/>
                        <a:pt x="348" y="240"/>
                        <a:pt x="348" y="236"/>
                      </a:cubicBezTo>
                      <a:cubicBezTo>
                        <a:pt x="348" y="234"/>
                        <a:pt x="347" y="233"/>
                        <a:pt x="346" y="231"/>
                      </a:cubicBezTo>
                      <a:cubicBezTo>
                        <a:pt x="345" y="230"/>
                        <a:pt x="343" y="229"/>
                        <a:pt x="341" y="229"/>
                      </a:cubicBezTo>
                      <a:cubicBezTo>
                        <a:pt x="340" y="229"/>
                        <a:pt x="340" y="229"/>
                        <a:pt x="340" y="229"/>
                      </a:cubicBezTo>
                      <a:cubicBezTo>
                        <a:pt x="339" y="228"/>
                        <a:pt x="339" y="227"/>
                        <a:pt x="338" y="226"/>
                      </a:cubicBezTo>
                      <a:cubicBezTo>
                        <a:pt x="337" y="226"/>
                        <a:pt x="336" y="226"/>
                        <a:pt x="335" y="226"/>
                      </a:cubicBezTo>
                      <a:cubicBezTo>
                        <a:pt x="335" y="226"/>
                        <a:pt x="334" y="226"/>
                        <a:pt x="334" y="226"/>
                      </a:cubicBezTo>
                      <a:cubicBezTo>
                        <a:pt x="334" y="225"/>
                        <a:pt x="334" y="224"/>
                        <a:pt x="334" y="224"/>
                      </a:cubicBezTo>
                      <a:cubicBezTo>
                        <a:pt x="332" y="222"/>
                        <a:pt x="331" y="221"/>
                        <a:pt x="330" y="220"/>
                      </a:cubicBezTo>
                      <a:cubicBezTo>
                        <a:pt x="329" y="220"/>
                        <a:pt x="329" y="220"/>
                        <a:pt x="329" y="220"/>
                      </a:cubicBezTo>
                      <a:cubicBezTo>
                        <a:pt x="329" y="220"/>
                        <a:pt x="328" y="219"/>
                        <a:pt x="328" y="219"/>
                      </a:cubicBezTo>
                      <a:cubicBezTo>
                        <a:pt x="327" y="219"/>
                        <a:pt x="327" y="218"/>
                        <a:pt x="326" y="217"/>
                      </a:cubicBezTo>
                      <a:cubicBezTo>
                        <a:pt x="325" y="217"/>
                        <a:pt x="323" y="217"/>
                        <a:pt x="322" y="217"/>
                      </a:cubicBezTo>
                      <a:cubicBezTo>
                        <a:pt x="320" y="217"/>
                        <a:pt x="318" y="218"/>
                        <a:pt x="316" y="219"/>
                      </a:cubicBezTo>
                      <a:cubicBezTo>
                        <a:pt x="316" y="219"/>
                        <a:pt x="315" y="219"/>
                        <a:pt x="315" y="220"/>
                      </a:cubicBezTo>
                      <a:cubicBezTo>
                        <a:pt x="315" y="220"/>
                        <a:pt x="315" y="220"/>
                        <a:pt x="314" y="220"/>
                      </a:cubicBezTo>
                      <a:cubicBezTo>
                        <a:pt x="314" y="220"/>
                        <a:pt x="314" y="220"/>
                        <a:pt x="313" y="220"/>
                      </a:cubicBezTo>
                      <a:cubicBezTo>
                        <a:pt x="313" y="220"/>
                        <a:pt x="312" y="220"/>
                        <a:pt x="312" y="220"/>
                      </a:cubicBezTo>
                      <a:cubicBezTo>
                        <a:pt x="310" y="220"/>
                        <a:pt x="308" y="220"/>
                        <a:pt x="307" y="221"/>
                      </a:cubicBezTo>
                      <a:cubicBezTo>
                        <a:pt x="304" y="224"/>
                        <a:pt x="305" y="228"/>
                        <a:pt x="305" y="230"/>
                      </a:cubicBezTo>
                      <a:cubicBezTo>
                        <a:pt x="305" y="231"/>
                        <a:pt x="305" y="231"/>
                        <a:pt x="305" y="231"/>
                      </a:cubicBezTo>
                      <a:cubicBezTo>
                        <a:pt x="306" y="233"/>
                        <a:pt x="306" y="238"/>
                        <a:pt x="310" y="240"/>
                      </a:cubicBezTo>
                      <a:cubicBezTo>
                        <a:pt x="312" y="241"/>
                        <a:pt x="313" y="242"/>
                        <a:pt x="315" y="242"/>
                      </a:cubicBezTo>
                      <a:cubicBezTo>
                        <a:pt x="317" y="242"/>
                        <a:pt x="319" y="241"/>
                        <a:pt x="320" y="241"/>
                      </a:cubicBezTo>
                      <a:cubicBezTo>
                        <a:pt x="321" y="241"/>
                        <a:pt x="321" y="241"/>
                        <a:pt x="321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1"/>
                        <a:pt x="322" y="241"/>
                      </a:cubicBezTo>
                      <a:cubicBezTo>
                        <a:pt x="322" y="241"/>
                        <a:pt x="322" y="242"/>
                        <a:pt x="322" y="242"/>
                      </a:cubicBezTo>
                      <a:cubicBezTo>
                        <a:pt x="323" y="243"/>
                        <a:pt x="323" y="244"/>
                        <a:pt x="324" y="246"/>
                      </a:cubicBezTo>
                      <a:cubicBezTo>
                        <a:pt x="324" y="247"/>
                        <a:pt x="324" y="247"/>
                        <a:pt x="324" y="248"/>
                      </a:cubicBezTo>
                      <a:cubicBezTo>
                        <a:pt x="324" y="249"/>
                        <a:pt x="322" y="250"/>
                        <a:pt x="321" y="250"/>
                      </a:cubicBezTo>
                      <a:cubicBezTo>
                        <a:pt x="320" y="250"/>
                        <a:pt x="320" y="250"/>
                        <a:pt x="320" y="250"/>
                      </a:cubicBezTo>
                      <a:cubicBezTo>
                        <a:pt x="319" y="249"/>
                        <a:pt x="318" y="248"/>
                        <a:pt x="317" y="247"/>
                      </a:cubicBezTo>
                      <a:cubicBezTo>
                        <a:pt x="317" y="246"/>
                        <a:pt x="316" y="244"/>
                        <a:pt x="314" y="243"/>
                      </a:cubicBezTo>
                      <a:cubicBezTo>
                        <a:pt x="313" y="242"/>
                        <a:pt x="310" y="241"/>
                        <a:pt x="308" y="241"/>
                      </a:cubicBezTo>
                      <a:cubicBezTo>
                        <a:pt x="305" y="241"/>
                        <a:pt x="303" y="242"/>
                        <a:pt x="301" y="243"/>
                      </a:cubicBezTo>
                      <a:cubicBezTo>
                        <a:pt x="300" y="243"/>
                        <a:pt x="300" y="243"/>
                        <a:pt x="300" y="243"/>
                      </a:cubicBezTo>
                      <a:cubicBezTo>
                        <a:pt x="299" y="243"/>
                        <a:pt x="299" y="244"/>
                        <a:pt x="298" y="244"/>
                      </a:cubicBezTo>
                      <a:cubicBezTo>
                        <a:pt x="298" y="244"/>
                        <a:pt x="298" y="244"/>
                        <a:pt x="298" y="244"/>
                      </a:cubicBezTo>
                      <a:cubicBezTo>
                        <a:pt x="297" y="243"/>
                        <a:pt x="297" y="242"/>
                        <a:pt x="296" y="242"/>
                      </a:cubicBezTo>
                      <a:cubicBezTo>
                        <a:pt x="295" y="241"/>
                        <a:pt x="294" y="240"/>
                        <a:pt x="293" y="239"/>
                      </a:cubicBezTo>
                      <a:cubicBezTo>
                        <a:pt x="291" y="238"/>
                        <a:pt x="290" y="238"/>
                        <a:pt x="289" y="238"/>
                      </a:cubicBezTo>
                      <a:cubicBezTo>
                        <a:pt x="288" y="238"/>
                        <a:pt x="288" y="238"/>
                        <a:pt x="288" y="238"/>
                      </a:cubicBezTo>
                      <a:cubicBezTo>
                        <a:pt x="287" y="238"/>
                        <a:pt x="287" y="238"/>
                        <a:pt x="287" y="238"/>
                      </a:cubicBezTo>
                      <a:cubicBezTo>
                        <a:pt x="286" y="238"/>
                        <a:pt x="285" y="237"/>
                        <a:pt x="284" y="237"/>
                      </a:cubicBezTo>
                      <a:cubicBezTo>
                        <a:pt x="282" y="236"/>
                        <a:pt x="281" y="236"/>
                        <a:pt x="279" y="236"/>
                      </a:cubicBezTo>
                      <a:cubicBezTo>
                        <a:pt x="278" y="236"/>
                        <a:pt x="278" y="236"/>
                        <a:pt x="277" y="236"/>
                      </a:cubicBezTo>
                      <a:cubicBezTo>
                        <a:pt x="274" y="236"/>
                        <a:pt x="271" y="236"/>
                        <a:pt x="269" y="237"/>
                      </a:cubicBezTo>
                      <a:cubicBezTo>
                        <a:pt x="268" y="237"/>
                        <a:pt x="267" y="237"/>
                        <a:pt x="267" y="237"/>
                      </a:cubicBezTo>
                      <a:cubicBezTo>
                        <a:pt x="265" y="238"/>
                        <a:pt x="264" y="238"/>
                        <a:pt x="262" y="238"/>
                      </a:cubicBezTo>
                      <a:cubicBezTo>
                        <a:pt x="262" y="238"/>
                        <a:pt x="261" y="238"/>
                        <a:pt x="261" y="237"/>
                      </a:cubicBezTo>
                      <a:cubicBezTo>
                        <a:pt x="260" y="236"/>
                        <a:pt x="260" y="236"/>
                        <a:pt x="258" y="235"/>
                      </a:cubicBezTo>
                      <a:cubicBezTo>
                        <a:pt x="257" y="234"/>
                        <a:pt x="256" y="234"/>
                        <a:pt x="255" y="234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4" y="237"/>
                        <a:pt x="254" y="237"/>
                        <a:pt x="254" y="237"/>
                      </a:cubicBezTo>
                      <a:cubicBezTo>
                        <a:pt x="254" y="234"/>
                        <a:pt x="254" y="234"/>
                        <a:pt x="254" y="234"/>
                      </a:cubicBezTo>
                      <a:cubicBezTo>
                        <a:pt x="252" y="234"/>
                        <a:pt x="251" y="234"/>
                        <a:pt x="250" y="232"/>
                      </a:cubicBezTo>
                      <a:cubicBezTo>
                        <a:pt x="249" y="231"/>
                        <a:pt x="249" y="231"/>
                        <a:pt x="248" y="230"/>
                      </a:cubicBezTo>
                      <a:cubicBezTo>
                        <a:pt x="247" y="230"/>
                        <a:pt x="247" y="229"/>
                        <a:pt x="246" y="229"/>
                      </a:cubicBezTo>
                      <a:cubicBezTo>
                        <a:pt x="246" y="229"/>
                        <a:pt x="246" y="229"/>
                        <a:pt x="246" y="229"/>
                      </a:cubicBezTo>
                      <a:cubicBezTo>
                        <a:pt x="246" y="228"/>
                        <a:pt x="245" y="227"/>
                        <a:pt x="245" y="227"/>
                      </a:cubicBezTo>
                      <a:cubicBezTo>
                        <a:pt x="244" y="226"/>
                        <a:pt x="244" y="226"/>
                        <a:pt x="244" y="226"/>
                      </a:cubicBezTo>
                      <a:cubicBezTo>
                        <a:pt x="243" y="222"/>
                        <a:pt x="241" y="218"/>
                        <a:pt x="236" y="218"/>
                      </a:cubicBezTo>
                      <a:cubicBezTo>
                        <a:pt x="235" y="218"/>
                        <a:pt x="235" y="218"/>
                        <a:pt x="234" y="218"/>
                      </a:cubicBezTo>
                      <a:cubicBezTo>
                        <a:pt x="233" y="218"/>
                        <a:pt x="231" y="219"/>
                        <a:pt x="229" y="219"/>
                      </a:cubicBezTo>
                      <a:cubicBezTo>
                        <a:pt x="228" y="219"/>
                        <a:pt x="227" y="218"/>
                        <a:pt x="227" y="218"/>
                      </a:cubicBezTo>
                      <a:cubicBezTo>
                        <a:pt x="226" y="218"/>
                        <a:pt x="225" y="215"/>
                        <a:pt x="225" y="214"/>
                      </a:cubicBezTo>
                      <a:cubicBezTo>
                        <a:pt x="225" y="213"/>
                        <a:pt x="225" y="213"/>
                        <a:pt x="225" y="213"/>
                      </a:cubicBezTo>
                      <a:cubicBezTo>
                        <a:pt x="224" y="211"/>
                        <a:pt x="223" y="209"/>
                        <a:pt x="222" y="207"/>
                      </a:cubicBezTo>
                      <a:cubicBezTo>
                        <a:pt x="220" y="205"/>
                        <a:pt x="218" y="205"/>
                        <a:pt x="217" y="205"/>
                      </a:cubicBezTo>
                      <a:cubicBezTo>
                        <a:pt x="217" y="205"/>
                        <a:pt x="217" y="204"/>
                        <a:pt x="217" y="204"/>
                      </a:cubicBezTo>
                      <a:cubicBezTo>
                        <a:pt x="217" y="204"/>
                        <a:pt x="217" y="202"/>
                        <a:pt x="217" y="201"/>
                      </a:cubicBezTo>
                      <a:cubicBezTo>
                        <a:pt x="217" y="201"/>
                        <a:pt x="217" y="201"/>
                        <a:pt x="217" y="201"/>
                      </a:cubicBezTo>
                      <a:cubicBezTo>
                        <a:pt x="217" y="199"/>
                        <a:pt x="217" y="198"/>
                        <a:pt x="218" y="197"/>
                      </a:cubicBezTo>
                      <a:cubicBezTo>
                        <a:pt x="218" y="194"/>
                        <a:pt x="219" y="190"/>
                        <a:pt x="217" y="185"/>
                      </a:cubicBezTo>
                      <a:cubicBezTo>
                        <a:pt x="216" y="184"/>
                        <a:pt x="214" y="179"/>
                        <a:pt x="208" y="179"/>
                      </a:cubicBezTo>
                      <a:cubicBezTo>
                        <a:pt x="207" y="179"/>
                        <a:pt x="206" y="179"/>
                        <a:pt x="205" y="179"/>
                      </a:cubicBezTo>
                      <a:cubicBezTo>
                        <a:pt x="203" y="179"/>
                        <a:pt x="200" y="179"/>
                        <a:pt x="197" y="179"/>
                      </a:cubicBezTo>
                      <a:cubicBezTo>
                        <a:pt x="194" y="180"/>
                        <a:pt x="193" y="180"/>
                        <a:pt x="191" y="182"/>
                      </a:cubicBezTo>
                      <a:cubicBezTo>
                        <a:pt x="190" y="182"/>
                        <a:pt x="189" y="182"/>
                        <a:pt x="188" y="182"/>
                      </a:cubicBezTo>
                      <a:cubicBezTo>
                        <a:pt x="187" y="182"/>
                        <a:pt x="185" y="182"/>
                        <a:pt x="184" y="182"/>
                      </a:cubicBezTo>
                      <a:cubicBezTo>
                        <a:pt x="182" y="181"/>
                        <a:pt x="180" y="181"/>
                        <a:pt x="179" y="181"/>
                      </a:cubicBezTo>
                      <a:cubicBezTo>
                        <a:pt x="178" y="181"/>
                        <a:pt x="177" y="181"/>
                        <a:pt x="176" y="181"/>
                      </a:cubicBezTo>
                      <a:cubicBezTo>
                        <a:pt x="176" y="181"/>
                        <a:pt x="174" y="182"/>
                        <a:pt x="173" y="183"/>
                      </a:cubicBezTo>
                      <a:cubicBezTo>
                        <a:pt x="172" y="184"/>
                        <a:pt x="172" y="184"/>
                        <a:pt x="171" y="185"/>
                      </a:cubicBezTo>
                      <a:cubicBezTo>
                        <a:pt x="171" y="185"/>
                        <a:pt x="171" y="185"/>
                        <a:pt x="170" y="185"/>
                      </a:cubicBezTo>
                      <a:cubicBezTo>
                        <a:pt x="168" y="186"/>
                        <a:pt x="166" y="187"/>
                        <a:pt x="165" y="190"/>
                      </a:cubicBezTo>
                      <a:cubicBezTo>
                        <a:pt x="163" y="194"/>
                        <a:pt x="166" y="199"/>
                        <a:pt x="167" y="200"/>
                      </a:cubicBezTo>
                      <a:cubicBezTo>
                        <a:pt x="167" y="201"/>
                        <a:pt x="167" y="201"/>
                        <a:pt x="167" y="201"/>
                      </a:cubicBezTo>
                      <a:cubicBezTo>
                        <a:pt x="168" y="202"/>
                        <a:pt x="170" y="204"/>
                        <a:pt x="171" y="205"/>
                      </a:cubicBezTo>
                      <a:cubicBezTo>
                        <a:pt x="172" y="205"/>
                        <a:pt x="174" y="205"/>
                        <a:pt x="175" y="205"/>
                      </a:cubicBezTo>
                      <a:cubicBezTo>
                        <a:pt x="178" y="205"/>
                        <a:pt x="180" y="204"/>
                        <a:pt x="181" y="201"/>
                      </a:cubicBezTo>
                      <a:cubicBezTo>
                        <a:pt x="181" y="201"/>
                        <a:pt x="182" y="199"/>
                        <a:pt x="183" y="199"/>
                      </a:cubicBezTo>
                      <a:cubicBezTo>
                        <a:pt x="183" y="199"/>
                        <a:pt x="183" y="199"/>
                        <a:pt x="183" y="199"/>
                      </a:cubicBezTo>
                      <a:cubicBezTo>
                        <a:pt x="183" y="200"/>
                        <a:pt x="184" y="203"/>
                        <a:pt x="188" y="204"/>
                      </a:cubicBezTo>
                      <a:cubicBezTo>
                        <a:pt x="191" y="204"/>
                        <a:pt x="194" y="202"/>
                        <a:pt x="196" y="200"/>
                      </a:cubicBezTo>
                      <a:cubicBezTo>
                        <a:pt x="197" y="200"/>
                        <a:pt x="198" y="199"/>
                        <a:pt x="199" y="199"/>
                      </a:cubicBezTo>
                      <a:cubicBezTo>
                        <a:pt x="201" y="198"/>
                        <a:pt x="203" y="197"/>
                        <a:pt x="205" y="197"/>
                      </a:cubicBezTo>
                      <a:cubicBezTo>
                        <a:pt x="205" y="196"/>
                        <a:pt x="206" y="196"/>
                        <a:pt x="207" y="196"/>
                      </a:cubicBezTo>
                      <a:cubicBezTo>
                        <a:pt x="207" y="196"/>
                        <a:pt x="207" y="196"/>
                        <a:pt x="207" y="196"/>
                      </a:cubicBezTo>
                      <a:cubicBezTo>
                        <a:pt x="207" y="198"/>
                        <a:pt x="201" y="200"/>
                        <a:pt x="198" y="202"/>
                      </a:cubicBezTo>
                      <a:cubicBezTo>
                        <a:pt x="197" y="202"/>
                        <a:pt x="196" y="203"/>
                        <a:pt x="196" y="203"/>
                      </a:cubicBezTo>
                      <a:cubicBezTo>
                        <a:pt x="193" y="204"/>
                        <a:pt x="190" y="205"/>
                        <a:pt x="187" y="205"/>
                      </a:cubicBezTo>
                      <a:cubicBezTo>
                        <a:pt x="183" y="205"/>
                        <a:pt x="179" y="206"/>
                        <a:pt x="176" y="208"/>
                      </a:cubicBezTo>
                      <a:cubicBezTo>
                        <a:pt x="166" y="213"/>
                        <a:pt x="168" y="219"/>
                        <a:pt x="169" y="224"/>
                      </a:cubicBezTo>
                      <a:cubicBezTo>
                        <a:pt x="170" y="226"/>
                        <a:pt x="170" y="228"/>
                        <a:pt x="170" y="230"/>
                      </a:cubicBezTo>
                      <a:cubicBezTo>
                        <a:pt x="171" y="231"/>
                        <a:pt x="171" y="233"/>
                        <a:pt x="170" y="235"/>
                      </a:cubicBezTo>
                      <a:cubicBezTo>
                        <a:pt x="170" y="236"/>
                        <a:pt x="170" y="238"/>
                        <a:pt x="170" y="241"/>
                      </a:cubicBezTo>
                      <a:cubicBezTo>
                        <a:pt x="170" y="242"/>
                        <a:pt x="170" y="243"/>
                        <a:pt x="171" y="244"/>
                      </a:cubicBezTo>
                      <a:cubicBezTo>
                        <a:pt x="171" y="246"/>
                        <a:pt x="172" y="248"/>
                        <a:pt x="171" y="249"/>
                      </a:cubicBezTo>
                      <a:cubicBezTo>
                        <a:pt x="171" y="250"/>
                        <a:pt x="168" y="250"/>
                        <a:pt x="166" y="250"/>
                      </a:cubicBezTo>
                      <a:cubicBezTo>
                        <a:pt x="164" y="250"/>
                        <a:pt x="163" y="250"/>
                        <a:pt x="163" y="250"/>
                      </a:cubicBezTo>
                      <a:cubicBezTo>
                        <a:pt x="163" y="250"/>
                        <a:pt x="162" y="249"/>
                        <a:pt x="162" y="247"/>
                      </a:cubicBezTo>
                      <a:cubicBezTo>
                        <a:pt x="162" y="246"/>
                        <a:pt x="162" y="245"/>
                        <a:pt x="162" y="244"/>
                      </a:cubicBezTo>
                      <a:cubicBezTo>
                        <a:pt x="163" y="244"/>
                        <a:pt x="163" y="244"/>
                        <a:pt x="164" y="243"/>
                      </a:cubicBezTo>
                      <a:cubicBezTo>
                        <a:pt x="167" y="242"/>
                        <a:pt x="169" y="237"/>
                        <a:pt x="168" y="233"/>
                      </a:cubicBezTo>
                      <a:cubicBezTo>
                        <a:pt x="168" y="230"/>
                        <a:pt x="166" y="227"/>
                        <a:pt x="164" y="226"/>
                      </a:cubicBezTo>
                      <a:cubicBezTo>
                        <a:pt x="162" y="225"/>
                        <a:pt x="160" y="225"/>
                        <a:pt x="159" y="225"/>
                      </a:cubicBezTo>
                      <a:cubicBezTo>
                        <a:pt x="158" y="224"/>
                        <a:pt x="158" y="224"/>
                        <a:pt x="158" y="224"/>
                      </a:cubicBezTo>
                      <a:cubicBezTo>
                        <a:pt x="157" y="224"/>
                        <a:pt x="158" y="221"/>
                        <a:pt x="158" y="220"/>
                      </a:cubicBezTo>
                      <a:cubicBezTo>
                        <a:pt x="158" y="218"/>
                        <a:pt x="159" y="216"/>
                        <a:pt x="158" y="214"/>
                      </a:cubicBezTo>
                      <a:cubicBezTo>
                        <a:pt x="157" y="210"/>
                        <a:pt x="154" y="209"/>
                        <a:pt x="152" y="209"/>
                      </a:cubicBezTo>
                      <a:cubicBezTo>
                        <a:pt x="151" y="209"/>
                        <a:pt x="150" y="207"/>
                        <a:pt x="149" y="207"/>
                      </a:cubicBezTo>
                      <a:cubicBezTo>
                        <a:pt x="149" y="206"/>
                        <a:pt x="149" y="205"/>
                        <a:pt x="149" y="204"/>
                      </a:cubicBezTo>
                      <a:cubicBezTo>
                        <a:pt x="149" y="202"/>
                        <a:pt x="149" y="198"/>
                        <a:pt x="146" y="196"/>
                      </a:cubicBezTo>
                      <a:cubicBezTo>
                        <a:pt x="145" y="196"/>
                        <a:pt x="144" y="196"/>
                        <a:pt x="143" y="196"/>
                      </a:cubicBezTo>
                      <a:cubicBezTo>
                        <a:pt x="143" y="196"/>
                        <a:pt x="143" y="196"/>
                        <a:pt x="142" y="196"/>
                      </a:cubicBezTo>
                      <a:cubicBezTo>
                        <a:pt x="141" y="196"/>
                        <a:pt x="141" y="196"/>
                        <a:pt x="140" y="196"/>
                      </a:cubicBezTo>
                      <a:cubicBezTo>
                        <a:pt x="138" y="196"/>
                        <a:pt x="137" y="196"/>
                        <a:pt x="136" y="196"/>
                      </a:cubicBezTo>
                      <a:cubicBezTo>
                        <a:pt x="135" y="197"/>
                        <a:pt x="135" y="197"/>
                        <a:pt x="135" y="197"/>
                      </a:cubicBezTo>
                      <a:cubicBezTo>
                        <a:pt x="134" y="198"/>
                        <a:pt x="133" y="198"/>
                        <a:pt x="132" y="198"/>
                      </a:cubicBezTo>
                      <a:cubicBezTo>
                        <a:pt x="131" y="198"/>
                        <a:pt x="131" y="198"/>
                        <a:pt x="130" y="198"/>
                      </a:cubicBezTo>
                      <a:cubicBezTo>
                        <a:pt x="127" y="198"/>
                        <a:pt x="124" y="197"/>
                        <a:pt x="121" y="197"/>
                      </a:cubicBezTo>
                      <a:cubicBezTo>
                        <a:pt x="120" y="197"/>
                        <a:pt x="120" y="196"/>
                        <a:pt x="119" y="196"/>
                      </a:cubicBezTo>
                      <a:cubicBezTo>
                        <a:pt x="118" y="196"/>
                        <a:pt x="116" y="196"/>
                        <a:pt x="115" y="195"/>
                      </a:cubicBezTo>
                      <a:cubicBezTo>
                        <a:pt x="113" y="195"/>
                        <a:pt x="113" y="195"/>
                        <a:pt x="113" y="195"/>
                      </a:cubicBezTo>
                      <a:cubicBezTo>
                        <a:pt x="112" y="195"/>
                        <a:pt x="110" y="195"/>
                        <a:pt x="109" y="194"/>
                      </a:cubicBezTo>
                      <a:cubicBezTo>
                        <a:pt x="108" y="194"/>
                        <a:pt x="106" y="194"/>
                        <a:pt x="105" y="193"/>
                      </a:cubicBezTo>
                      <a:cubicBezTo>
                        <a:pt x="103" y="193"/>
                        <a:pt x="101" y="192"/>
                        <a:pt x="99" y="191"/>
                      </a:cubicBezTo>
                      <a:cubicBezTo>
                        <a:pt x="98" y="191"/>
                        <a:pt x="98" y="191"/>
                        <a:pt x="98" y="191"/>
                      </a:cubicBezTo>
                      <a:cubicBezTo>
                        <a:pt x="97" y="191"/>
                        <a:pt x="97" y="191"/>
                        <a:pt x="96" y="191"/>
                      </a:cubicBezTo>
                      <a:cubicBezTo>
                        <a:pt x="96" y="190"/>
                        <a:pt x="96" y="190"/>
                        <a:pt x="96" y="190"/>
                      </a:cubicBezTo>
                      <a:cubicBezTo>
                        <a:pt x="95" y="189"/>
                        <a:pt x="95" y="188"/>
                        <a:pt x="93" y="187"/>
                      </a:cubicBezTo>
                      <a:cubicBezTo>
                        <a:pt x="92" y="186"/>
                        <a:pt x="92" y="186"/>
                        <a:pt x="91" y="186"/>
                      </a:cubicBezTo>
                      <a:cubicBezTo>
                        <a:pt x="91" y="186"/>
                        <a:pt x="90" y="186"/>
                        <a:pt x="90" y="185"/>
                      </a:cubicBezTo>
                      <a:cubicBezTo>
                        <a:pt x="89" y="185"/>
                        <a:pt x="89" y="185"/>
                        <a:pt x="88" y="184"/>
                      </a:cubicBezTo>
                      <a:cubicBezTo>
                        <a:pt x="88" y="184"/>
                        <a:pt x="87" y="183"/>
                        <a:pt x="86" y="182"/>
                      </a:cubicBezTo>
                      <a:cubicBezTo>
                        <a:pt x="84" y="182"/>
                        <a:pt x="83" y="181"/>
                        <a:pt x="81" y="181"/>
                      </a:cubicBezTo>
                      <a:cubicBezTo>
                        <a:pt x="81" y="180"/>
                        <a:pt x="81" y="180"/>
                        <a:pt x="81" y="180"/>
                      </a:cubicBezTo>
                      <a:cubicBezTo>
                        <a:pt x="78" y="179"/>
                        <a:pt x="76" y="178"/>
                        <a:pt x="75" y="177"/>
                      </a:cubicBezTo>
                      <a:cubicBezTo>
                        <a:pt x="78" y="176"/>
                        <a:pt x="79" y="173"/>
                        <a:pt x="79" y="172"/>
                      </a:cubicBezTo>
                      <a:cubicBezTo>
                        <a:pt x="80" y="171"/>
                        <a:pt x="80" y="171"/>
                        <a:pt x="82" y="170"/>
                      </a:cubicBezTo>
                      <a:cubicBezTo>
                        <a:pt x="84" y="170"/>
                        <a:pt x="85" y="170"/>
                        <a:pt x="87" y="170"/>
                      </a:cubicBezTo>
                      <a:cubicBezTo>
                        <a:pt x="89" y="170"/>
                        <a:pt x="91" y="170"/>
                        <a:pt x="92" y="171"/>
                      </a:cubicBezTo>
                      <a:cubicBezTo>
                        <a:pt x="93" y="171"/>
                        <a:pt x="93" y="171"/>
                        <a:pt x="94" y="171"/>
                      </a:cubicBezTo>
                      <a:cubicBezTo>
                        <a:pt x="97" y="171"/>
                        <a:pt x="100" y="169"/>
                        <a:pt x="101" y="166"/>
                      </a:cubicBezTo>
                      <a:cubicBezTo>
                        <a:pt x="103" y="164"/>
                        <a:pt x="102" y="161"/>
                        <a:pt x="101" y="159"/>
                      </a:cubicBezTo>
                      <a:cubicBezTo>
                        <a:pt x="100" y="159"/>
                        <a:pt x="100" y="158"/>
                        <a:pt x="100" y="158"/>
                      </a:cubicBezTo>
                      <a:cubicBezTo>
                        <a:pt x="100" y="154"/>
                        <a:pt x="98" y="150"/>
                        <a:pt x="96" y="148"/>
                      </a:cubicBezTo>
                      <a:cubicBezTo>
                        <a:pt x="95" y="147"/>
                        <a:pt x="95" y="145"/>
                        <a:pt x="94" y="144"/>
                      </a:cubicBezTo>
                      <a:cubicBezTo>
                        <a:pt x="94" y="143"/>
                        <a:pt x="94" y="143"/>
                        <a:pt x="94" y="143"/>
                      </a:cubicBezTo>
                      <a:cubicBezTo>
                        <a:pt x="93" y="141"/>
                        <a:pt x="90" y="134"/>
                        <a:pt x="85" y="132"/>
                      </a:cubicBezTo>
                      <a:cubicBezTo>
                        <a:pt x="84" y="131"/>
                        <a:pt x="82" y="131"/>
                        <a:pt x="81" y="131"/>
                      </a:cubicBezTo>
                      <a:cubicBezTo>
                        <a:pt x="79" y="131"/>
                        <a:pt x="77" y="131"/>
                        <a:pt x="76" y="131"/>
                      </a:cubicBezTo>
                      <a:cubicBezTo>
                        <a:pt x="75" y="132"/>
                        <a:pt x="75" y="132"/>
                        <a:pt x="75" y="132"/>
                      </a:cubicBezTo>
                      <a:cubicBezTo>
                        <a:pt x="74" y="132"/>
                        <a:pt x="73" y="131"/>
                        <a:pt x="72" y="130"/>
                      </a:cubicBezTo>
                      <a:cubicBezTo>
                        <a:pt x="71" y="129"/>
                        <a:pt x="71" y="129"/>
                        <a:pt x="71" y="129"/>
                      </a:cubicBezTo>
                      <a:cubicBezTo>
                        <a:pt x="70" y="128"/>
                        <a:pt x="68" y="127"/>
                        <a:pt x="67" y="126"/>
                      </a:cubicBezTo>
                      <a:cubicBezTo>
                        <a:pt x="65" y="124"/>
                        <a:pt x="63" y="123"/>
                        <a:pt x="61" y="121"/>
                      </a:cubicBezTo>
                      <a:cubicBezTo>
                        <a:pt x="59" y="118"/>
                        <a:pt x="57" y="116"/>
                        <a:pt x="56" y="113"/>
                      </a:cubicBezTo>
                      <a:cubicBezTo>
                        <a:pt x="55" y="110"/>
                        <a:pt x="53" y="106"/>
                        <a:pt x="49" y="102"/>
                      </a:cubicBezTo>
                      <a:cubicBezTo>
                        <a:pt x="46" y="100"/>
                        <a:pt x="44" y="99"/>
                        <a:pt x="42" y="98"/>
                      </a:cubicBezTo>
                      <a:cubicBezTo>
                        <a:pt x="41" y="97"/>
                        <a:pt x="41" y="97"/>
                        <a:pt x="41" y="97"/>
                      </a:cubicBezTo>
                      <a:cubicBezTo>
                        <a:pt x="40" y="97"/>
                        <a:pt x="40" y="96"/>
                        <a:pt x="39" y="95"/>
                      </a:cubicBezTo>
                      <a:cubicBezTo>
                        <a:pt x="39" y="94"/>
                        <a:pt x="39" y="94"/>
                        <a:pt x="39" y="94"/>
                      </a:cubicBezTo>
                      <a:cubicBezTo>
                        <a:pt x="37" y="91"/>
                        <a:pt x="35" y="89"/>
                        <a:pt x="34" y="86"/>
                      </a:cubicBezTo>
                      <a:cubicBezTo>
                        <a:pt x="32" y="80"/>
                        <a:pt x="32" y="80"/>
                        <a:pt x="32" y="80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63" y="257"/>
                        <a:pt x="63" y="257"/>
                        <a:pt x="63" y="257"/>
                      </a:cubicBezTo>
                      <a:cubicBezTo>
                        <a:pt x="74" y="287"/>
                        <a:pt x="101" y="288"/>
                        <a:pt x="103" y="288"/>
                      </a:cubicBezTo>
                      <a:cubicBezTo>
                        <a:pt x="115" y="319"/>
                        <a:pt x="115" y="319"/>
                        <a:pt x="115" y="319"/>
                      </a:cubicBezTo>
                      <a:cubicBezTo>
                        <a:pt x="228" y="374"/>
                        <a:pt x="228" y="374"/>
                        <a:pt x="228" y="374"/>
                      </a:cubicBezTo>
                      <a:cubicBezTo>
                        <a:pt x="224" y="384"/>
                        <a:pt x="215" y="434"/>
                        <a:pt x="200" y="526"/>
                      </a:cubicBezTo>
                      <a:cubicBezTo>
                        <a:pt x="199" y="529"/>
                        <a:pt x="199" y="529"/>
                        <a:pt x="199" y="529"/>
                      </a:cubicBezTo>
                      <a:cubicBezTo>
                        <a:pt x="339" y="547"/>
                        <a:pt x="339" y="547"/>
                        <a:pt x="339" y="547"/>
                      </a:cubicBezTo>
                      <a:cubicBezTo>
                        <a:pt x="339" y="545"/>
                        <a:pt x="339" y="545"/>
                        <a:pt x="339" y="545"/>
                      </a:cubicBezTo>
                      <a:cubicBezTo>
                        <a:pt x="340" y="543"/>
                        <a:pt x="340" y="541"/>
                        <a:pt x="341" y="540"/>
                      </a:cubicBezTo>
                      <a:cubicBezTo>
                        <a:pt x="341" y="538"/>
                        <a:pt x="342" y="537"/>
                        <a:pt x="342" y="535"/>
                      </a:cubicBezTo>
                      <a:cubicBezTo>
                        <a:pt x="342" y="535"/>
                        <a:pt x="343" y="534"/>
                        <a:pt x="343" y="534"/>
                      </a:cubicBezTo>
                      <a:cubicBezTo>
                        <a:pt x="343" y="533"/>
                        <a:pt x="343" y="533"/>
                        <a:pt x="343" y="532"/>
                      </a:cubicBezTo>
                      <a:cubicBezTo>
                        <a:pt x="343" y="531"/>
                        <a:pt x="344" y="531"/>
                        <a:pt x="344" y="530"/>
                      </a:cubicBezTo>
                      <a:cubicBezTo>
                        <a:pt x="345" y="529"/>
                        <a:pt x="346" y="528"/>
                        <a:pt x="346" y="526"/>
                      </a:cubicBezTo>
                      <a:cubicBezTo>
                        <a:pt x="347" y="525"/>
                        <a:pt x="348" y="524"/>
                        <a:pt x="348" y="522"/>
                      </a:cubicBezTo>
                      <a:cubicBezTo>
                        <a:pt x="349" y="519"/>
                        <a:pt x="351" y="516"/>
                        <a:pt x="353" y="514"/>
                      </a:cubicBezTo>
                      <a:cubicBezTo>
                        <a:pt x="353" y="514"/>
                        <a:pt x="353" y="513"/>
                        <a:pt x="354" y="513"/>
                      </a:cubicBezTo>
                      <a:cubicBezTo>
                        <a:pt x="354" y="512"/>
                        <a:pt x="355" y="512"/>
                        <a:pt x="356" y="510"/>
                      </a:cubicBezTo>
                      <a:cubicBezTo>
                        <a:pt x="357" y="509"/>
                        <a:pt x="357" y="507"/>
                        <a:pt x="357" y="506"/>
                      </a:cubicBezTo>
                      <a:cubicBezTo>
                        <a:pt x="357" y="506"/>
                        <a:pt x="357" y="505"/>
                        <a:pt x="357" y="505"/>
                      </a:cubicBezTo>
                      <a:cubicBezTo>
                        <a:pt x="357" y="504"/>
                        <a:pt x="357" y="503"/>
                        <a:pt x="357" y="502"/>
                      </a:cubicBezTo>
                      <a:cubicBezTo>
                        <a:pt x="357" y="500"/>
                        <a:pt x="357" y="497"/>
                        <a:pt x="358" y="496"/>
                      </a:cubicBezTo>
                      <a:cubicBezTo>
                        <a:pt x="360" y="494"/>
                        <a:pt x="362" y="492"/>
                        <a:pt x="364" y="490"/>
                      </a:cubicBezTo>
                      <a:cubicBezTo>
                        <a:pt x="366" y="487"/>
                        <a:pt x="366" y="487"/>
                        <a:pt x="366" y="487"/>
                      </a:cubicBezTo>
                      <a:cubicBezTo>
                        <a:pt x="368" y="485"/>
                        <a:pt x="370" y="484"/>
                        <a:pt x="370" y="480"/>
                      </a:cubicBezTo>
                      <a:cubicBezTo>
                        <a:pt x="370" y="479"/>
                        <a:pt x="370" y="478"/>
                        <a:pt x="370" y="477"/>
                      </a:cubicBezTo>
                      <a:cubicBezTo>
                        <a:pt x="370" y="477"/>
                        <a:pt x="370" y="477"/>
                        <a:pt x="370" y="476"/>
                      </a:cubicBezTo>
                      <a:cubicBezTo>
                        <a:pt x="370" y="476"/>
                        <a:pt x="370" y="476"/>
                        <a:pt x="371" y="476"/>
                      </a:cubicBezTo>
                      <a:cubicBezTo>
                        <a:pt x="372" y="476"/>
                        <a:pt x="374" y="475"/>
                        <a:pt x="375" y="473"/>
                      </a:cubicBezTo>
                      <a:cubicBezTo>
                        <a:pt x="376" y="472"/>
                        <a:pt x="376" y="471"/>
                        <a:pt x="376" y="469"/>
                      </a:cubicBezTo>
                      <a:cubicBezTo>
                        <a:pt x="376" y="469"/>
                        <a:pt x="377" y="468"/>
                        <a:pt x="377" y="468"/>
                      </a:cubicBezTo>
                      <a:cubicBezTo>
                        <a:pt x="377" y="468"/>
                        <a:pt x="378" y="467"/>
                        <a:pt x="378" y="467"/>
                      </a:cubicBezTo>
                      <a:cubicBezTo>
                        <a:pt x="379" y="466"/>
                        <a:pt x="380" y="465"/>
                        <a:pt x="381" y="463"/>
                      </a:cubicBezTo>
                      <a:cubicBezTo>
                        <a:pt x="382" y="462"/>
                        <a:pt x="382" y="462"/>
                        <a:pt x="382" y="461"/>
                      </a:cubicBezTo>
                      <a:cubicBezTo>
                        <a:pt x="383" y="460"/>
                        <a:pt x="383" y="459"/>
                        <a:pt x="385" y="457"/>
                      </a:cubicBezTo>
                      <a:cubicBezTo>
                        <a:pt x="385" y="457"/>
                        <a:pt x="385" y="457"/>
                        <a:pt x="386" y="456"/>
                      </a:cubicBezTo>
                      <a:cubicBezTo>
                        <a:pt x="387" y="456"/>
                        <a:pt x="388" y="455"/>
                        <a:pt x="388" y="453"/>
                      </a:cubicBezTo>
                      <a:cubicBezTo>
                        <a:pt x="389" y="454"/>
                        <a:pt x="391" y="454"/>
                        <a:pt x="392" y="454"/>
                      </a:cubicBezTo>
                      <a:cubicBezTo>
                        <a:pt x="394" y="454"/>
                        <a:pt x="396" y="453"/>
                        <a:pt x="396" y="449"/>
                      </a:cubicBezTo>
                      <a:cubicBezTo>
                        <a:pt x="396" y="448"/>
                        <a:pt x="396" y="448"/>
                        <a:pt x="396" y="447"/>
                      </a:cubicBezTo>
                      <a:cubicBezTo>
                        <a:pt x="397" y="447"/>
                        <a:pt x="397" y="447"/>
                        <a:pt x="398" y="447"/>
                      </a:cubicBezTo>
                      <a:cubicBezTo>
                        <a:pt x="398" y="447"/>
                        <a:pt x="399" y="447"/>
                        <a:pt x="399" y="447"/>
                      </a:cubicBezTo>
                      <a:cubicBezTo>
                        <a:pt x="401" y="448"/>
                        <a:pt x="402" y="448"/>
                        <a:pt x="403" y="448"/>
                      </a:cubicBezTo>
                      <a:cubicBezTo>
                        <a:pt x="405" y="448"/>
                        <a:pt x="407" y="447"/>
                        <a:pt x="408" y="446"/>
                      </a:cubicBezTo>
                      <a:cubicBezTo>
                        <a:pt x="409" y="445"/>
                        <a:pt x="409" y="444"/>
                        <a:pt x="410" y="443"/>
                      </a:cubicBezTo>
                      <a:cubicBezTo>
                        <a:pt x="410" y="443"/>
                        <a:pt x="410" y="443"/>
                        <a:pt x="410" y="443"/>
                      </a:cubicBezTo>
                      <a:cubicBezTo>
                        <a:pt x="411" y="442"/>
                        <a:pt x="411" y="442"/>
                        <a:pt x="412" y="442"/>
                      </a:cubicBezTo>
                      <a:cubicBezTo>
                        <a:pt x="413" y="441"/>
                        <a:pt x="413" y="441"/>
                        <a:pt x="413" y="441"/>
                      </a:cubicBezTo>
                      <a:cubicBezTo>
                        <a:pt x="415" y="440"/>
                        <a:pt x="418" y="438"/>
                        <a:pt x="418" y="434"/>
                      </a:cubicBezTo>
                      <a:cubicBezTo>
                        <a:pt x="419" y="431"/>
                        <a:pt x="419" y="428"/>
                        <a:pt x="418" y="426"/>
                      </a:cubicBezTo>
                      <a:cubicBezTo>
                        <a:pt x="417" y="423"/>
                        <a:pt x="416" y="420"/>
                        <a:pt x="414" y="418"/>
                      </a:cubicBezTo>
                      <a:cubicBezTo>
                        <a:pt x="414" y="418"/>
                        <a:pt x="414" y="418"/>
                        <a:pt x="415" y="418"/>
                      </a:cubicBezTo>
                      <a:cubicBezTo>
                        <a:pt x="415" y="418"/>
                        <a:pt x="415" y="418"/>
                        <a:pt x="415" y="418"/>
                      </a:cubicBezTo>
                      <a:cubicBezTo>
                        <a:pt x="419" y="418"/>
                        <a:pt x="424" y="416"/>
                        <a:pt x="427" y="413"/>
                      </a:cubicBezTo>
                      <a:cubicBezTo>
                        <a:pt x="428" y="411"/>
                        <a:pt x="429" y="408"/>
                        <a:pt x="430" y="405"/>
                      </a:cubicBezTo>
                      <a:cubicBezTo>
                        <a:pt x="431" y="399"/>
                        <a:pt x="432" y="397"/>
                        <a:pt x="434" y="397"/>
                      </a:cubicBezTo>
                      <a:cubicBezTo>
                        <a:pt x="435" y="397"/>
                        <a:pt x="435" y="397"/>
                        <a:pt x="435" y="397"/>
                      </a:cubicBezTo>
                      <a:cubicBezTo>
                        <a:pt x="437" y="397"/>
                        <a:pt x="438" y="398"/>
                        <a:pt x="441" y="399"/>
                      </a:cubicBezTo>
                      <a:cubicBezTo>
                        <a:pt x="443" y="400"/>
                        <a:pt x="446" y="401"/>
                        <a:pt x="449" y="401"/>
                      </a:cubicBezTo>
                      <a:cubicBezTo>
                        <a:pt x="451" y="401"/>
                        <a:pt x="452" y="401"/>
                        <a:pt x="453" y="400"/>
                      </a:cubicBezTo>
                      <a:cubicBezTo>
                        <a:pt x="461" y="398"/>
                        <a:pt x="464" y="391"/>
                        <a:pt x="466" y="385"/>
                      </a:cubicBezTo>
                      <a:cubicBezTo>
                        <a:pt x="468" y="380"/>
                        <a:pt x="471" y="375"/>
                        <a:pt x="474" y="370"/>
                      </a:cubicBezTo>
                      <a:cubicBezTo>
                        <a:pt x="474" y="369"/>
                        <a:pt x="474" y="369"/>
                        <a:pt x="474" y="369"/>
                      </a:cubicBezTo>
                      <a:cubicBezTo>
                        <a:pt x="476" y="367"/>
                        <a:pt x="478" y="364"/>
                        <a:pt x="479" y="360"/>
                      </a:cubicBezTo>
                      <a:cubicBezTo>
                        <a:pt x="479" y="359"/>
                        <a:pt x="480" y="358"/>
                        <a:pt x="480" y="357"/>
                      </a:cubicBezTo>
                      <a:cubicBezTo>
                        <a:pt x="480" y="356"/>
                        <a:pt x="480" y="356"/>
                        <a:pt x="480" y="355"/>
                      </a:cubicBezTo>
                      <a:cubicBezTo>
                        <a:pt x="480" y="355"/>
                        <a:pt x="480" y="355"/>
                        <a:pt x="480" y="355"/>
                      </a:cubicBezTo>
                      <a:cubicBezTo>
                        <a:pt x="480" y="353"/>
                        <a:pt x="481" y="351"/>
                        <a:pt x="479" y="349"/>
                      </a:cubicBezTo>
                      <a:cubicBezTo>
                        <a:pt x="478" y="348"/>
                        <a:pt x="478" y="347"/>
                        <a:pt x="477" y="347"/>
                      </a:cubicBezTo>
                      <a:cubicBezTo>
                        <a:pt x="478" y="346"/>
                        <a:pt x="478" y="345"/>
                        <a:pt x="479" y="343"/>
                      </a:cubicBezTo>
                      <a:cubicBezTo>
                        <a:pt x="479" y="343"/>
                        <a:pt x="479" y="342"/>
                        <a:pt x="479" y="342"/>
                      </a:cubicBezTo>
                      <a:cubicBezTo>
                        <a:pt x="479" y="341"/>
                        <a:pt x="479" y="341"/>
                        <a:pt x="480" y="340"/>
                      </a:cubicBezTo>
                      <a:cubicBezTo>
                        <a:pt x="482" y="339"/>
                        <a:pt x="484" y="337"/>
                        <a:pt x="486" y="335"/>
                      </a:cubicBezTo>
                      <a:cubicBezTo>
                        <a:pt x="487" y="333"/>
                        <a:pt x="488" y="331"/>
                        <a:pt x="488" y="328"/>
                      </a:cubicBezTo>
                      <a:cubicBezTo>
                        <a:pt x="488" y="327"/>
                        <a:pt x="488" y="326"/>
                        <a:pt x="489" y="325"/>
                      </a:cubicBezTo>
                      <a:cubicBezTo>
                        <a:pt x="489" y="324"/>
                        <a:pt x="490" y="324"/>
                        <a:pt x="491" y="323"/>
                      </a:cubicBezTo>
                      <a:cubicBezTo>
                        <a:pt x="493" y="322"/>
                        <a:pt x="495" y="320"/>
                        <a:pt x="496" y="316"/>
                      </a:cubicBezTo>
                      <a:cubicBezTo>
                        <a:pt x="496" y="313"/>
                        <a:pt x="495" y="310"/>
                        <a:pt x="492" y="309"/>
                      </a:cubicBezTo>
                      <a:cubicBezTo>
                        <a:pt x="491" y="308"/>
                        <a:pt x="490" y="308"/>
                        <a:pt x="489" y="308"/>
                      </a:cubicBezTo>
                      <a:cubicBezTo>
                        <a:pt x="488" y="308"/>
                        <a:pt x="488" y="308"/>
                        <a:pt x="487" y="307"/>
                      </a:cubicBezTo>
                      <a:cubicBezTo>
                        <a:pt x="486" y="307"/>
                        <a:pt x="485" y="306"/>
                        <a:pt x="484" y="305"/>
                      </a:cubicBezTo>
                      <a:cubicBezTo>
                        <a:pt x="482" y="303"/>
                        <a:pt x="482" y="302"/>
                        <a:pt x="482" y="302"/>
                      </a:cubicBezTo>
                      <a:cubicBezTo>
                        <a:pt x="483" y="302"/>
                        <a:pt x="485" y="302"/>
                        <a:pt x="486" y="302"/>
                      </a:cubicBezTo>
                      <a:cubicBezTo>
                        <a:pt x="487" y="302"/>
                        <a:pt x="487" y="302"/>
                        <a:pt x="487" y="302"/>
                      </a:cubicBezTo>
                      <a:cubicBezTo>
                        <a:pt x="488" y="302"/>
                        <a:pt x="489" y="302"/>
                        <a:pt x="490" y="302"/>
                      </a:cubicBezTo>
                      <a:cubicBezTo>
                        <a:pt x="491" y="302"/>
                        <a:pt x="492" y="301"/>
                        <a:pt x="493" y="301"/>
                      </a:cubicBezTo>
                      <a:cubicBezTo>
                        <a:pt x="495" y="301"/>
                        <a:pt x="496" y="300"/>
                        <a:pt x="498" y="300"/>
                      </a:cubicBezTo>
                      <a:cubicBezTo>
                        <a:pt x="499" y="305"/>
                        <a:pt x="502" y="312"/>
                        <a:pt x="509" y="313"/>
                      </a:cubicBezTo>
                      <a:cubicBezTo>
                        <a:pt x="510" y="313"/>
                        <a:pt x="510" y="313"/>
                        <a:pt x="510" y="313"/>
                      </a:cubicBezTo>
                      <a:cubicBezTo>
                        <a:pt x="510" y="313"/>
                        <a:pt x="511" y="313"/>
                        <a:pt x="511" y="313"/>
                      </a:cubicBezTo>
                      <a:cubicBezTo>
                        <a:pt x="513" y="313"/>
                        <a:pt x="514" y="313"/>
                        <a:pt x="516" y="311"/>
                      </a:cubicBezTo>
                      <a:cubicBezTo>
                        <a:pt x="517" y="310"/>
                        <a:pt x="517" y="309"/>
                        <a:pt x="517" y="308"/>
                      </a:cubicBezTo>
                      <a:cubicBezTo>
                        <a:pt x="517" y="308"/>
                        <a:pt x="517" y="308"/>
                        <a:pt x="517" y="308"/>
                      </a:cubicBezTo>
                      <a:cubicBezTo>
                        <a:pt x="518" y="308"/>
                        <a:pt x="519" y="309"/>
                        <a:pt x="520" y="309"/>
                      </a:cubicBezTo>
                      <a:cubicBezTo>
                        <a:pt x="521" y="309"/>
                        <a:pt x="521" y="309"/>
                        <a:pt x="522" y="309"/>
                      </a:cubicBezTo>
                      <a:cubicBezTo>
                        <a:pt x="523" y="308"/>
                        <a:pt x="525" y="307"/>
                        <a:pt x="526" y="305"/>
                      </a:cubicBezTo>
                      <a:cubicBezTo>
                        <a:pt x="526" y="304"/>
                        <a:pt x="526" y="304"/>
                        <a:pt x="526" y="303"/>
                      </a:cubicBezTo>
                      <a:cubicBezTo>
                        <a:pt x="527" y="304"/>
                        <a:pt x="528" y="304"/>
                        <a:pt x="528" y="304"/>
                      </a:cubicBezTo>
                      <a:cubicBezTo>
                        <a:pt x="529" y="305"/>
                        <a:pt x="530" y="305"/>
                        <a:pt x="531" y="305"/>
                      </a:cubicBezTo>
                      <a:cubicBezTo>
                        <a:pt x="535" y="305"/>
                        <a:pt x="537" y="301"/>
                        <a:pt x="538" y="299"/>
                      </a:cubicBezTo>
                      <a:cubicBezTo>
                        <a:pt x="539" y="298"/>
                        <a:pt x="539" y="297"/>
                        <a:pt x="540" y="297"/>
                      </a:cubicBezTo>
                      <a:cubicBezTo>
                        <a:pt x="541" y="296"/>
                        <a:pt x="541" y="295"/>
                        <a:pt x="542" y="294"/>
                      </a:cubicBezTo>
                      <a:cubicBezTo>
                        <a:pt x="542" y="293"/>
                        <a:pt x="543" y="293"/>
                        <a:pt x="543" y="292"/>
                      </a:cubicBezTo>
                      <a:cubicBezTo>
                        <a:pt x="544" y="292"/>
                        <a:pt x="545" y="291"/>
                        <a:pt x="545" y="291"/>
                      </a:cubicBezTo>
                      <a:cubicBezTo>
                        <a:pt x="547" y="290"/>
                        <a:pt x="549" y="289"/>
                        <a:pt x="550" y="286"/>
                      </a:cubicBezTo>
                      <a:cubicBezTo>
                        <a:pt x="551" y="285"/>
                        <a:pt x="551" y="284"/>
                        <a:pt x="552" y="283"/>
                      </a:cubicBezTo>
                      <a:cubicBezTo>
                        <a:pt x="552" y="281"/>
                        <a:pt x="552" y="280"/>
                        <a:pt x="553" y="280"/>
                      </a:cubicBezTo>
                      <a:cubicBezTo>
                        <a:pt x="553" y="279"/>
                        <a:pt x="554" y="279"/>
                        <a:pt x="555" y="278"/>
                      </a:cubicBezTo>
                      <a:cubicBezTo>
                        <a:pt x="556" y="278"/>
                        <a:pt x="558" y="277"/>
                        <a:pt x="559" y="276"/>
                      </a:cubicBezTo>
                      <a:cubicBezTo>
                        <a:pt x="562" y="272"/>
                        <a:pt x="562" y="268"/>
                        <a:pt x="561" y="264"/>
                      </a:cubicBezTo>
                      <a:cubicBezTo>
                        <a:pt x="561" y="263"/>
                        <a:pt x="561" y="262"/>
                        <a:pt x="561" y="261"/>
                      </a:cubicBezTo>
                      <a:cubicBezTo>
                        <a:pt x="561" y="261"/>
                        <a:pt x="561" y="260"/>
                        <a:pt x="561" y="260"/>
                      </a:cubicBezTo>
                      <a:cubicBezTo>
                        <a:pt x="562" y="259"/>
                        <a:pt x="562" y="257"/>
                        <a:pt x="561" y="255"/>
                      </a:cubicBezTo>
                      <a:cubicBezTo>
                        <a:pt x="560" y="253"/>
                        <a:pt x="558" y="251"/>
                        <a:pt x="556" y="248"/>
                      </a:cubicBezTo>
                      <a:cubicBezTo>
                        <a:pt x="555" y="247"/>
                        <a:pt x="554" y="246"/>
                        <a:pt x="552" y="244"/>
                      </a:cubicBezTo>
                      <a:cubicBezTo>
                        <a:pt x="551" y="242"/>
                        <a:pt x="550" y="241"/>
                        <a:pt x="549" y="239"/>
                      </a:cubicBezTo>
                      <a:cubicBezTo>
                        <a:pt x="548" y="238"/>
                        <a:pt x="547" y="237"/>
                        <a:pt x="547" y="235"/>
                      </a:cubicBezTo>
                      <a:cubicBezTo>
                        <a:pt x="547" y="234"/>
                        <a:pt x="546" y="232"/>
                        <a:pt x="545" y="231"/>
                      </a:cubicBezTo>
                      <a:cubicBezTo>
                        <a:pt x="545" y="230"/>
                        <a:pt x="544" y="229"/>
                        <a:pt x="543" y="228"/>
                      </a:cubicBezTo>
                      <a:cubicBezTo>
                        <a:pt x="542" y="227"/>
                        <a:pt x="540" y="224"/>
                        <a:pt x="540" y="223"/>
                      </a:cubicBezTo>
                      <a:cubicBezTo>
                        <a:pt x="540" y="223"/>
                        <a:pt x="540" y="223"/>
                        <a:pt x="540" y="223"/>
                      </a:cubicBezTo>
                      <a:cubicBezTo>
                        <a:pt x="540" y="223"/>
                        <a:pt x="541" y="223"/>
                        <a:pt x="541" y="223"/>
                      </a:cubicBezTo>
                      <a:cubicBezTo>
                        <a:pt x="542" y="223"/>
                        <a:pt x="543" y="223"/>
                        <a:pt x="544" y="223"/>
                      </a:cubicBezTo>
                      <a:cubicBezTo>
                        <a:pt x="546" y="223"/>
                        <a:pt x="547" y="222"/>
                        <a:pt x="549" y="221"/>
                      </a:cubicBezTo>
                      <a:cubicBezTo>
                        <a:pt x="550" y="220"/>
                        <a:pt x="551" y="218"/>
                        <a:pt x="553" y="217"/>
                      </a:cubicBezTo>
                      <a:cubicBezTo>
                        <a:pt x="555" y="214"/>
                        <a:pt x="556" y="212"/>
                        <a:pt x="556" y="209"/>
                      </a:cubicBezTo>
                      <a:cubicBezTo>
                        <a:pt x="556" y="203"/>
                        <a:pt x="552" y="203"/>
                        <a:pt x="550" y="203"/>
                      </a:cubicBezTo>
                      <a:cubicBezTo>
                        <a:pt x="549" y="203"/>
                        <a:pt x="549" y="203"/>
                        <a:pt x="548" y="202"/>
                      </a:cubicBezTo>
                      <a:cubicBezTo>
                        <a:pt x="548" y="202"/>
                        <a:pt x="548" y="202"/>
                        <a:pt x="548" y="202"/>
                      </a:cubicBezTo>
                      <a:cubicBezTo>
                        <a:pt x="549" y="200"/>
                        <a:pt x="552" y="197"/>
                        <a:pt x="551" y="193"/>
                      </a:cubicBezTo>
                      <a:cubicBezTo>
                        <a:pt x="551" y="192"/>
                        <a:pt x="550" y="190"/>
                        <a:pt x="548" y="189"/>
                      </a:cubicBezTo>
                      <a:cubicBezTo>
                        <a:pt x="546" y="188"/>
                        <a:pt x="544" y="187"/>
                        <a:pt x="542" y="187"/>
                      </a:cubicBezTo>
                      <a:cubicBezTo>
                        <a:pt x="540" y="187"/>
                        <a:pt x="539" y="186"/>
                        <a:pt x="538" y="185"/>
                      </a:cubicBezTo>
                      <a:cubicBezTo>
                        <a:pt x="537" y="185"/>
                        <a:pt x="536" y="184"/>
                        <a:pt x="536" y="184"/>
                      </a:cubicBezTo>
                      <a:cubicBezTo>
                        <a:pt x="535" y="183"/>
                        <a:pt x="534" y="181"/>
                        <a:pt x="533" y="180"/>
                      </a:cubicBezTo>
                      <a:cubicBezTo>
                        <a:pt x="532" y="180"/>
                        <a:pt x="532" y="180"/>
                        <a:pt x="532" y="180"/>
                      </a:cubicBezTo>
                      <a:cubicBezTo>
                        <a:pt x="532" y="180"/>
                        <a:pt x="532" y="179"/>
                        <a:pt x="532" y="179"/>
                      </a:cubicBezTo>
                      <a:cubicBezTo>
                        <a:pt x="533" y="176"/>
                        <a:pt x="533" y="174"/>
                        <a:pt x="532" y="173"/>
                      </a:cubicBezTo>
                      <a:cubicBezTo>
                        <a:pt x="531" y="172"/>
                        <a:pt x="530" y="170"/>
                        <a:pt x="526" y="170"/>
                      </a:cubicBezTo>
                      <a:cubicBezTo>
                        <a:pt x="523" y="170"/>
                        <a:pt x="520" y="171"/>
                        <a:pt x="519" y="172"/>
                      </a:cubicBezTo>
                      <a:cubicBezTo>
                        <a:pt x="518" y="173"/>
                        <a:pt x="517" y="173"/>
                        <a:pt x="516" y="173"/>
                      </a:cubicBezTo>
                      <a:cubicBezTo>
                        <a:pt x="515" y="173"/>
                        <a:pt x="515" y="173"/>
                        <a:pt x="514" y="173"/>
                      </a:cubicBezTo>
                      <a:cubicBezTo>
                        <a:pt x="513" y="172"/>
                        <a:pt x="513" y="172"/>
                        <a:pt x="512" y="171"/>
                      </a:cubicBezTo>
                      <a:cubicBezTo>
                        <a:pt x="511" y="170"/>
                        <a:pt x="510" y="169"/>
                        <a:pt x="508" y="168"/>
                      </a:cubicBezTo>
                      <a:cubicBezTo>
                        <a:pt x="508" y="168"/>
                        <a:pt x="508" y="168"/>
                        <a:pt x="507" y="168"/>
                      </a:cubicBezTo>
                      <a:cubicBezTo>
                        <a:pt x="509" y="168"/>
                        <a:pt x="510" y="168"/>
                        <a:pt x="511" y="168"/>
                      </a:cubicBezTo>
                      <a:cubicBezTo>
                        <a:pt x="513" y="168"/>
                        <a:pt x="516" y="168"/>
                        <a:pt x="518" y="167"/>
                      </a:cubicBezTo>
                      <a:cubicBezTo>
                        <a:pt x="519" y="167"/>
                        <a:pt x="520" y="167"/>
                        <a:pt x="520" y="167"/>
                      </a:cubicBezTo>
                      <a:cubicBezTo>
                        <a:pt x="521" y="167"/>
                        <a:pt x="522" y="167"/>
                        <a:pt x="524" y="168"/>
                      </a:cubicBezTo>
                      <a:cubicBezTo>
                        <a:pt x="525" y="168"/>
                        <a:pt x="526" y="169"/>
                        <a:pt x="526" y="169"/>
                      </a:cubicBezTo>
                      <a:cubicBezTo>
                        <a:pt x="528" y="170"/>
                        <a:pt x="530" y="170"/>
                        <a:pt x="531" y="170"/>
                      </a:cubicBezTo>
                      <a:cubicBezTo>
                        <a:pt x="535" y="170"/>
                        <a:pt x="538" y="168"/>
                        <a:pt x="540" y="165"/>
                      </a:cubicBezTo>
                      <a:cubicBezTo>
                        <a:pt x="543" y="162"/>
                        <a:pt x="547" y="160"/>
                        <a:pt x="551" y="160"/>
                      </a:cubicBezTo>
                      <a:cubicBezTo>
                        <a:pt x="552" y="160"/>
                        <a:pt x="554" y="161"/>
                        <a:pt x="555" y="161"/>
                      </a:cubicBezTo>
                      <a:cubicBezTo>
                        <a:pt x="557" y="161"/>
                        <a:pt x="558" y="162"/>
                        <a:pt x="560" y="162"/>
                      </a:cubicBezTo>
                      <a:cubicBezTo>
                        <a:pt x="563" y="163"/>
                        <a:pt x="567" y="165"/>
                        <a:pt x="571" y="165"/>
                      </a:cubicBezTo>
                      <a:cubicBezTo>
                        <a:pt x="573" y="165"/>
                        <a:pt x="575" y="164"/>
                        <a:pt x="577" y="164"/>
                      </a:cubicBezTo>
                      <a:cubicBezTo>
                        <a:pt x="581" y="162"/>
                        <a:pt x="582" y="159"/>
                        <a:pt x="582" y="157"/>
                      </a:cubicBezTo>
                      <a:cubicBezTo>
                        <a:pt x="583" y="152"/>
                        <a:pt x="579" y="147"/>
                        <a:pt x="578" y="146"/>
                      </a:cubicBezTo>
                      <a:cubicBezTo>
                        <a:pt x="579" y="146"/>
                        <a:pt x="579" y="147"/>
                        <a:pt x="580" y="147"/>
                      </a:cubicBezTo>
                      <a:cubicBezTo>
                        <a:pt x="582" y="147"/>
                        <a:pt x="583" y="148"/>
                        <a:pt x="585" y="148"/>
                      </a:cubicBezTo>
                      <a:cubicBezTo>
                        <a:pt x="585" y="148"/>
                        <a:pt x="586" y="148"/>
                        <a:pt x="586" y="148"/>
                      </a:cubicBezTo>
                      <a:cubicBezTo>
                        <a:pt x="587" y="147"/>
                        <a:pt x="587" y="147"/>
                        <a:pt x="588" y="147"/>
                      </a:cubicBezTo>
                      <a:cubicBezTo>
                        <a:pt x="588" y="147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48"/>
                      </a:cubicBezTo>
                      <a:cubicBezTo>
                        <a:pt x="589" y="148"/>
                        <a:pt x="589" y="148"/>
                        <a:pt x="589" y="150"/>
                      </a:cubicBezTo>
                      <a:cubicBezTo>
                        <a:pt x="589" y="150"/>
                        <a:pt x="589" y="151"/>
                        <a:pt x="589" y="151"/>
                      </a:cubicBezTo>
                      <a:cubicBezTo>
                        <a:pt x="589" y="153"/>
                        <a:pt x="588" y="157"/>
                        <a:pt x="591" y="160"/>
                      </a:cubicBezTo>
                      <a:cubicBezTo>
                        <a:pt x="592" y="160"/>
                        <a:pt x="594" y="161"/>
                        <a:pt x="595" y="161"/>
                      </a:cubicBezTo>
                      <a:cubicBezTo>
                        <a:pt x="596" y="161"/>
                        <a:pt x="597" y="161"/>
                        <a:pt x="598" y="160"/>
                      </a:cubicBezTo>
                      <a:cubicBezTo>
                        <a:pt x="599" y="160"/>
                        <a:pt x="599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0" y="160"/>
                        <a:pt x="600" y="160"/>
                      </a:cubicBezTo>
                      <a:cubicBezTo>
                        <a:pt x="600" y="160"/>
                        <a:pt x="601" y="161"/>
                        <a:pt x="601" y="162"/>
                      </a:cubicBezTo>
                      <a:cubicBezTo>
                        <a:pt x="601" y="163"/>
                        <a:pt x="601" y="163"/>
                        <a:pt x="601" y="163"/>
                      </a:cubicBezTo>
                      <a:cubicBezTo>
                        <a:pt x="601" y="167"/>
                        <a:pt x="603" y="168"/>
                        <a:pt x="606" y="168"/>
                      </a:cubicBezTo>
                      <a:cubicBezTo>
                        <a:pt x="606" y="168"/>
                        <a:pt x="607" y="169"/>
                        <a:pt x="607" y="169"/>
                      </a:cubicBezTo>
                      <a:cubicBezTo>
                        <a:pt x="608" y="169"/>
                        <a:pt x="608" y="170"/>
                        <a:pt x="609" y="170"/>
                      </a:cubicBezTo>
                      <a:cubicBezTo>
                        <a:pt x="610" y="171"/>
                        <a:pt x="611" y="173"/>
                        <a:pt x="613" y="174"/>
                      </a:cubicBezTo>
                      <a:cubicBezTo>
                        <a:pt x="615" y="174"/>
                        <a:pt x="617" y="174"/>
                        <a:pt x="618" y="174"/>
                      </a:cubicBezTo>
                      <a:cubicBezTo>
                        <a:pt x="620" y="174"/>
                        <a:pt x="621" y="174"/>
                        <a:pt x="622" y="175"/>
                      </a:cubicBezTo>
                      <a:cubicBezTo>
                        <a:pt x="623" y="177"/>
                        <a:pt x="623" y="178"/>
                        <a:pt x="623" y="179"/>
                      </a:cubicBezTo>
                      <a:cubicBezTo>
                        <a:pt x="623" y="179"/>
                        <a:pt x="622" y="180"/>
                        <a:pt x="622" y="181"/>
                      </a:cubicBezTo>
                      <a:cubicBezTo>
                        <a:pt x="621" y="181"/>
                        <a:pt x="620" y="181"/>
                        <a:pt x="619" y="182"/>
                      </a:cubicBezTo>
                      <a:cubicBezTo>
                        <a:pt x="617" y="182"/>
                        <a:pt x="614" y="183"/>
                        <a:pt x="612" y="187"/>
                      </a:cubicBezTo>
                      <a:cubicBezTo>
                        <a:pt x="611" y="190"/>
                        <a:pt x="611" y="197"/>
                        <a:pt x="613" y="200"/>
                      </a:cubicBezTo>
                      <a:cubicBezTo>
                        <a:pt x="614" y="202"/>
                        <a:pt x="616" y="203"/>
                        <a:pt x="618" y="203"/>
                      </a:cubicBezTo>
                      <a:cubicBezTo>
                        <a:pt x="619" y="203"/>
                        <a:pt x="621" y="203"/>
                        <a:pt x="622" y="202"/>
                      </a:cubicBezTo>
                      <a:cubicBezTo>
                        <a:pt x="626" y="199"/>
                        <a:pt x="628" y="195"/>
                        <a:pt x="630" y="192"/>
                      </a:cubicBezTo>
                      <a:cubicBezTo>
                        <a:pt x="631" y="189"/>
                        <a:pt x="633" y="187"/>
                        <a:pt x="635" y="185"/>
                      </a:cubicBezTo>
                      <a:cubicBezTo>
                        <a:pt x="636" y="185"/>
                        <a:pt x="638" y="184"/>
                        <a:pt x="638" y="184"/>
                      </a:cubicBezTo>
                      <a:cubicBezTo>
                        <a:pt x="638" y="184"/>
                        <a:pt x="638" y="185"/>
                        <a:pt x="638" y="185"/>
                      </a:cubicBezTo>
                      <a:cubicBezTo>
                        <a:pt x="638" y="187"/>
                        <a:pt x="638" y="188"/>
                        <a:pt x="638" y="189"/>
                      </a:cubicBezTo>
                      <a:cubicBezTo>
                        <a:pt x="638" y="192"/>
                        <a:pt x="639" y="194"/>
                        <a:pt x="641" y="197"/>
                      </a:cubicBezTo>
                      <a:cubicBezTo>
                        <a:pt x="643" y="198"/>
                        <a:pt x="646" y="201"/>
                        <a:pt x="649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0" y="201"/>
                        <a:pt x="650" y="201"/>
                        <a:pt x="650" y="201"/>
                      </a:cubicBezTo>
                      <a:cubicBezTo>
                        <a:pt x="652" y="201"/>
                        <a:pt x="652" y="200"/>
                        <a:pt x="653" y="200"/>
                      </a:cubicBezTo>
                      <a:cubicBezTo>
                        <a:pt x="653" y="205"/>
                        <a:pt x="656" y="207"/>
                        <a:pt x="657" y="207"/>
                      </a:cubicBezTo>
                      <a:cubicBezTo>
                        <a:pt x="658" y="208"/>
                        <a:pt x="659" y="208"/>
                        <a:pt x="660" y="208"/>
                      </a:cubicBezTo>
                      <a:cubicBezTo>
                        <a:pt x="661" y="208"/>
                        <a:pt x="662" y="208"/>
                        <a:pt x="663" y="207"/>
                      </a:cubicBezTo>
                      <a:cubicBezTo>
                        <a:pt x="664" y="207"/>
                        <a:pt x="664" y="207"/>
                        <a:pt x="665" y="207"/>
                      </a:cubicBezTo>
                      <a:cubicBezTo>
                        <a:pt x="665" y="207"/>
                        <a:pt x="665" y="207"/>
                        <a:pt x="665" y="207"/>
                      </a:cubicBezTo>
                      <a:cubicBezTo>
                        <a:pt x="667" y="208"/>
                        <a:pt x="669" y="212"/>
                        <a:pt x="671" y="215"/>
                      </a:cubicBezTo>
                      <a:cubicBezTo>
                        <a:pt x="672" y="217"/>
                        <a:pt x="673" y="219"/>
                        <a:pt x="675" y="221"/>
                      </a:cubicBezTo>
                      <a:cubicBezTo>
                        <a:pt x="677" y="223"/>
                        <a:pt x="677" y="223"/>
                        <a:pt x="677" y="223"/>
                      </a:cubicBezTo>
                      <a:cubicBezTo>
                        <a:pt x="679" y="226"/>
                        <a:pt x="682" y="229"/>
                        <a:pt x="684" y="233"/>
                      </a:cubicBezTo>
                      <a:cubicBezTo>
                        <a:pt x="685" y="236"/>
                        <a:pt x="687" y="241"/>
                        <a:pt x="686" y="244"/>
                      </a:cubicBezTo>
                      <a:cubicBezTo>
                        <a:pt x="686" y="245"/>
                        <a:pt x="685" y="246"/>
                        <a:pt x="684" y="248"/>
                      </a:cubicBezTo>
                      <a:cubicBezTo>
                        <a:pt x="682" y="250"/>
                        <a:pt x="680" y="252"/>
                        <a:pt x="680" y="256"/>
                      </a:cubicBezTo>
                      <a:cubicBezTo>
                        <a:pt x="680" y="258"/>
                        <a:pt x="680" y="260"/>
                        <a:pt x="682" y="262"/>
                      </a:cubicBezTo>
                      <a:cubicBezTo>
                        <a:pt x="680" y="262"/>
                        <a:pt x="678" y="263"/>
                        <a:pt x="677" y="265"/>
                      </a:cubicBezTo>
                      <a:cubicBezTo>
                        <a:pt x="676" y="266"/>
                        <a:pt x="675" y="268"/>
                        <a:pt x="675" y="269"/>
                      </a:cubicBezTo>
                      <a:cubicBezTo>
                        <a:pt x="675" y="270"/>
                        <a:pt x="674" y="271"/>
                        <a:pt x="674" y="271"/>
                      </a:cubicBezTo>
                      <a:cubicBezTo>
                        <a:pt x="673" y="273"/>
                        <a:pt x="672" y="275"/>
                        <a:pt x="671" y="277"/>
                      </a:cubicBezTo>
                      <a:cubicBezTo>
                        <a:pt x="669" y="281"/>
                        <a:pt x="666" y="285"/>
                        <a:pt x="667" y="290"/>
                      </a:cubicBezTo>
                      <a:cubicBezTo>
                        <a:pt x="669" y="296"/>
                        <a:pt x="674" y="298"/>
                        <a:pt x="678" y="300"/>
                      </a:cubicBezTo>
                      <a:cubicBezTo>
                        <a:pt x="681" y="302"/>
                        <a:pt x="684" y="303"/>
                        <a:pt x="686" y="305"/>
                      </a:cubicBezTo>
                      <a:cubicBezTo>
                        <a:pt x="686" y="306"/>
                        <a:pt x="686" y="306"/>
                        <a:pt x="686" y="307"/>
                      </a:cubicBezTo>
                      <a:cubicBezTo>
                        <a:pt x="686" y="307"/>
                        <a:pt x="684" y="308"/>
                        <a:pt x="681" y="309"/>
                      </a:cubicBezTo>
                      <a:cubicBezTo>
                        <a:pt x="680" y="309"/>
                        <a:pt x="680" y="309"/>
                        <a:pt x="679" y="309"/>
                      </a:cubicBezTo>
                      <a:cubicBezTo>
                        <a:pt x="678" y="310"/>
                        <a:pt x="676" y="310"/>
                        <a:pt x="675" y="310"/>
                      </a:cubicBezTo>
                      <a:cubicBezTo>
                        <a:pt x="672" y="312"/>
                        <a:pt x="671" y="314"/>
                        <a:pt x="669" y="315"/>
                      </a:cubicBezTo>
                      <a:cubicBezTo>
                        <a:pt x="669" y="316"/>
                        <a:pt x="668" y="317"/>
                        <a:pt x="668" y="317"/>
                      </a:cubicBezTo>
                      <a:cubicBezTo>
                        <a:pt x="667" y="318"/>
                        <a:pt x="666" y="319"/>
                        <a:pt x="665" y="320"/>
                      </a:cubicBezTo>
                      <a:cubicBezTo>
                        <a:pt x="664" y="321"/>
                        <a:pt x="664" y="321"/>
                        <a:pt x="664" y="321"/>
                      </a:cubicBezTo>
                      <a:cubicBezTo>
                        <a:pt x="662" y="322"/>
                        <a:pt x="659" y="323"/>
                        <a:pt x="655" y="323"/>
                      </a:cubicBezTo>
                      <a:cubicBezTo>
                        <a:pt x="655" y="323"/>
                        <a:pt x="655" y="323"/>
                        <a:pt x="655" y="323"/>
                      </a:cubicBezTo>
                      <a:cubicBezTo>
                        <a:pt x="652" y="323"/>
                        <a:pt x="649" y="322"/>
                        <a:pt x="645" y="322"/>
                      </a:cubicBezTo>
                      <a:cubicBezTo>
                        <a:pt x="642" y="321"/>
                        <a:pt x="638" y="321"/>
                        <a:pt x="634" y="321"/>
                      </a:cubicBezTo>
                      <a:cubicBezTo>
                        <a:pt x="632" y="321"/>
                        <a:pt x="630" y="321"/>
                        <a:pt x="628" y="321"/>
                      </a:cubicBezTo>
                      <a:cubicBezTo>
                        <a:pt x="626" y="322"/>
                        <a:pt x="626" y="322"/>
                        <a:pt x="626" y="322"/>
                      </a:cubicBezTo>
                      <a:cubicBezTo>
                        <a:pt x="626" y="324"/>
                        <a:pt x="626" y="324"/>
                        <a:pt x="626" y="324"/>
                      </a:cubicBezTo>
                      <a:cubicBezTo>
                        <a:pt x="625" y="325"/>
                        <a:pt x="625" y="325"/>
                        <a:pt x="625" y="325"/>
                      </a:cubicBezTo>
                      <a:cubicBezTo>
                        <a:pt x="625" y="326"/>
                        <a:pt x="625" y="328"/>
                        <a:pt x="626" y="329"/>
                      </a:cubicBezTo>
                      <a:cubicBezTo>
                        <a:pt x="626" y="331"/>
                        <a:pt x="627" y="332"/>
                        <a:pt x="628" y="332"/>
                      </a:cubicBezTo>
                      <a:cubicBezTo>
                        <a:pt x="628" y="332"/>
                        <a:pt x="628" y="332"/>
                        <a:pt x="628" y="332"/>
                      </a:cubicBezTo>
                      <a:cubicBezTo>
                        <a:pt x="629" y="334"/>
                        <a:pt x="629" y="334"/>
                        <a:pt x="628" y="335"/>
                      </a:cubicBezTo>
                      <a:cubicBezTo>
                        <a:pt x="627" y="335"/>
                        <a:pt x="627" y="336"/>
                        <a:pt x="626" y="336"/>
                      </a:cubicBezTo>
                      <a:cubicBezTo>
                        <a:pt x="625" y="337"/>
                        <a:pt x="623" y="338"/>
                        <a:pt x="621" y="342"/>
                      </a:cubicBezTo>
                      <a:cubicBezTo>
                        <a:pt x="621" y="343"/>
                        <a:pt x="621" y="343"/>
                        <a:pt x="621" y="344"/>
                      </a:cubicBezTo>
                      <a:cubicBezTo>
                        <a:pt x="621" y="345"/>
                        <a:pt x="621" y="345"/>
                        <a:pt x="620" y="346"/>
                      </a:cubicBezTo>
                      <a:cubicBezTo>
                        <a:pt x="620" y="347"/>
                        <a:pt x="620" y="347"/>
                        <a:pt x="620" y="347"/>
                      </a:cubicBezTo>
                      <a:cubicBezTo>
                        <a:pt x="619" y="349"/>
                        <a:pt x="619" y="350"/>
                        <a:pt x="619" y="352"/>
                      </a:cubicBezTo>
                      <a:cubicBezTo>
                        <a:pt x="619" y="353"/>
                        <a:pt x="620" y="354"/>
                        <a:pt x="620" y="355"/>
                      </a:cubicBezTo>
                      <a:cubicBezTo>
                        <a:pt x="620" y="358"/>
                        <a:pt x="620" y="361"/>
                        <a:pt x="624" y="365"/>
                      </a:cubicBezTo>
                      <a:cubicBezTo>
                        <a:pt x="627" y="369"/>
                        <a:pt x="632" y="371"/>
                        <a:pt x="637" y="372"/>
                      </a:cubicBezTo>
                      <a:cubicBezTo>
                        <a:pt x="638" y="373"/>
                        <a:pt x="639" y="373"/>
                        <a:pt x="640" y="373"/>
                      </a:cubicBezTo>
                      <a:cubicBezTo>
                        <a:pt x="644" y="373"/>
                        <a:pt x="647" y="371"/>
                        <a:pt x="649" y="370"/>
                      </a:cubicBezTo>
                      <a:cubicBezTo>
                        <a:pt x="650" y="369"/>
                        <a:pt x="651" y="369"/>
                        <a:pt x="652" y="368"/>
                      </a:cubicBezTo>
                      <a:cubicBezTo>
                        <a:pt x="655" y="367"/>
                        <a:pt x="658" y="365"/>
                        <a:pt x="662" y="362"/>
                      </a:cubicBezTo>
                      <a:cubicBezTo>
                        <a:pt x="664" y="360"/>
                        <a:pt x="665" y="358"/>
                        <a:pt x="665" y="357"/>
                      </a:cubicBezTo>
                      <a:cubicBezTo>
                        <a:pt x="666" y="356"/>
                        <a:pt x="666" y="355"/>
                        <a:pt x="666" y="355"/>
                      </a:cubicBezTo>
                      <a:cubicBezTo>
                        <a:pt x="667" y="355"/>
                        <a:pt x="667" y="355"/>
                        <a:pt x="667" y="355"/>
                      </a:cubicBezTo>
                      <a:cubicBezTo>
                        <a:pt x="668" y="355"/>
                        <a:pt x="669" y="355"/>
                        <a:pt x="670" y="356"/>
                      </a:cubicBezTo>
                      <a:cubicBezTo>
                        <a:pt x="671" y="356"/>
                        <a:pt x="671" y="356"/>
                        <a:pt x="671" y="356"/>
                      </a:cubicBezTo>
                      <a:cubicBezTo>
                        <a:pt x="673" y="356"/>
                        <a:pt x="675" y="357"/>
                        <a:pt x="676" y="357"/>
                      </a:cubicBezTo>
                      <a:cubicBezTo>
                        <a:pt x="680" y="357"/>
                        <a:pt x="684" y="355"/>
                        <a:pt x="685" y="353"/>
                      </a:cubicBezTo>
                      <a:cubicBezTo>
                        <a:pt x="686" y="351"/>
                        <a:pt x="686" y="350"/>
                        <a:pt x="685" y="348"/>
                      </a:cubicBezTo>
                      <a:cubicBezTo>
                        <a:pt x="686" y="347"/>
                        <a:pt x="686" y="347"/>
                        <a:pt x="686" y="347"/>
                      </a:cubicBezTo>
                      <a:cubicBezTo>
                        <a:pt x="687" y="348"/>
                        <a:pt x="688" y="350"/>
                        <a:pt x="691" y="351"/>
                      </a:cubicBezTo>
                      <a:cubicBezTo>
                        <a:pt x="691" y="351"/>
                        <a:pt x="691" y="351"/>
                        <a:pt x="691" y="351"/>
                      </a:cubicBezTo>
                      <a:cubicBezTo>
                        <a:pt x="692" y="351"/>
                        <a:pt x="692" y="351"/>
                        <a:pt x="692" y="351"/>
                      </a:cubicBezTo>
                      <a:cubicBezTo>
                        <a:pt x="695" y="351"/>
                        <a:pt x="696" y="348"/>
                        <a:pt x="697" y="347"/>
                      </a:cubicBezTo>
                      <a:cubicBezTo>
                        <a:pt x="697" y="346"/>
                        <a:pt x="697" y="346"/>
                        <a:pt x="697" y="346"/>
                      </a:cubicBezTo>
                      <a:cubicBezTo>
                        <a:pt x="698" y="346"/>
                        <a:pt x="698" y="347"/>
                        <a:pt x="698" y="348"/>
                      </a:cubicBezTo>
                      <a:cubicBezTo>
                        <a:pt x="699" y="348"/>
                        <a:pt x="699" y="348"/>
                        <a:pt x="699" y="348"/>
                      </a:cubicBezTo>
                      <a:cubicBezTo>
                        <a:pt x="700" y="350"/>
                        <a:pt x="702" y="352"/>
                        <a:pt x="703" y="353"/>
                      </a:cubicBezTo>
                      <a:cubicBezTo>
                        <a:pt x="704" y="354"/>
                        <a:pt x="704" y="354"/>
                        <a:pt x="705" y="355"/>
                      </a:cubicBezTo>
                      <a:cubicBezTo>
                        <a:pt x="707" y="357"/>
                        <a:pt x="709" y="358"/>
                        <a:pt x="711" y="359"/>
                      </a:cubicBezTo>
                      <a:cubicBezTo>
                        <a:pt x="713" y="360"/>
                        <a:pt x="713" y="360"/>
                        <a:pt x="713" y="360"/>
                      </a:cubicBezTo>
                      <a:cubicBezTo>
                        <a:pt x="715" y="361"/>
                        <a:pt x="716" y="362"/>
                        <a:pt x="717" y="364"/>
                      </a:cubicBezTo>
                      <a:cubicBezTo>
                        <a:pt x="717" y="364"/>
                        <a:pt x="717" y="364"/>
                        <a:pt x="717" y="364"/>
                      </a:cubicBezTo>
                      <a:cubicBezTo>
                        <a:pt x="719" y="367"/>
                        <a:pt x="721" y="368"/>
                        <a:pt x="724" y="368"/>
                      </a:cubicBezTo>
                      <a:cubicBezTo>
                        <a:pt x="724" y="368"/>
                        <a:pt x="725" y="368"/>
                        <a:pt x="726" y="368"/>
                      </a:cubicBezTo>
                      <a:cubicBezTo>
                        <a:pt x="727" y="368"/>
                        <a:pt x="727" y="368"/>
                        <a:pt x="728" y="369"/>
                      </a:cubicBezTo>
                      <a:cubicBezTo>
                        <a:pt x="729" y="369"/>
                        <a:pt x="731" y="370"/>
                        <a:pt x="733" y="370"/>
                      </a:cubicBezTo>
                      <a:cubicBezTo>
                        <a:pt x="733" y="370"/>
                        <a:pt x="733" y="370"/>
                        <a:pt x="733" y="370"/>
                      </a:cubicBezTo>
                      <a:cubicBezTo>
                        <a:pt x="734" y="370"/>
                        <a:pt x="735" y="370"/>
                        <a:pt x="737" y="370"/>
                      </a:cubicBezTo>
                      <a:cubicBezTo>
                        <a:pt x="739" y="370"/>
                        <a:pt x="740" y="370"/>
                        <a:pt x="742" y="370"/>
                      </a:cubicBezTo>
                      <a:cubicBezTo>
                        <a:pt x="741" y="371"/>
                        <a:pt x="741" y="371"/>
                        <a:pt x="740" y="372"/>
                      </a:cubicBezTo>
                      <a:cubicBezTo>
                        <a:pt x="738" y="374"/>
                        <a:pt x="736" y="377"/>
                        <a:pt x="736" y="380"/>
                      </a:cubicBezTo>
                      <a:cubicBezTo>
                        <a:pt x="736" y="381"/>
                        <a:pt x="737" y="383"/>
                        <a:pt x="739" y="384"/>
                      </a:cubicBezTo>
                      <a:cubicBezTo>
                        <a:pt x="741" y="386"/>
                        <a:pt x="742" y="388"/>
                        <a:pt x="744" y="390"/>
                      </a:cubicBezTo>
                      <a:cubicBezTo>
                        <a:pt x="746" y="392"/>
                        <a:pt x="748" y="392"/>
                        <a:pt x="751" y="392"/>
                      </a:cubicBezTo>
                      <a:cubicBezTo>
                        <a:pt x="752" y="392"/>
                        <a:pt x="753" y="392"/>
                        <a:pt x="754" y="392"/>
                      </a:cubicBezTo>
                      <a:cubicBezTo>
                        <a:pt x="755" y="392"/>
                        <a:pt x="756" y="392"/>
                        <a:pt x="757" y="392"/>
                      </a:cubicBezTo>
                      <a:cubicBezTo>
                        <a:pt x="757" y="392"/>
                        <a:pt x="758" y="392"/>
                        <a:pt x="758" y="392"/>
                      </a:cubicBezTo>
                      <a:cubicBezTo>
                        <a:pt x="759" y="393"/>
                        <a:pt x="759" y="394"/>
                        <a:pt x="758" y="395"/>
                      </a:cubicBezTo>
                      <a:cubicBezTo>
                        <a:pt x="758" y="396"/>
                        <a:pt x="758" y="397"/>
                        <a:pt x="759" y="398"/>
                      </a:cubicBezTo>
                      <a:cubicBezTo>
                        <a:pt x="759" y="402"/>
                        <a:pt x="763" y="407"/>
                        <a:pt x="769" y="407"/>
                      </a:cubicBezTo>
                      <a:cubicBezTo>
                        <a:pt x="770" y="407"/>
                        <a:pt x="770" y="407"/>
                        <a:pt x="771" y="407"/>
                      </a:cubicBezTo>
                      <a:cubicBezTo>
                        <a:pt x="776" y="405"/>
                        <a:pt x="776" y="401"/>
                        <a:pt x="776" y="399"/>
                      </a:cubicBezTo>
                      <a:cubicBezTo>
                        <a:pt x="775" y="397"/>
                        <a:pt x="776" y="396"/>
                        <a:pt x="776" y="396"/>
                      </a:cubicBezTo>
                      <a:cubicBezTo>
                        <a:pt x="777" y="396"/>
                        <a:pt x="779" y="395"/>
                        <a:pt x="781" y="395"/>
                      </a:cubicBezTo>
                      <a:cubicBezTo>
                        <a:pt x="783" y="395"/>
                        <a:pt x="784" y="395"/>
                        <a:pt x="785" y="395"/>
                      </a:cubicBezTo>
                      <a:cubicBezTo>
                        <a:pt x="786" y="396"/>
                        <a:pt x="788" y="398"/>
                        <a:pt x="789" y="399"/>
                      </a:cubicBezTo>
                      <a:cubicBezTo>
                        <a:pt x="792" y="401"/>
                        <a:pt x="795" y="403"/>
                        <a:pt x="798" y="404"/>
                      </a:cubicBezTo>
                      <a:cubicBezTo>
                        <a:pt x="801" y="405"/>
                        <a:pt x="803" y="405"/>
                        <a:pt x="806" y="405"/>
                      </a:cubicBezTo>
                      <a:cubicBezTo>
                        <a:pt x="808" y="405"/>
                        <a:pt x="809" y="405"/>
                        <a:pt x="811" y="405"/>
                      </a:cubicBezTo>
                      <a:cubicBezTo>
                        <a:pt x="812" y="405"/>
                        <a:pt x="813" y="405"/>
                        <a:pt x="814" y="405"/>
                      </a:cubicBezTo>
                      <a:cubicBezTo>
                        <a:pt x="814" y="405"/>
                        <a:pt x="814" y="405"/>
                        <a:pt x="815" y="405"/>
                      </a:cubicBezTo>
                      <a:cubicBezTo>
                        <a:pt x="817" y="405"/>
                        <a:pt x="819" y="405"/>
                        <a:pt x="822" y="405"/>
                      </a:cubicBezTo>
                      <a:cubicBezTo>
                        <a:pt x="823" y="405"/>
                        <a:pt x="823" y="405"/>
                        <a:pt x="823" y="405"/>
                      </a:cubicBezTo>
                      <a:cubicBezTo>
                        <a:pt x="823" y="405"/>
                        <a:pt x="824" y="405"/>
                        <a:pt x="824" y="405"/>
                      </a:cubicBezTo>
                      <a:cubicBezTo>
                        <a:pt x="826" y="405"/>
                        <a:pt x="827" y="405"/>
                        <a:pt x="828" y="405"/>
                      </a:cubicBezTo>
                      <a:cubicBezTo>
                        <a:pt x="829" y="405"/>
                        <a:pt x="830" y="404"/>
                        <a:pt x="831" y="404"/>
                      </a:cubicBezTo>
                      <a:cubicBezTo>
                        <a:pt x="832" y="404"/>
                        <a:pt x="835" y="405"/>
                        <a:pt x="836" y="405"/>
                      </a:cubicBezTo>
                      <a:cubicBezTo>
                        <a:pt x="839" y="406"/>
                        <a:pt x="842" y="407"/>
                        <a:pt x="845" y="407"/>
                      </a:cubicBezTo>
                      <a:cubicBezTo>
                        <a:pt x="848" y="407"/>
                        <a:pt x="850" y="406"/>
                        <a:pt x="851" y="404"/>
                      </a:cubicBezTo>
                      <a:cubicBezTo>
                        <a:pt x="853" y="403"/>
                        <a:pt x="853" y="400"/>
                        <a:pt x="853" y="398"/>
                      </a:cubicBezTo>
                      <a:cubicBezTo>
                        <a:pt x="853" y="389"/>
                        <a:pt x="844" y="382"/>
                        <a:pt x="837" y="378"/>
                      </a:cubicBezTo>
                      <a:cubicBezTo>
                        <a:pt x="834" y="377"/>
                        <a:pt x="832" y="376"/>
                        <a:pt x="829" y="375"/>
                      </a:cubicBezTo>
                      <a:cubicBezTo>
                        <a:pt x="824" y="373"/>
                        <a:pt x="820" y="371"/>
                        <a:pt x="816" y="368"/>
                      </a:cubicBezTo>
                      <a:cubicBezTo>
                        <a:pt x="814" y="367"/>
                        <a:pt x="812" y="367"/>
                        <a:pt x="810" y="366"/>
                      </a:cubicBezTo>
                      <a:cubicBezTo>
                        <a:pt x="809" y="366"/>
                        <a:pt x="808" y="366"/>
                        <a:pt x="807" y="365"/>
                      </a:cubicBezTo>
                      <a:cubicBezTo>
                        <a:pt x="803" y="364"/>
                        <a:pt x="798" y="361"/>
                        <a:pt x="794" y="359"/>
                      </a:cubicBezTo>
                      <a:cubicBezTo>
                        <a:pt x="793" y="358"/>
                        <a:pt x="791" y="357"/>
                        <a:pt x="790" y="357"/>
                      </a:cubicBezTo>
                      <a:cubicBezTo>
                        <a:pt x="788" y="355"/>
                        <a:pt x="786" y="354"/>
                        <a:pt x="785" y="353"/>
                      </a:cubicBezTo>
                      <a:cubicBezTo>
                        <a:pt x="785" y="352"/>
                        <a:pt x="785" y="352"/>
                        <a:pt x="785" y="352"/>
                      </a:cubicBezTo>
                      <a:cubicBezTo>
                        <a:pt x="786" y="352"/>
                        <a:pt x="788" y="353"/>
                        <a:pt x="789" y="353"/>
                      </a:cubicBezTo>
                      <a:cubicBezTo>
                        <a:pt x="791" y="354"/>
                        <a:pt x="792" y="354"/>
                        <a:pt x="793" y="354"/>
                      </a:cubicBezTo>
                      <a:cubicBezTo>
                        <a:pt x="794" y="354"/>
                        <a:pt x="795" y="354"/>
                        <a:pt x="796" y="354"/>
                      </a:cubicBezTo>
                      <a:cubicBezTo>
                        <a:pt x="797" y="354"/>
                        <a:pt x="797" y="354"/>
                        <a:pt x="798" y="354"/>
                      </a:cubicBezTo>
                      <a:cubicBezTo>
                        <a:pt x="799" y="354"/>
                        <a:pt x="799" y="354"/>
                        <a:pt x="800" y="354"/>
                      </a:cubicBezTo>
                      <a:cubicBezTo>
                        <a:pt x="801" y="354"/>
                        <a:pt x="802" y="354"/>
                        <a:pt x="802" y="355"/>
                      </a:cubicBezTo>
                      <a:cubicBezTo>
                        <a:pt x="806" y="355"/>
                        <a:pt x="809" y="357"/>
                        <a:pt x="812" y="358"/>
                      </a:cubicBezTo>
                      <a:cubicBezTo>
                        <a:pt x="815" y="359"/>
                        <a:pt x="817" y="360"/>
                        <a:pt x="819" y="361"/>
                      </a:cubicBezTo>
                      <a:cubicBezTo>
                        <a:pt x="820" y="361"/>
                        <a:pt x="821" y="362"/>
                        <a:pt x="822" y="362"/>
                      </a:cubicBezTo>
                      <a:cubicBezTo>
                        <a:pt x="823" y="362"/>
                        <a:pt x="824" y="361"/>
                        <a:pt x="825" y="361"/>
                      </a:cubicBezTo>
                      <a:cubicBezTo>
                        <a:pt x="826" y="361"/>
                        <a:pt x="827" y="361"/>
                        <a:pt x="827" y="361"/>
                      </a:cubicBezTo>
                      <a:cubicBezTo>
                        <a:pt x="827" y="361"/>
                        <a:pt x="828" y="361"/>
                        <a:pt x="828" y="361"/>
                      </a:cubicBezTo>
                      <a:cubicBezTo>
                        <a:pt x="828" y="361"/>
                        <a:pt x="829" y="362"/>
                        <a:pt x="830" y="362"/>
                      </a:cubicBezTo>
                      <a:cubicBezTo>
                        <a:pt x="831" y="363"/>
                        <a:pt x="832" y="365"/>
                        <a:pt x="834" y="365"/>
                      </a:cubicBezTo>
                      <a:cubicBezTo>
                        <a:pt x="835" y="366"/>
                        <a:pt x="836" y="366"/>
                        <a:pt x="838" y="366"/>
                      </a:cubicBezTo>
                      <a:cubicBezTo>
                        <a:pt x="838" y="366"/>
                        <a:pt x="839" y="366"/>
                        <a:pt x="840" y="366"/>
                      </a:cubicBezTo>
                      <a:cubicBezTo>
                        <a:pt x="841" y="366"/>
                        <a:pt x="842" y="366"/>
                        <a:pt x="842" y="366"/>
                      </a:cubicBezTo>
                      <a:cubicBezTo>
                        <a:pt x="843" y="366"/>
                        <a:pt x="843" y="366"/>
                        <a:pt x="843" y="366"/>
                      </a:cubicBezTo>
                      <a:cubicBezTo>
                        <a:pt x="844" y="366"/>
                        <a:pt x="845" y="366"/>
                        <a:pt x="846" y="367"/>
                      </a:cubicBezTo>
                      <a:cubicBezTo>
                        <a:pt x="847" y="367"/>
                        <a:pt x="847" y="367"/>
                        <a:pt x="847" y="367"/>
                      </a:cubicBezTo>
                      <a:cubicBezTo>
                        <a:pt x="848" y="368"/>
                        <a:pt x="848" y="368"/>
                        <a:pt x="849" y="368"/>
                      </a:cubicBezTo>
                      <a:cubicBezTo>
                        <a:pt x="850" y="369"/>
                        <a:pt x="851" y="369"/>
                        <a:pt x="852" y="370"/>
                      </a:cubicBezTo>
                      <a:cubicBezTo>
                        <a:pt x="854" y="371"/>
                        <a:pt x="855" y="371"/>
                        <a:pt x="857" y="371"/>
                      </a:cubicBezTo>
                      <a:cubicBezTo>
                        <a:pt x="859" y="371"/>
                        <a:pt x="861" y="370"/>
                        <a:pt x="862" y="367"/>
                      </a:cubicBezTo>
                      <a:cubicBezTo>
                        <a:pt x="863" y="365"/>
                        <a:pt x="862" y="362"/>
                        <a:pt x="861" y="360"/>
                      </a:cubicBezTo>
                      <a:cubicBezTo>
                        <a:pt x="861" y="360"/>
                        <a:pt x="861" y="360"/>
                        <a:pt x="862" y="359"/>
                      </a:cubicBezTo>
                      <a:close/>
                      <a:moveTo>
                        <a:pt x="493" y="120"/>
                      </a:moveTo>
                      <a:cubicBezTo>
                        <a:pt x="493" y="120"/>
                        <a:pt x="493" y="121"/>
                        <a:pt x="493" y="121"/>
                      </a:cubicBezTo>
                      <a:cubicBezTo>
                        <a:pt x="492" y="120"/>
                        <a:pt x="490" y="120"/>
                        <a:pt x="489" y="120"/>
                      </a:cubicBezTo>
                      <a:cubicBezTo>
                        <a:pt x="489" y="120"/>
                        <a:pt x="489" y="120"/>
                        <a:pt x="489" y="120"/>
                      </a:cubicBezTo>
                      <a:cubicBezTo>
                        <a:pt x="490" y="120"/>
                        <a:pt x="490" y="120"/>
                        <a:pt x="490" y="120"/>
                      </a:cubicBezTo>
                      <a:cubicBezTo>
                        <a:pt x="492" y="118"/>
                        <a:pt x="493" y="116"/>
                        <a:pt x="494" y="115"/>
                      </a:cubicBezTo>
                      <a:cubicBezTo>
                        <a:pt x="494" y="116"/>
                        <a:pt x="493" y="120"/>
                        <a:pt x="493" y="120"/>
                      </a:cubicBezTo>
                      <a:close/>
                      <a:moveTo>
                        <a:pt x="457" y="346"/>
                      </a:moveTo>
                      <a:cubicBezTo>
                        <a:pt x="452" y="346"/>
                        <a:pt x="448" y="345"/>
                        <a:pt x="445" y="342"/>
                      </a:cubicBezTo>
                      <a:cubicBezTo>
                        <a:pt x="444" y="341"/>
                        <a:pt x="444" y="341"/>
                        <a:pt x="444" y="341"/>
                      </a:cubicBezTo>
                      <a:cubicBezTo>
                        <a:pt x="443" y="340"/>
                        <a:pt x="442" y="339"/>
                        <a:pt x="441" y="338"/>
                      </a:cubicBezTo>
                      <a:cubicBezTo>
                        <a:pt x="440" y="336"/>
                        <a:pt x="439" y="335"/>
                        <a:pt x="438" y="333"/>
                      </a:cubicBezTo>
                      <a:cubicBezTo>
                        <a:pt x="437" y="331"/>
                        <a:pt x="435" y="330"/>
                        <a:pt x="433" y="329"/>
                      </a:cubicBezTo>
                      <a:cubicBezTo>
                        <a:pt x="431" y="328"/>
                        <a:pt x="430" y="327"/>
                        <a:pt x="428" y="326"/>
                      </a:cubicBezTo>
                      <a:cubicBezTo>
                        <a:pt x="430" y="326"/>
                        <a:pt x="433" y="326"/>
                        <a:pt x="435" y="327"/>
                      </a:cubicBezTo>
                      <a:cubicBezTo>
                        <a:pt x="437" y="328"/>
                        <a:pt x="439" y="329"/>
                        <a:pt x="440" y="330"/>
                      </a:cubicBezTo>
                      <a:cubicBezTo>
                        <a:pt x="443" y="332"/>
                        <a:pt x="445" y="334"/>
                        <a:pt x="447" y="336"/>
                      </a:cubicBezTo>
                      <a:cubicBezTo>
                        <a:pt x="448" y="338"/>
                        <a:pt x="450" y="340"/>
                        <a:pt x="453" y="342"/>
                      </a:cubicBezTo>
                      <a:cubicBezTo>
                        <a:pt x="453" y="342"/>
                        <a:pt x="454" y="342"/>
                        <a:pt x="454" y="343"/>
                      </a:cubicBezTo>
                      <a:cubicBezTo>
                        <a:pt x="455" y="344"/>
                        <a:pt x="456" y="345"/>
                        <a:pt x="457" y="345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8" y="346"/>
                      </a:cubicBezTo>
                      <a:cubicBezTo>
                        <a:pt x="458" y="346"/>
                        <a:pt x="458" y="346"/>
                        <a:pt x="457" y="346"/>
                      </a:cubicBezTo>
                      <a:close/>
                      <a:moveTo>
                        <a:pt x="567" y="79"/>
                      </a:moveTo>
                      <a:cubicBezTo>
                        <a:pt x="566" y="78"/>
                        <a:pt x="566" y="78"/>
                        <a:pt x="566" y="78"/>
                      </a:cubicBezTo>
                      <a:cubicBezTo>
                        <a:pt x="565" y="77"/>
                        <a:pt x="564" y="76"/>
                        <a:pt x="563" y="75"/>
                      </a:cubicBezTo>
                      <a:cubicBezTo>
                        <a:pt x="563" y="75"/>
                        <a:pt x="563" y="75"/>
                        <a:pt x="563" y="74"/>
                      </a:cubicBezTo>
                      <a:cubicBezTo>
                        <a:pt x="563" y="74"/>
                        <a:pt x="564" y="74"/>
                        <a:pt x="564" y="74"/>
                      </a:cubicBezTo>
                      <a:cubicBezTo>
                        <a:pt x="567" y="75"/>
                        <a:pt x="572" y="79"/>
                        <a:pt x="573" y="81"/>
                      </a:cubicBezTo>
                      <a:cubicBezTo>
                        <a:pt x="573" y="82"/>
                        <a:pt x="573" y="82"/>
                        <a:pt x="573" y="82"/>
                      </a:cubicBezTo>
                      <a:cubicBezTo>
                        <a:pt x="573" y="82"/>
                        <a:pt x="573" y="82"/>
                        <a:pt x="572" y="82"/>
                      </a:cubicBezTo>
                      <a:cubicBezTo>
                        <a:pt x="571" y="82"/>
                        <a:pt x="569" y="81"/>
                        <a:pt x="567" y="79"/>
                      </a:cubicBezTo>
                      <a:close/>
                      <a:moveTo>
                        <a:pt x="573" y="140"/>
                      </a:moveTo>
                      <a:cubicBezTo>
                        <a:pt x="573" y="140"/>
                        <a:pt x="574" y="140"/>
                        <a:pt x="574" y="140"/>
                      </a:cubicBezTo>
                      <a:cubicBezTo>
                        <a:pt x="574" y="140"/>
                        <a:pt x="574" y="140"/>
                        <a:pt x="574" y="140"/>
                      </a:cubicBezTo>
                      <a:cubicBezTo>
                        <a:pt x="575" y="140"/>
                        <a:pt x="575" y="141"/>
                        <a:pt x="575" y="142"/>
                      </a:cubicBezTo>
                      <a:cubicBezTo>
                        <a:pt x="575" y="142"/>
                        <a:pt x="576" y="143"/>
                        <a:pt x="576" y="144"/>
                      </a:cubicBezTo>
                      <a:cubicBezTo>
                        <a:pt x="575" y="143"/>
                        <a:pt x="574" y="142"/>
                        <a:pt x="573" y="140"/>
                      </a:cubicBezTo>
                      <a:close/>
                      <a:moveTo>
                        <a:pt x="739" y="259"/>
                      </a:moveTo>
                      <a:cubicBezTo>
                        <a:pt x="739" y="260"/>
                        <a:pt x="738" y="261"/>
                        <a:pt x="736" y="261"/>
                      </a:cubicBezTo>
                      <a:cubicBezTo>
                        <a:pt x="736" y="261"/>
                        <a:pt x="735" y="261"/>
                        <a:pt x="735" y="261"/>
                      </a:cubicBezTo>
                      <a:cubicBezTo>
                        <a:pt x="734" y="261"/>
                        <a:pt x="732" y="261"/>
                        <a:pt x="732" y="261"/>
                      </a:cubicBezTo>
                      <a:cubicBezTo>
                        <a:pt x="731" y="261"/>
                        <a:pt x="731" y="261"/>
                        <a:pt x="730" y="261"/>
                      </a:cubicBezTo>
                      <a:cubicBezTo>
                        <a:pt x="726" y="263"/>
                        <a:pt x="723" y="268"/>
                        <a:pt x="720" y="273"/>
                      </a:cubicBezTo>
                      <a:cubicBezTo>
                        <a:pt x="719" y="273"/>
                        <a:pt x="719" y="273"/>
                        <a:pt x="719" y="273"/>
                      </a:cubicBezTo>
                      <a:cubicBezTo>
                        <a:pt x="720" y="271"/>
                        <a:pt x="720" y="270"/>
                        <a:pt x="719" y="267"/>
                      </a:cubicBezTo>
                      <a:cubicBezTo>
                        <a:pt x="717" y="262"/>
                        <a:pt x="714" y="259"/>
                        <a:pt x="710" y="258"/>
                      </a:cubicBezTo>
                      <a:cubicBezTo>
                        <a:pt x="712" y="254"/>
                        <a:pt x="713" y="250"/>
                        <a:pt x="713" y="246"/>
                      </a:cubicBezTo>
                      <a:cubicBezTo>
                        <a:pt x="716" y="247"/>
                        <a:pt x="719" y="249"/>
                        <a:pt x="723" y="250"/>
                      </a:cubicBezTo>
                      <a:cubicBezTo>
                        <a:pt x="725" y="250"/>
                        <a:pt x="727" y="251"/>
                        <a:pt x="729" y="251"/>
                      </a:cubicBezTo>
                      <a:cubicBezTo>
                        <a:pt x="731" y="251"/>
                        <a:pt x="734" y="251"/>
                        <a:pt x="736" y="252"/>
                      </a:cubicBezTo>
                      <a:cubicBezTo>
                        <a:pt x="738" y="253"/>
                        <a:pt x="739" y="255"/>
                        <a:pt x="740" y="257"/>
                      </a:cubicBezTo>
                      <a:cubicBezTo>
                        <a:pt x="740" y="258"/>
                        <a:pt x="740" y="259"/>
                        <a:pt x="739" y="25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C8D23FA4-ECE6-BA4D-B828-66AFA8D50052}"/>
                  </a:ext>
                </a:extLst>
              </p:cNvPr>
              <p:cNvGrpSpPr/>
              <p:nvPr/>
            </p:nvGrpSpPr>
            <p:grpSpPr>
              <a:xfrm>
                <a:off x="4410830" y="4079456"/>
                <a:ext cx="5642717" cy="3444941"/>
                <a:chOff x="7094999" y="3116146"/>
                <a:chExt cx="10311633" cy="6388226"/>
              </a:xfrm>
            </p:grpSpPr>
            <p:sp>
              <p:nvSpPr>
                <p:cNvPr id="276" name="Freeform 10">
                  <a:extLst>
                    <a:ext uri="{FF2B5EF4-FFF2-40B4-BE49-F238E27FC236}">
                      <a16:creationId xmlns:a16="http://schemas.microsoft.com/office/drawing/2014/main" id="{4FC000B9-F767-734F-9E2F-9E16C53116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21111069" flipH="1">
                  <a:off x="16215513" y="9404408"/>
                  <a:ext cx="234249" cy="99964"/>
                </a:xfrm>
                <a:custGeom>
                  <a:avLst/>
                  <a:gdLst>
                    <a:gd name="T0" fmla="*/ 24 w 151"/>
                    <a:gd name="T1" fmla="*/ 95 h 96"/>
                    <a:gd name="T2" fmla="*/ 24 w 151"/>
                    <a:gd name="T3" fmla="*/ 95 h 96"/>
                    <a:gd name="T4" fmla="*/ 24 w 151"/>
                    <a:gd name="T5" fmla="*/ 95 h 96"/>
                    <a:gd name="T6" fmla="*/ 24 w 151"/>
                    <a:gd name="T7" fmla="*/ 95 h 96"/>
                    <a:gd name="T8" fmla="*/ 0 w 151"/>
                    <a:gd name="T9" fmla="*/ 87 h 96"/>
                    <a:gd name="T10" fmla="*/ 0 w 151"/>
                    <a:gd name="T11" fmla="*/ 79 h 96"/>
                    <a:gd name="T12" fmla="*/ 0 w 151"/>
                    <a:gd name="T13" fmla="*/ 72 h 96"/>
                    <a:gd name="T14" fmla="*/ 24 w 151"/>
                    <a:gd name="T15" fmla="*/ 56 h 96"/>
                    <a:gd name="T16" fmla="*/ 48 w 151"/>
                    <a:gd name="T17" fmla="*/ 48 h 96"/>
                    <a:gd name="T18" fmla="*/ 103 w 151"/>
                    <a:gd name="T19" fmla="*/ 32 h 96"/>
                    <a:gd name="T20" fmla="*/ 127 w 151"/>
                    <a:gd name="T21" fmla="*/ 24 h 96"/>
                    <a:gd name="T22" fmla="*/ 127 w 151"/>
                    <a:gd name="T23" fmla="*/ 8 h 96"/>
                    <a:gd name="T24" fmla="*/ 127 w 151"/>
                    <a:gd name="T25" fmla="*/ 0 h 96"/>
                    <a:gd name="T26" fmla="*/ 134 w 151"/>
                    <a:gd name="T27" fmla="*/ 0 h 96"/>
                    <a:gd name="T28" fmla="*/ 142 w 151"/>
                    <a:gd name="T29" fmla="*/ 16 h 96"/>
                    <a:gd name="T30" fmla="*/ 142 w 151"/>
                    <a:gd name="T31" fmla="*/ 24 h 96"/>
                    <a:gd name="T32" fmla="*/ 134 w 151"/>
                    <a:gd name="T33" fmla="*/ 32 h 96"/>
                    <a:gd name="T34" fmla="*/ 134 w 151"/>
                    <a:gd name="T35" fmla="*/ 32 h 96"/>
                    <a:gd name="T36" fmla="*/ 119 w 151"/>
                    <a:gd name="T37" fmla="*/ 40 h 96"/>
                    <a:gd name="T38" fmla="*/ 111 w 151"/>
                    <a:gd name="T39" fmla="*/ 40 h 96"/>
                    <a:gd name="T40" fmla="*/ 111 w 151"/>
                    <a:gd name="T41" fmla="*/ 48 h 96"/>
                    <a:gd name="T42" fmla="*/ 71 w 151"/>
                    <a:gd name="T43" fmla="*/ 72 h 96"/>
                    <a:gd name="T44" fmla="*/ 55 w 151"/>
                    <a:gd name="T45" fmla="*/ 79 h 96"/>
                    <a:gd name="T46" fmla="*/ 24 w 151"/>
                    <a:gd name="T47" fmla="*/ 95 h 96"/>
                    <a:gd name="T48" fmla="*/ 8 w 151"/>
                    <a:gd name="T49" fmla="*/ 72 h 96"/>
                    <a:gd name="T50" fmla="*/ 8 w 151"/>
                    <a:gd name="T51" fmla="*/ 72 h 96"/>
                    <a:gd name="T52" fmla="*/ 8 w 151"/>
                    <a:gd name="T53" fmla="*/ 79 h 96"/>
                    <a:gd name="T54" fmla="*/ 8 w 151"/>
                    <a:gd name="T55" fmla="*/ 87 h 96"/>
                    <a:gd name="T56" fmla="*/ 24 w 151"/>
                    <a:gd name="T57" fmla="*/ 87 h 96"/>
                    <a:gd name="T58" fmla="*/ 24 w 151"/>
                    <a:gd name="T59" fmla="*/ 87 h 96"/>
                    <a:gd name="T60" fmla="*/ 48 w 151"/>
                    <a:gd name="T61" fmla="*/ 72 h 96"/>
                    <a:gd name="T62" fmla="*/ 71 w 151"/>
                    <a:gd name="T63" fmla="*/ 64 h 96"/>
                    <a:gd name="T64" fmla="*/ 103 w 151"/>
                    <a:gd name="T65" fmla="*/ 48 h 96"/>
                    <a:gd name="T66" fmla="*/ 111 w 151"/>
                    <a:gd name="T67" fmla="*/ 32 h 96"/>
                    <a:gd name="T68" fmla="*/ 103 w 151"/>
                    <a:gd name="T69" fmla="*/ 32 h 96"/>
                    <a:gd name="T70" fmla="*/ 55 w 151"/>
                    <a:gd name="T71" fmla="*/ 48 h 96"/>
                    <a:gd name="T72" fmla="*/ 24 w 151"/>
                    <a:gd name="T73" fmla="*/ 64 h 96"/>
                    <a:gd name="T74" fmla="*/ 8 w 151"/>
                    <a:gd name="T75" fmla="*/ 72 h 96"/>
                    <a:gd name="T76" fmla="*/ 134 w 151"/>
                    <a:gd name="T77" fmla="*/ 8 h 96"/>
                    <a:gd name="T78" fmla="*/ 134 w 151"/>
                    <a:gd name="T79" fmla="*/ 8 h 96"/>
                    <a:gd name="T80" fmla="*/ 134 w 151"/>
                    <a:gd name="T81" fmla="*/ 24 h 96"/>
                    <a:gd name="T82" fmla="*/ 134 w 151"/>
                    <a:gd name="T83" fmla="*/ 24 h 96"/>
                    <a:gd name="T84" fmla="*/ 134 w 151"/>
                    <a:gd name="T85" fmla="*/ 24 h 96"/>
                    <a:gd name="T86" fmla="*/ 134 w 151"/>
                    <a:gd name="T87" fmla="*/ 16 h 96"/>
                    <a:gd name="T88" fmla="*/ 134 w 151"/>
                    <a:gd name="T89" fmla="*/ 8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51" h="96">
                      <a:moveTo>
                        <a:pt x="24" y="95"/>
                      </a:moveTo>
                      <a:lnTo>
                        <a:pt x="24" y="95"/>
                      </a:lnTo>
                      <a:lnTo>
                        <a:pt x="24" y="95"/>
                      </a:lnTo>
                      <a:lnTo>
                        <a:pt x="24" y="95"/>
                      </a:lnTo>
                      <a:cubicBezTo>
                        <a:pt x="8" y="95"/>
                        <a:pt x="8" y="95"/>
                        <a:pt x="0" y="87"/>
                      </a:cubicBezTo>
                      <a:lnTo>
                        <a:pt x="0" y="79"/>
                      </a:lnTo>
                      <a:cubicBezTo>
                        <a:pt x="0" y="79"/>
                        <a:pt x="0" y="79"/>
                        <a:pt x="0" y="72"/>
                      </a:cubicBezTo>
                      <a:cubicBezTo>
                        <a:pt x="0" y="72"/>
                        <a:pt x="8" y="64"/>
                        <a:pt x="24" y="56"/>
                      </a:cubicBezTo>
                      <a:cubicBezTo>
                        <a:pt x="32" y="56"/>
                        <a:pt x="48" y="48"/>
                        <a:pt x="48" y="48"/>
                      </a:cubicBezTo>
                      <a:cubicBezTo>
                        <a:pt x="63" y="32"/>
                        <a:pt x="79" y="32"/>
                        <a:pt x="103" y="32"/>
                      </a:cubicBezTo>
                      <a:cubicBezTo>
                        <a:pt x="111" y="24"/>
                        <a:pt x="127" y="24"/>
                        <a:pt x="127" y="24"/>
                      </a:cubicBezTo>
                      <a:lnTo>
                        <a:pt x="127" y="8"/>
                      </a:ln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127" y="0"/>
                        <a:pt x="127" y="0"/>
                        <a:pt x="134" y="0"/>
                      </a:cubicBezTo>
                      <a:cubicBezTo>
                        <a:pt x="142" y="0"/>
                        <a:pt x="142" y="8"/>
                        <a:pt x="142" y="16"/>
                      </a:cubicBezTo>
                      <a:cubicBezTo>
                        <a:pt x="150" y="24"/>
                        <a:pt x="142" y="24"/>
                        <a:pt x="142" y="24"/>
                      </a:cubicBezTo>
                      <a:cubicBezTo>
                        <a:pt x="142" y="32"/>
                        <a:pt x="134" y="32"/>
                        <a:pt x="134" y="32"/>
                      </a:cubicBezTo>
                      <a:lnTo>
                        <a:pt x="134" y="32"/>
                      </a:lnTo>
                      <a:cubicBezTo>
                        <a:pt x="127" y="40"/>
                        <a:pt x="119" y="40"/>
                        <a:pt x="119" y="40"/>
                      </a:cubicBezTo>
                      <a:lnTo>
                        <a:pt x="111" y="40"/>
                      </a:lnTo>
                      <a:lnTo>
                        <a:pt x="111" y="48"/>
                      </a:lnTo>
                      <a:cubicBezTo>
                        <a:pt x="111" y="56"/>
                        <a:pt x="95" y="72"/>
                        <a:pt x="71" y="72"/>
                      </a:cubicBezTo>
                      <a:cubicBezTo>
                        <a:pt x="63" y="72"/>
                        <a:pt x="63" y="72"/>
                        <a:pt x="55" y="79"/>
                      </a:cubicBezTo>
                      <a:cubicBezTo>
                        <a:pt x="48" y="87"/>
                        <a:pt x="39" y="95"/>
                        <a:pt x="24" y="95"/>
                      </a:cubicBezTo>
                      <a:close/>
                      <a:moveTo>
                        <a:pt x="8" y="72"/>
                      </a:moveTo>
                      <a:lnTo>
                        <a:pt x="8" y="72"/>
                      </a:lnTo>
                      <a:cubicBezTo>
                        <a:pt x="8" y="79"/>
                        <a:pt x="8" y="79"/>
                        <a:pt x="8" y="79"/>
                      </a:cubicBezTo>
                      <a:cubicBezTo>
                        <a:pt x="8" y="79"/>
                        <a:pt x="8" y="79"/>
                        <a:pt x="8" y="87"/>
                      </a:cubicBezTo>
                      <a:cubicBezTo>
                        <a:pt x="8" y="87"/>
                        <a:pt x="8" y="87"/>
                        <a:pt x="24" y="87"/>
                      </a:cubicBezTo>
                      <a:lnTo>
                        <a:pt x="24" y="87"/>
                      </a:lnTo>
                      <a:cubicBezTo>
                        <a:pt x="39" y="87"/>
                        <a:pt x="48" y="79"/>
                        <a:pt x="48" y="72"/>
                      </a:cubicBezTo>
                      <a:cubicBezTo>
                        <a:pt x="55" y="64"/>
                        <a:pt x="63" y="64"/>
                        <a:pt x="71" y="64"/>
                      </a:cubicBezTo>
                      <a:cubicBezTo>
                        <a:pt x="95" y="64"/>
                        <a:pt x="103" y="48"/>
                        <a:pt x="103" y="48"/>
                      </a:cubicBezTo>
                      <a:cubicBezTo>
                        <a:pt x="103" y="40"/>
                        <a:pt x="103" y="40"/>
                        <a:pt x="111" y="32"/>
                      </a:cubicBezTo>
                      <a:cubicBezTo>
                        <a:pt x="103" y="32"/>
                        <a:pt x="103" y="32"/>
                        <a:pt x="103" y="32"/>
                      </a:cubicBezTo>
                      <a:cubicBezTo>
                        <a:pt x="87" y="40"/>
                        <a:pt x="63" y="40"/>
                        <a:pt x="55" y="48"/>
                      </a:cubicBezTo>
                      <a:cubicBezTo>
                        <a:pt x="48" y="56"/>
                        <a:pt x="39" y="64"/>
                        <a:pt x="24" y="64"/>
                      </a:cubicBezTo>
                      <a:cubicBezTo>
                        <a:pt x="16" y="72"/>
                        <a:pt x="8" y="72"/>
                        <a:pt x="8" y="72"/>
                      </a:cubicBezTo>
                      <a:close/>
                      <a:moveTo>
                        <a:pt x="134" y="8"/>
                      </a:moveTo>
                      <a:lnTo>
                        <a:pt x="134" y="8"/>
                      </a:lnTo>
                      <a:cubicBezTo>
                        <a:pt x="134" y="8"/>
                        <a:pt x="134" y="16"/>
                        <a:pt x="134" y="24"/>
                      </a:cubicBezTo>
                      <a:lnTo>
                        <a:pt x="134" y="24"/>
                      </a:lnTo>
                      <a:lnTo>
                        <a:pt x="134" y="24"/>
                      </a:lnTo>
                      <a:cubicBezTo>
                        <a:pt x="134" y="24"/>
                        <a:pt x="142" y="16"/>
                        <a:pt x="134" y="16"/>
                      </a:cubicBezTo>
                      <a:cubicBezTo>
                        <a:pt x="134" y="8"/>
                        <a:pt x="134" y="8"/>
                        <a:pt x="134" y="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7" name="Freeform 11">
                  <a:extLst>
                    <a:ext uri="{FF2B5EF4-FFF2-40B4-BE49-F238E27FC236}">
                      <a16:creationId xmlns:a16="http://schemas.microsoft.com/office/drawing/2014/main" id="{CC779C4D-DF47-A041-85FD-0BB8592791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40247" y="6757457"/>
                  <a:ext cx="2785487" cy="2690395"/>
                </a:xfrm>
                <a:custGeom>
                  <a:avLst/>
                  <a:gdLst>
                    <a:gd name="T0" fmla="*/ 5193 w 5297"/>
                    <a:gd name="T1" fmla="*/ 3170 h 5116"/>
                    <a:gd name="T2" fmla="*/ 5217 w 5297"/>
                    <a:gd name="T3" fmla="*/ 2965 h 5116"/>
                    <a:gd name="T4" fmla="*/ 5272 w 5297"/>
                    <a:gd name="T5" fmla="*/ 2799 h 5116"/>
                    <a:gd name="T6" fmla="*/ 5232 w 5297"/>
                    <a:gd name="T7" fmla="*/ 2498 h 5116"/>
                    <a:gd name="T8" fmla="*/ 5114 w 5297"/>
                    <a:gd name="T9" fmla="*/ 2237 h 5116"/>
                    <a:gd name="T10" fmla="*/ 4956 w 5297"/>
                    <a:gd name="T11" fmla="*/ 1431 h 5116"/>
                    <a:gd name="T12" fmla="*/ 4766 w 5297"/>
                    <a:gd name="T13" fmla="*/ 1376 h 5116"/>
                    <a:gd name="T14" fmla="*/ 4497 w 5297"/>
                    <a:gd name="T15" fmla="*/ 1320 h 5116"/>
                    <a:gd name="T16" fmla="*/ 4292 w 5297"/>
                    <a:gd name="T17" fmla="*/ 1312 h 5116"/>
                    <a:gd name="T18" fmla="*/ 4008 w 5297"/>
                    <a:gd name="T19" fmla="*/ 1305 h 5116"/>
                    <a:gd name="T20" fmla="*/ 3881 w 5297"/>
                    <a:gd name="T21" fmla="*/ 1336 h 5116"/>
                    <a:gd name="T22" fmla="*/ 3739 w 5297"/>
                    <a:gd name="T23" fmla="*/ 1312 h 5116"/>
                    <a:gd name="T24" fmla="*/ 3518 w 5297"/>
                    <a:gd name="T25" fmla="*/ 1320 h 5116"/>
                    <a:gd name="T26" fmla="*/ 3399 w 5297"/>
                    <a:gd name="T27" fmla="*/ 1194 h 5116"/>
                    <a:gd name="T28" fmla="*/ 3202 w 5297"/>
                    <a:gd name="T29" fmla="*/ 1194 h 5116"/>
                    <a:gd name="T30" fmla="*/ 2980 w 5297"/>
                    <a:gd name="T31" fmla="*/ 1028 h 5116"/>
                    <a:gd name="T32" fmla="*/ 2759 w 5297"/>
                    <a:gd name="T33" fmla="*/ 55 h 5116"/>
                    <a:gd name="T34" fmla="*/ 39 w 5297"/>
                    <a:gd name="T35" fmla="*/ 2024 h 5116"/>
                    <a:gd name="T36" fmla="*/ 253 w 5297"/>
                    <a:gd name="T37" fmla="*/ 2316 h 5116"/>
                    <a:gd name="T38" fmla="*/ 672 w 5297"/>
                    <a:gd name="T39" fmla="*/ 2719 h 5116"/>
                    <a:gd name="T40" fmla="*/ 798 w 5297"/>
                    <a:gd name="T41" fmla="*/ 3178 h 5116"/>
                    <a:gd name="T42" fmla="*/ 1154 w 5297"/>
                    <a:gd name="T43" fmla="*/ 3431 h 5116"/>
                    <a:gd name="T44" fmla="*/ 1541 w 5297"/>
                    <a:gd name="T45" fmla="*/ 3265 h 5116"/>
                    <a:gd name="T46" fmla="*/ 1889 w 5297"/>
                    <a:gd name="T47" fmla="*/ 3178 h 5116"/>
                    <a:gd name="T48" fmla="*/ 2324 w 5297"/>
                    <a:gd name="T49" fmla="*/ 3463 h 5116"/>
                    <a:gd name="T50" fmla="*/ 2704 w 5297"/>
                    <a:gd name="T51" fmla="*/ 4134 h 5116"/>
                    <a:gd name="T52" fmla="*/ 2870 w 5297"/>
                    <a:gd name="T53" fmla="*/ 4411 h 5116"/>
                    <a:gd name="T54" fmla="*/ 3012 w 5297"/>
                    <a:gd name="T55" fmla="*/ 4806 h 5116"/>
                    <a:gd name="T56" fmla="*/ 3423 w 5297"/>
                    <a:gd name="T57" fmla="*/ 4988 h 5116"/>
                    <a:gd name="T58" fmla="*/ 3747 w 5297"/>
                    <a:gd name="T59" fmla="*/ 5107 h 5116"/>
                    <a:gd name="T60" fmla="*/ 3826 w 5297"/>
                    <a:gd name="T61" fmla="*/ 5036 h 5116"/>
                    <a:gd name="T62" fmla="*/ 3747 w 5297"/>
                    <a:gd name="T63" fmla="*/ 4901 h 5116"/>
                    <a:gd name="T64" fmla="*/ 3660 w 5297"/>
                    <a:gd name="T65" fmla="*/ 4593 h 5116"/>
                    <a:gd name="T66" fmla="*/ 3755 w 5297"/>
                    <a:gd name="T67" fmla="*/ 4743 h 5116"/>
                    <a:gd name="T68" fmla="*/ 3779 w 5297"/>
                    <a:gd name="T69" fmla="*/ 4712 h 5116"/>
                    <a:gd name="T70" fmla="*/ 3668 w 5297"/>
                    <a:gd name="T71" fmla="*/ 4435 h 5116"/>
                    <a:gd name="T72" fmla="*/ 3715 w 5297"/>
                    <a:gd name="T73" fmla="*/ 4403 h 5116"/>
                    <a:gd name="T74" fmla="*/ 3834 w 5297"/>
                    <a:gd name="T75" fmla="*/ 4222 h 5116"/>
                    <a:gd name="T76" fmla="*/ 3771 w 5297"/>
                    <a:gd name="T77" fmla="*/ 4253 h 5116"/>
                    <a:gd name="T78" fmla="*/ 3771 w 5297"/>
                    <a:gd name="T79" fmla="*/ 4142 h 5116"/>
                    <a:gd name="T80" fmla="*/ 3826 w 5297"/>
                    <a:gd name="T81" fmla="*/ 4056 h 5116"/>
                    <a:gd name="T82" fmla="*/ 3992 w 5297"/>
                    <a:gd name="T83" fmla="*/ 3937 h 5116"/>
                    <a:gd name="T84" fmla="*/ 4094 w 5297"/>
                    <a:gd name="T85" fmla="*/ 3921 h 5116"/>
                    <a:gd name="T86" fmla="*/ 4110 w 5297"/>
                    <a:gd name="T87" fmla="*/ 3858 h 5116"/>
                    <a:gd name="T88" fmla="*/ 4157 w 5297"/>
                    <a:gd name="T89" fmla="*/ 3803 h 5116"/>
                    <a:gd name="T90" fmla="*/ 4220 w 5297"/>
                    <a:gd name="T91" fmla="*/ 3874 h 5116"/>
                    <a:gd name="T92" fmla="*/ 4473 w 5297"/>
                    <a:gd name="T93" fmla="*/ 3723 h 5116"/>
                    <a:gd name="T94" fmla="*/ 4750 w 5297"/>
                    <a:gd name="T95" fmla="*/ 3407 h 5116"/>
                    <a:gd name="T96" fmla="*/ 4766 w 5297"/>
                    <a:gd name="T97" fmla="*/ 3305 h 5116"/>
                    <a:gd name="T98" fmla="*/ 4813 w 5297"/>
                    <a:gd name="T99" fmla="*/ 3328 h 5116"/>
                    <a:gd name="T100" fmla="*/ 4790 w 5297"/>
                    <a:gd name="T101" fmla="*/ 3447 h 5116"/>
                    <a:gd name="T102" fmla="*/ 4797 w 5297"/>
                    <a:gd name="T103" fmla="*/ 3478 h 5116"/>
                    <a:gd name="T104" fmla="*/ 5185 w 5297"/>
                    <a:gd name="T105" fmla="*/ 3265 h 5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5297" h="5116">
                      <a:moveTo>
                        <a:pt x="5169" y="3249"/>
                      </a:moveTo>
                      <a:lnTo>
                        <a:pt x="5169" y="3249"/>
                      </a:lnTo>
                      <a:cubicBezTo>
                        <a:pt x="5161" y="3241"/>
                        <a:pt x="5145" y="3233"/>
                        <a:pt x="5153" y="3217"/>
                      </a:cubicBezTo>
                      <a:cubicBezTo>
                        <a:pt x="5161" y="3202"/>
                        <a:pt x="5177" y="3186"/>
                        <a:pt x="5193" y="3170"/>
                      </a:cubicBezTo>
                      <a:cubicBezTo>
                        <a:pt x="5217" y="3146"/>
                        <a:pt x="5209" y="3123"/>
                        <a:pt x="5217" y="3107"/>
                      </a:cubicBezTo>
                      <a:cubicBezTo>
                        <a:pt x="5232" y="3091"/>
                        <a:pt x="5240" y="3099"/>
                        <a:pt x="5240" y="3083"/>
                      </a:cubicBezTo>
                      <a:cubicBezTo>
                        <a:pt x="5240" y="3059"/>
                        <a:pt x="5248" y="3043"/>
                        <a:pt x="5232" y="3020"/>
                      </a:cubicBezTo>
                      <a:cubicBezTo>
                        <a:pt x="5224" y="2996"/>
                        <a:pt x="5209" y="2980"/>
                        <a:pt x="5217" y="2965"/>
                      </a:cubicBezTo>
                      <a:cubicBezTo>
                        <a:pt x="5217" y="2957"/>
                        <a:pt x="5224" y="2925"/>
                        <a:pt x="5232" y="2925"/>
                      </a:cubicBezTo>
                      <a:cubicBezTo>
                        <a:pt x="5248" y="2925"/>
                        <a:pt x="5248" y="2901"/>
                        <a:pt x="5240" y="2886"/>
                      </a:cubicBezTo>
                      <a:cubicBezTo>
                        <a:pt x="5232" y="2870"/>
                        <a:pt x="5193" y="2878"/>
                        <a:pt x="5217" y="2854"/>
                      </a:cubicBezTo>
                      <a:cubicBezTo>
                        <a:pt x="5248" y="2822"/>
                        <a:pt x="5248" y="2838"/>
                        <a:pt x="5272" y="2799"/>
                      </a:cubicBezTo>
                      <a:cubicBezTo>
                        <a:pt x="5288" y="2759"/>
                        <a:pt x="5288" y="2727"/>
                        <a:pt x="5288" y="2712"/>
                      </a:cubicBezTo>
                      <a:cubicBezTo>
                        <a:pt x="5288" y="2688"/>
                        <a:pt x="5280" y="2672"/>
                        <a:pt x="5288" y="2648"/>
                      </a:cubicBezTo>
                      <a:cubicBezTo>
                        <a:pt x="5296" y="2617"/>
                        <a:pt x="5288" y="2585"/>
                        <a:pt x="5272" y="2553"/>
                      </a:cubicBezTo>
                      <a:cubicBezTo>
                        <a:pt x="5256" y="2522"/>
                        <a:pt x="5232" y="2546"/>
                        <a:pt x="5232" y="2498"/>
                      </a:cubicBezTo>
                      <a:cubicBezTo>
                        <a:pt x="5232" y="2459"/>
                        <a:pt x="5217" y="2435"/>
                        <a:pt x="5201" y="2419"/>
                      </a:cubicBezTo>
                      <a:cubicBezTo>
                        <a:pt x="5185" y="2403"/>
                        <a:pt x="5161" y="2403"/>
                        <a:pt x="5169" y="2380"/>
                      </a:cubicBezTo>
                      <a:cubicBezTo>
                        <a:pt x="5177" y="2356"/>
                        <a:pt x="5185" y="2348"/>
                        <a:pt x="5177" y="2316"/>
                      </a:cubicBezTo>
                      <a:cubicBezTo>
                        <a:pt x="5161" y="2277"/>
                        <a:pt x="5130" y="2261"/>
                        <a:pt x="5114" y="2237"/>
                      </a:cubicBezTo>
                      <a:cubicBezTo>
                        <a:pt x="5098" y="2213"/>
                        <a:pt x="5066" y="2198"/>
                        <a:pt x="5066" y="2198"/>
                      </a:cubicBezTo>
                      <a:cubicBezTo>
                        <a:pt x="5059" y="1455"/>
                        <a:pt x="5059" y="1455"/>
                        <a:pt x="5059" y="1455"/>
                      </a:cubicBezTo>
                      <a:cubicBezTo>
                        <a:pt x="5059" y="1455"/>
                        <a:pt x="5043" y="1431"/>
                        <a:pt x="5019" y="1431"/>
                      </a:cubicBezTo>
                      <a:cubicBezTo>
                        <a:pt x="4987" y="1431"/>
                        <a:pt x="4964" y="1423"/>
                        <a:pt x="4956" y="1431"/>
                      </a:cubicBezTo>
                      <a:cubicBezTo>
                        <a:pt x="4940" y="1431"/>
                        <a:pt x="4948" y="1478"/>
                        <a:pt x="4924" y="1463"/>
                      </a:cubicBezTo>
                      <a:cubicBezTo>
                        <a:pt x="4900" y="1439"/>
                        <a:pt x="4916" y="1399"/>
                        <a:pt x="4884" y="1399"/>
                      </a:cubicBezTo>
                      <a:cubicBezTo>
                        <a:pt x="4853" y="1391"/>
                        <a:pt x="4869" y="1407"/>
                        <a:pt x="4829" y="1407"/>
                      </a:cubicBezTo>
                      <a:cubicBezTo>
                        <a:pt x="4797" y="1407"/>
                        <a:pt x="4774" y="1391"/>
                        <a:pt x="4766" y="1376"/>
                      </a:cubicBezTo>
                      <a:cubicBezTo>
                        <a:pt x="4758" y="1368"/>
                        <a:pt x="4726" y="1376"/>
                        <a:pt x="4687" y="1328"/>
                      </a:cubicBezTo>
                      <a:cubicBezTo>
                        <a:pt x="4647" y="1281"/>
                        <a:pt x="4624" y="1265"/>
                        <a:pt x="4600" y="1265"/>
                      </a:cubicBezTo>
                      <a:cubicBezTo>
                        <a:pt x="4576" y="1265"/>
                        <a:pt x="4568" y="1289"/>
                        <a:pt x="4553" y="1305"/>
                      </a:cubicBezTo>
                      <a:cubicBezTo>
                        <a:pt x="4544" y="1320"/>
                        <a:pt x="4529" y="1344"/>
                        <a:pt x="4497" y="1320"/>
                      </a:cubicBezTo>
                      <a:cubicBezTo>
                        <a:pt x="4466" y="1296"/>
                        <a:pt x="4473" y="1281"/>
                        <a:pt x="4450" y="1281"/>
                      </a:cubicBezTo>
                      <a:cubicBezTo>
                        <a:pt x="4434" y="1281"/>
                        <a:pt x="4386" y="1281"/>
                        <a:pt x="4386" y="1305"/>
                      </a:cubicBezTo>
                      <a:cubicBezTo>
                        <a:pt x="4379" y="1336"/>
                        <a:pt x="4363" y="1360"/>
                        <a:pt x="4331" y="1344"/>
                      </a:cubicBezTo>
                      <a:cubicBezTo>
                        <a:pt x="4307" y="1320"/>
                        <a:pt x="4323" y="1305"/>
                        <a:pt x="4292" y="1312"/>
                      </a:cubicBezTo>
                      <a:cubicBezTo>
                        <a:pt x="4252" y="1320"/>
                        <a:pt x="4220" y="1344"/>
                        <a:pt x="4204" y="1368"/>
                      </a:cubicBezTo>
                      <a:cubicBezTo>
                        <a:pt x="4181" y="1391"/>
                        <a:pt x="4165" y="1423"/>
                        <a:pt x="4141" y="1399"/>
                      </a:cubicBezTo>
                      <a:cubicBezTo>
                        <a:pt x="4110" y="1383"/>
                        <a:pt x="4094" y="1368"/>
                        <a:pt x="4062" y="1336"/>
                      </a:cubicBezTo>
                      <a:cubicBezTo>
                        <a:pt x="4039" y="1312"/>
                        <a:pt x="4016" y="1281"/>
                        <a:pt x="4008" y="1305"/>
                      </a:cubicBezTo>
                      <a:cubicBezTo>
                        <a:pt x="4000" y="1328"/>
                        <a:pt x="3992" y="1352"/>
                        <a:pt x="3976" y="1336"/>
                      </a:cubicBezTo>
                      <a:cubicBezTo>
                        <a:pt x="3953" y="1312"/>
                        <a:pt x="3945" y="1296"/>
                        <a:pt x="3929" y="1281"/>
                      </a:cubicBezTo>
                      <a:cubicBezTo>
                        <a:pt x="3913" y="1273"/>
                        <a:pt x="3913" y="1241"/>
                        <a:pt x="3897" y="1273"/>
                      </a:cubicBezTo>
                      <a:cubicBezTo>
                        <a:pt x="3881" y="1312"/>
                        <a:pt x="3881" y="1305"/>
                        <a:pt x="3881" y="1336"/>
                      </a:cubicBezTo>
                      <a:cubicBezTo>
                        <a:pt x="3881" y="1360"/>
                        <a:pt x="3874" y="1399"/>
                        <a:pt x="3858" y="1391"/>
                      </a:cubicBezTo>
                      <a:cubicBezTo>
                        <a:pt x="3842" y="1383"/>
                        <a:pt x="3818" y="1383"/>
                        <a:pt x="3826" y="1352"/>
                      </a:cubicBezTo>
                      <a:cubicBezTo>
                        <a:pt x="3834" y="1320"/>
                        <a:pt x="3842" y="1305"/>
                        <a:pt x="3826" y="1305"/>
                      </a:cubicBezTo>
                      <a:cubicBezTo>
                        <a:pt x="3810" y="1305"/>
                        <a:pt x="3739" y="1296"/>
                        <a:pt x="3739" y="1312"/>
                      </a:cubicBezTo>
                      <a:cubicBezTo>
                        <a:pt x="3739" y="1336"/>
                        <a:pt x="3708" y="1336"/>
                        <a:pt x="3692" y="1320"/>
                      </a:cubicBezTo>
                      <a:cubicBezTo>
                        <a:pt x="3684" y="1305"/>
                        <a:pt x="3676" y="1289"/>
                        <a:pt x="3644" y="1281"/>
                      </a:cubicBezTo>
                      <a:cubicBezTo>
                        <a:pt x="3613" y="1273"/>
                        <a:pt x="3589" y="1273"/>
                        <a:pt x="3581" y="1296"/>
                      </a:cubicBezTo>
                      <a:cubicBezTo>
                        <a:pt x="3565" y="1312"/>
                        <a:pt x="3534" y="1352"/>
                        <a:pt x="3518" y="1320"/>
                      </a:cubicBezTo>
                      <a:cubicBezTo>
                        <a:pt x="3510" y="1296"/>
                        <a:pt x="3526" y="1265"/>
                        <a:pt x="3510" y="1249"/>
                      </a:cubicBezTo>
                      <a:cubicBezTo>
                        <a:pt x="3486" y="1241"/>
                        <a:pt x="3478" y="1249"/>
                        <a:pt x="3478" y="1225"/>
                      </a:cubicBezTo>
                      <a:cubicBezTo>
                        <a:pt x="3478" y="1202"/>
                        <a:pt x="3486" y="1186"/>
                        <a:pt x="3462" y="1186"/>
                      </a:cubicBezTo>
                      <a:cubicBezTo>
                        <a:pt x="3431" y="1186"/>
                        <a:pt x="3407" y="1178"/>
                        <a:pt x="3399" y="1194"/>
                      </a:cubicBezTo>
                      <a:cubicBezTo>
                        <a:pt x="3399" y="1202"/>
                        <a:pt x="3375" y="1178"/>
                        <a:pt x="3368" y="1210"/>
                      </a:cubicBezTo>
                      <a:cubicBezTo>
                        <a:pt x="3360" y="1241"/>
                        <a:pt x="3328" y="1249"/>
                        <a:pt x="3320" y="1225"/>
                      </a:cubicBezTo>
                      <a:cubicBezTo>
                        <a:pt x="3320" y="1202"/>
                        <a:pt x="3320" y="1194"/>
                        <a:pt x="3289" y="1186"/>
                      </a:cubicBezTo>
                      <a:cubicBezTo>
                        <a:pt x="3257" y="1186"/>
                        <a:pt x="3225" y="1210"/>
                        <a:pt x="3202" y="1194"/>
                      </a:cubicBezTo>
                      <a:cubicBezTo>
                        <a:pt x="3202" y="1194"/>
                        <a:pt x="3186" y="1162"/>
                        <a:pt x="3146" y="1162"/>
                      </a:cubicBezTo>
                      <a:cubicBezTo>
                        <a:pt x="3099" y="1170"/>
                        <a:pt x="3091" y="1154"/>
                        <a:pt x="3059" y="1146"/>
                      </a:cubicBezTo>
                      <a:cubicBezTo>
                        <a:pt x="3028" y="1138"/>
                        <a:pt x="3036" y="1099"/>
                        <a:pt x="3028" y="1075"/>
                      </a:cubicBezTo>
                      <a:cubicBezTo>
                        <a:pt x="3012" y="1052"/>
                        <a:pt x="2996" y="1020"/>
                        <a:pt x="2980" y="1028"/>
                      </a:cubicBezTo>
                      <a:cubicBezTo>
                        <a:pt x="2957" y="1036"/>
                        <a:pt x="2972" y="1075"/>
                        <a:pt x="2933" y="1059"/>
                      </a:cubicBezTo>
                      <a:cubicBezTo>
                        <a:pt x="2885" y="1052"/>
                        <a:pt x="2885" y="1083"/>
                        <a:pt x="2854" y="1052"/>
                      </a:cubicBezTo>
                      <a:cubicBezTo>
                        <a:pt x="2814" y="1020"/>
                        <a:pt x="2806" y="988"/>
                        <a:pt x="2775" y="965"/>
                      </a:cubicBezTo>
                      <a:cubicBezTo>
                        <a:pt x="2743" y="941"/>
                        <a:pt x="2759" y="55"/>
                        <a:pt x="2759" y="55"/>
                      </a:cubicBezTo>
                      <a:cubicBezTo>
                        <a:pt x="1613" y="0"/>
                        <a:pt x="1613" y="0"/>
                        <a:pt x="1613" y="0"/>
                      </a:cubicBezTo>
                      <a:cubicBezTo>
                        <a:pt x="1470" y="2095"/>
                        <a:pt x="1470" y="2095"/>
                        <a:pt x="1470" y="2095"/>
                      </a:cubicBezTo>
                      <a:cubicBezTo>
                        <a:pt x="1470" y="2095"/>
                        <a:pt x="1470" y="2142"/>
                        <a:pt x="1439" y="2142"/>
                      </a:cubicBezTo>
                      <a:cubicBezTo>
                        <a:pt x="1415" y="2142"/>
                        <a:pt x="39" y="2024"/>
                        <a:pt x="39" y="2024"/>
                      </a:cubicBezTo>
                      <a:cubicBezTo>
                        <a:pt x="39" y="2024"/>
                        <a:pt x="0" y="1984"/>
                        <a:pt x="71" y="2127"/>
                      </a:cubicBezTo>
                      <a:cubicBezTo>
                        <a:pt x="87" y="2127"/>
                        <a:pt x="103" y="2135"/>
                        <a:pt x="103" y="2135"/>
                      </a:cubicBezTo>
                      <a:cubicBezTo>
                        <a:pt x="111" y="2135"/>
                        <a:pt x="182" y="2182"/>
                        <a:pt x="182" y="2253"/>
                      </a:cubicBezTo>
                      <a:cubicBezTo>
                        <a:pt x="182" y="2316"/>
                        <a:pt x="190" y="2277"/>
                        <a:pt x="253" y="2316"/>
                      </a:cubicBezTo>
                      <a:cubicBezTo>
                        <a:pt x="308" y="2348"/>
                        <a:pt x="332" y="2372"/>
                        <a:pt x="371" y="2419"/>
                      </a:cubicBezTo>
                      <a:cubicBezTo>
                        <a:pt x="411" y="2459"/>
                        <a:pt x="427" y="2466"/>
                        <a:pt x="443" y="2530"/>
                      </a:cubicBezTo>
                      <a:cubicBezTo>
                        <a:pt x="458" y="2593"/>
                        <a:pt x="506" y="2569"/>
                        <a:pt x="545" y="2609"/>
                      </a:cubicBezTo>
                      <a:cubicBezTo>
                        <a:pt x="593" y="2648"/>
                        <a:pt x="609" y="2672"/>
                        <a:pt x="672" y="2719"/>
                      </a:cubicBezTo>
                      <a:cubicBezTo>
                        <a:pt x="735" y="2767"/>
                        <a:pt x="719" y="2767"/>
                        <a:pt x="719" y="2806"/>
                      </a:cubicBezTo>
                      <a:cubicBezTo>
                        <a:pt x="719" y="2846"/>
                        <a:pt x="696" y="2830"/>
                        <a:pt x="767" y="2909"/>
                      </a:cubicBezTo>
                      <a:cubicBezTo>
                        <a:pt x="830" y="2988"/>
                        <a:pt x="759" y="2957"/>
                        <a:pt x="743" y="3012"/>
                      </a:cubicBezTo>
                      <a:cubicBezTo>
                        <a:pt x="719" y="3059"/>
                        <a:pt x="782" y="3123"/>
                        <a:pt x="798" y="3178"/>
                      </a:cubicBezTo>
                      <a:cubicBezTo>
                        <a:pt x="814" y="3225"/>
                        <a:pt x="838" y="3225"/>
                        <a:pt x="885" y="3241"/>
                      </a:cubicBezTo>
                      <a:cubicBezTo>
                        <a:pt x="925" y="3257"/>
                        <a:pt x="909" y="3265"/>
                        <a:pt x="925" y="3296"/>
                      </a:cubicBezTo>
                      <a:cubicBezTo>
                        <a:pt x="949" y="3336"/>
                        <a:pt x="1012" y="3360"/>
                        <a:pt x="1044" y="3360"/>
                      </a:cubicBezTo>
                      <a:cubicBezTo>
                        <a:pt x="1083" y="3360"/>
                        <a:pt x="1138" y="3439"/>
                        <a:pt x="1154" y="3431"/>
                      </a:cubicBezTo>
                      <a:cubicBezTo>
                        <a:pt x="1178" y="3423"/>
                        <a:pt x="1288" y="3502"/>
                        <a:pt x="1344" y="3542"/>
                      </a:cubicBezTo>
                      <a:cubicBezTo>
                        <a:pt x="1407" y="3581"/>
                        <a:pt x="1383" y="3510"/>
                        <a:pt x="1431" y="3486"/>
                      </a:cubicBezTo>
                      <a:cubicBezTo>
                        <a:pt x="1478" y="3463"/>
                        <a:pt x="1478" y="3399"/>
                        <a:pt x="1486" y="3360"/>
                      </a:cubicBezTo>
                      <a:cubicBezTo>
                        <a:pt x="1502" y="3320"/>
                        <a:pt x="1526" y="3289"/>
                        <a:pt x="1541" y="3265"/>
                      </a:cubicBezTo>
                      <a:cubicBezTo>
                        <a:pt x="1549" y="3241"/>
                        <a:pt x="1534" y="3194"/>
                        <a:pt x="1613" y="3186"/>
                      </a:cubicBezTo>
                      <a:cubicBezTo>
                        <a:pt x="1692" y="3178"/>
                        <a:pt x="1692" y="3139"/>
                        <a:pt x="1739" y="3139"/>
                      </a:cubicBezTo>
                      <a:cubicBezTo>
                        <a:pt x="1794" y="3146"/>
                        <a:pt x="1794" y="3186"/>
                        <a:pt x="1826" y="3186"/>
                      </a:cubicBezTo>
                      <a:cubicBezTo>
                        <a:pt x="1850" y="3194"/>
                        <a:pt x="1850" y="3186"/>
                        <a:pt x="1889" y="3178"/>
                      </a:cubicBezTo>
                      <a:cubicBezTo>
                        <a:pt x="1929" y="3162"/>
                        <a:pt x="1929" y="3178"/>
                        <a:pt x="1952" y="3202"/>
                      </a:cubicBezTo>
                      <a:cubicBezTo>
                        <a:pt x="1968" y="3217"/>
                        <a:pt x="2008" y="3210"/>
                        <a:pt x="2024" y="3194"/>
                      </a:cubicBezTo>
                      <a:cubicBezTo>
                        <a:pt x="2047" y="3178"/>
                        <a:pt x="2127" y="3296"/>
                        <a:pt x="2166" y="3328"/>
                      </a:cubicBezTo>
                      <a:cubicBezTo>
                        <a:pt x="2205" y="3368"/>
                        <a:pt x="2277" y="3431"/>
                        <a:pt x="2324" y="3463"/>
                      </a:cubicBezTo>
                      <a:cubicBezTo>
                        <a:pt x="2372" y="3494"/>
                        <a:pt x="2316" y="3510"/>
                        <a:pt x="2419" y="3660"/>
                      </a:cubicBezTo>
                      <a:cubicBezTo>
                        <a:pt x="2522" y="3810"/>
                        <a:pt x="2482" y="3834"/>
                        <a:pt x="2514" y="3874"/>
                      </a:cubicBezTo>
                      <a:cubicBezTo>
                        <a:pt x="2545" y="3905"/>
                        <a:pt x="2498" y="3921"/>
                        <a:pt x="2538" y="3945"/>
                      </a:cubicBezTo>
                      <a:cubicBezTo>
                        <a:pt x="2585" y="3969"/>
                        <a:pt x="2688" y="4095"/>
                        <a:pt x="2704" y="4134"/>
                      </a:cubicBezTo>
                      <a:cubicBezTo>
                        <a:pt x="2727" y="4174"/>
                        <a:pt x="2727" y="4206"/>
                        <a:pt x="2767" y="4214"/>
                      </a:cubicBezTo>
                      <a:cubicBezTo>
                        <a:pt x="2806" y="4222"/>
                        <a:pt x="2814" y="4253"/>
                        <a:pt x="2838" y="4269"/>
                      </a:cubicBezTo>
                      <a:cubicBezTo>
                        <a:pt x="2862" y="4293"/>
                        <a:pt x="2838" y="4293"/>
                        <a:pt x="2838" y="4324"/>
                      </a:cubicBezTo>
                      <a:cubicBezTo>
                        <a:pt x="2830" y="4356"/>
                        <a:pt x="2814" y="4380"/>
                        <a:pt x="2870" y="4411"/>
                      </a:cubicBezTo>
                      <a:cubicBezTo>
                        <a:pt x="2917" y="4443"/>
                        <a:pt x="2830" y="4474"/>
                        <a:pt x="2862" y="4514"/>
                      </a:cubicBezTo>
                      <a:cubicBezTo>
                        <a:pt x="2893" y="4553"/>
                        <a:pt x="2941" y="4648"/>
                        <a:pt x="2964" y="4672"/>
                      </a:cubicBezTo>
                      <a:cubicBezTo>
                        <a:pt x="2988" y="4696"/>
                        <a:pt x="2949" y="4743"/>
                        <a:pt x="2972" y="4759"/>
                      </a:cubicBezTo>
                      <a:cubicBezTo>
                        <a:pt x="3004" y="4775"/>
                        <a:pt x="2988" y="4806"/>
                        <a:pt x="3012" y="4806"/>
                      </a:cubicBezTo>
                      <a:cubicBezTo>
                        <a:pt x="3028" y="4814"/>
                        <a:pt x="3067" y="4822"/>
                        <a:pt x="3115" y="4854"/>
                      </a:cubicBezTo>
                      <a:cubicBezTo>
                        <a:pt x="3170" y="4878"/>
                        <a:pt x="3154" y="4893"/>
                        <a:pt x="3202" y="4886"/>
                      </a:cubicBezTo>
                      <a:cubicBezTo>
                        <a:pt x="3241" y="4886"/>
                        <a:pt x="3257" y="4901"/>
                        <a:pt x="3312" y="4941"/>
                      </a:cubicBezTo>
                      <a:cubicBezTo>
                        <a:pt x="3360" y="4973"/>
                        <a:pt x="3375" y="4988"/>
                        <a:pt x="3423" y="4988"/>
                      </a:cubicBezTo>
                      <a:cubicBezTo>
                        <a:pt x="3470" y="4996"/>
                        <a:pt x="3478" y="4996"/>
                        <a:pt x="3510" y="4973"/>
                      </a:cubicBezTo>
                      <a:cubicBezTo>
                        <a:pt x="3542" y="4949"/>
                        <a:pt x="3597" y="5004"/>
                        <a:pt x="3637" y="5020"/>
                      </a:cubicBezTo>
                      <a:cubicBezTo>
                        <a:pt x="3668" y="5036"/>
                        <a:pt x="3684" y="5067"/>
                        <a:pt x="3708" y="5083"/>
                      </a:cubicBezTo>
                      <a:cubicBezTo>
                        <a:pt x="3723" y="5107"/>
                        <a:pt x="3715" y="5115"/>
                        <a:pt x="3747" y="5107"/>
                      </a:cubicBezTo>
                      <a:cubicBezTo>
                        <a:pt x="3779" y="5099"/>
                        <a:pt x="3763" y="5075"/>
                        <a:pt x="3763" y="5075"/>
                      </a:cubicBezTo>
                      <a:cubicBezTo>
                        <a:pt x="3763" y="5075"/>
                        <a:pt x="3794" y="5052"/>
                        <a:pt x="3802" y="5044"/>
                      </a:cubicBezTo>
                      <a:cubicBezTo>
                        <a:pt x="3810" y="5028"/>
                        <a:pt x="3826" y="5044"/>
                        <a:pt x="3834" y="5044"/>
                      </a:cubicBezTo>
                      <a:cubicBezTo>
                        <a:pt x="3834" y="5036"/>
                        <a:pt x="3826" y="5036"/>
                        <a:pt x="3826" y="5036"/>
                      </a:cubicBezTo>
                      <a:cubicBezTo>
                        <a:pt x="3818" y="4980"/>
                        <a:pt x="3810" y="4996"/>
                        <a:pt x="3802" y="5012"/>
                      </a:cubicBezTo>
                      <a:cubicBezTo>
                        <a:pt x="3794" y="5020"/>
                        <a:pt x="3794" y="5044"/>
                        <a:pt x="3779" y="5028"/>
                      </a:cubicBezTo>
                      <a:cubicBezTo>
                        <a:pt x="3771" y="5012"/>
                        <a:pt x="3802" y="5012"/>
                        <a:pt x="3779" y="4973"/>
                      </a:cubicBezTo>
                      <a:cubicBezTo>
                        <a:pt x="3763" y="4941"/>
                        <a:pt x="3755" y="4949"/>
                        <a:pt x="3747" y="4901"/>
                      </a:cubicBezTo>
                      <a:cubicBezTo>
                        <a:pt x="3739" y="4854"/>
                        <a:pt x="3708" y="4870"/>
                        <a:pt x="3708" y="4814"/>
                      </a:cubicBezTo>
                      <a:cubicBezTo>
                        <a:pt x="3708" y="4759"/>
                        <a:pt x="3731" y="4727"/>
                        <a:pt x="3708" y="4696"/>
                      </a:cubicBezTo>
                      <a:cubicBezTo>
                        <a:pt x="3684" y="4664"/>
                        <a:pt x="3668" y="4656"/>
                        <a:pt x="3676" y="4633"/>
                      </a:cubicBezTo>
                      <a:cubicBezTo>
                        <a:pt x="3684" y="4609"/>
                        <a:pt x="3660" y="4617"/>
                        <a:pt x="3660" y="4593"/>
                      </a:cubicBezTo>
                      <a:cubicBezTo>
                        <a:pt x="3652" y="4569"/>
                        <a:pt x="3652" y="4562"/>
                        <a:pt x="3676" y="4553"/>
                      </a:cubicBezTo>
                      <a:cubicBezTo>
                        <a:pt x="3700" y="4538"/>
                        <a:pt x="3708" y="4522"/>
                        <a:pt x="3708" y="4506"/>
                      </a:cubicBezTo>
                      <a:cubicBezTo>
                        <a:pt x="3700" y="4490"/>
                        <a:pt x="3723" y="4514"/>
                        <a:pt x="3723" y="4553"/>
                      </a:cubicBezTo>
                      <a:cubicBezTo>
                        <a:pt x="3723" y="4593"/>
                        <a:pt x="3739" y="4727"/>
                        <a:pt x="3755" y="4743"/>
                      </a:cubicBezTo>
                      <a:cubicBezTo>
                        <a:pt x="3771" y="4767"/>
                        <a:pt x="3802" y="4862"/>
                        <a:pt x="3802" y="4878"/>
                      </a:cubicBezTo>
                      <a:cubicBezTo>
                        <a:pt x="3794" y="4901"/>
                        <a:pt x="3802" y="4957"/>
                        <a:pt x="3818" y="4941"/>
                      </a:cubicBezTo>
                      <a:cubicBezTo>
                        <a:pt x="3826" y="4925"/>
                        <a:pt x="3826" y="4925"/>
                        <a:pt x="3818" y="4886"/>
                      </a:cubicBezTo>
                      <a:cubicBezTo>
                        <a:pt x="3802" y="4838"/>
                        <a:pt x="3794" y="4775"/>
                        <a:pt x="3779" y="4712"/>
                      </a:cubicBezTo>
                      <a:cubicBezTo>
                        <a:pt x="3755" y="4640"/>
                        <a:pt x="3747" y="4617"/>
                        <a:pt x="3747" y="4577"/>
                      </a:cubicBezTo>
                      <a:cubicBezTo>
                        <a:pt x="3747" y="4546"/>
                        <a:pt x="3739" y="4522"/>
                        <a:pt x="3731" y="4498"/>
                      </a:cubicBezTo>
                      <a:cubicBezTo>
                        <a:pt x="3723" y="4474"/>
                        <a:pt x="3723" y="4467"/>
                        <a:pt x="3715" y="4451"/>
                      </a:cubicBezTo>
                      <a:cubicBezTo>
                        <a:pt x="3700" y="4435"/>
                        <a:pt x="3692" y="4435"/>
                        <a:pt x="3668" y="4435"/>
                      </a:cubicBezTo>
                      <a:cubicBezTo>
                        <a:pt x="3652" y="4435"/>
                        <a:pt x="3637" y="4451"/>
                        <a:pt x="3621" y="4435"/>
                      </a:cubicBezTo>
                      <a:cubicBezTo>
                        <a:pt x="3597" y="4411"/>
                        <a:pt x="3581" y="4411"/>
                        <a:pt x="3597" y="4395"/>
                      </a:cubicBezTo>
                      <a:cubicBezTo>
                        <a:pt x="3613" y="4387"/>
                        <a:pt x="3652" y="4395"/>
                        <a:pt x="3676" y="4403"/>
                      </a:cubicBezTo>
                      <a:cubicBezTo>
                        <a:pt x="3692" y="4411"/>
                        <a:pt x="3700" y="4419"/>
                        <a:pt x="3715" y="4403"/>
                      </a:cubicBezTo>
                      <a:cubicBezTo>
                        <a:pt x="3731" y="4395"/>
                        <a:pt x="3731" y="4364"/>
                        <a:pt x="3739" y="4380"/>
                      </a:cubicBezTo>
                      <a:cubicBezTo>
                        <a:pt x="3739" y="4403"/>
                        <a:pt x="3723" y="4427"/>
                        <a:pt x="3739" y="4427"/>
                      </a:cubicBezTo>
                      <a:cubicBezTo>
                        <a:pt x="3763" y="4427"/>
                        <a:pt x="3755" y="4411"/>
                        <a:pt x="3763" y="4387"/>
                      </a:cubicBezTo>
                      <a:cubicBezTo>
                        <a:pt x="3763" y="4364"/>
                        <a:pt x="3826" y="4245"/>
                        <a:pt x="3834" y="4222"/>
                      </a:cubicBezTo>
                      <a:cubicBezTo>
                        <a:pt x="3850" y="4190"/>
                        <a:pt x="3850" y="4166"/>
                        <a:pt x="3834" y="4182"/>
                      </a:cubicBezTo>
                      <a:cubicBezTo>
                        <a:pt x="3818" y="4198"/>
                        <a:pt x="3802" y="4206"/>
                        <a:pt x="3802" y="4229"/>
                      </a:cubicBezTo>
                      <a:cubicBezTo>
                        <a:pt x="3802" y="4253"/>
                        <a:pt x="3794" y="4277"/>
                        <a:pt x="3779" y="4285"/>
                      </a:cubicBezTo>
                      <a:cubicBezTo>
                        <a:pt x="3771" y="4285"/>
                        <a:pt x="3771" y="4293"/>
                        <a:pt x="3771" y="4253"/>
                      </a:cubicBezTo>
                      <a:cubicBezTo>
                        <a:pt x="3771" y="4222"/>
                        <a:pt x="3771" y="4229"/>
                        <a:pt x="3747" y="4206"/>
                      </a:cubicBezTo>
                      <a:cubicBezTo>
                        <a:pt x="3723" y="4190"/>
                        <a:pt x="3700" y="4198"/>
                        <a:pt x="3700" y="4174"/>
                      </a:cubicBezTo>
                      <a:cubicBezTo>
                        <a:pt x="3700" y="4150"/>
                        <a:pt x="3684" y="4142"/>
                        <a:pt x="3708" y="4142"/>
                      </a:cubicBezTo>
                      <a:cubicBezTo>
                        <a:pt x="3731" y="4142"/>
                        <a:pt x="3755" y="4134"/>
                        <a:pt x="3771" y="4142"/>
                      </a:cubicBezTo>
                      <a:cubicBezTo>
                        <a:pt x="3779" y="4150"/>
                        <a:pt x="3779" y="4174"/>
                        <a:pt x="3794" y="4174"/>
                      </a:cubicBezTo>
                      <a:cubicBezTo>
                        <a:pt x="3810" y="4174"/>
                        <a:pt x="3802" y="4174"/>
                        <a:pt x="3826" y="4142"/>
                      </a:cubicBezTo>
                      <a:cubicBezTo>
                        <a:pt x="3842" y="4119"/>
                        <a:pt x="3897" y="4040"/>
                        <a:pt x="3874" y="4047"/>
                      </a:cubicBezTo>
                      <a:cubicBezTo>
                        <a:pt x="3850" y="4047"/>
                        <a:pt x="3826" y="4079"/>
                        <a:pt x="3826" y="4056"/>
                      </a:cubicBezTo>
                      <a:cubicBezTo>
                        <a:pt x="3818" y="4040"/>
                        <a:pt x="3818" y="4016"/>
                        <a:pt x="3842" y="4016"/>
                      </a:cubicBezTo>
                      <a:cubicBezTo>
                        <a:pt x="3858" y="4016"/>
                        <a:pt x="3881" y="3992"/>
                        <a:pt x="3905" y="4008"/>
                      </a:cubicBezTo>
                      <a:cubicBezTo>
                        <a:pt x="3929" y="4024"/>
                        <a:pt x="3929" y="4032"/>
                        <a:pt x="3937" y="4016"/>
                      </a:cubicBezTo>
                      <a:cubicBezTo>
                        <a:pt x="3953" y="4008"/>
                        <a:pt x="4016" y="3945"/>
                        <a:pt x="3992" y="3937"/>
                      </a:cubicBezTo>
                      <a:cubicBezTo>
                        <a:pt x="3961" y="3937"/>
                        <a:pt x="3961" y="3929"/>
                        <a:pt x="3961" y="3913"/>
                      </a:cubicBezTo>
                      <a:cubicBezTo>
                        <a:pt x="3961" y="3897"/>
                        <a:pt x="3961" y="3866"/>
                        <a:pt x="3992" y="3897"/>
                      </a:cubicBezTo>
                      <a:cubicBezTo>
                        <a:pt x="4023" y="3929"/>
                        <a:pt x="4000" y="3937"/>
                        <a:pt x="4039" y="3937"/>
                      </a:cubicBezTo>
                      <a:cubicBezTo>
                        <a:pt x="4070" y="3937"/>
                        <a:pt x="4094" y="3897"/>
                        <a:pt x="4094" y="3921"/>
                      </a:cubicBezTo>
                      <a:cubicBezTo>
                        <a:pt x="4086" y="3937"/>
                        <a:pt x="3984" y="4000"/>
                        <a:pt x="3992" y="4016"/>
                      </a:cubicBezTo>
                      <a:cubicBezTo>
                        <a:pt x="4000" y="4032"/>
                        <a:pt x="4016" y="4016"/>
                        <a:pt x="4039" y="4000"/>
                      </a:cubicBezTo>
                      <a:cubicBezTo>
                        <a:pt x="4054" y="3984"/>
                        <a:pt x="4165" y="3921"/>
                        <a:pt x="4141" y="3905"/>
                      </a:cubicBezTo>
                      <a:cubicBezTo>
                        <a:pt x="4118" y="3897"/>
                        <a:pt x="4149" y="3874"/>
                        <a:pt x="4110" y="3858"/>
                      </a:cubicBezTo>
                      <a:cubicBezTo>
                        <a:pt x="4070" y="3842"/>
                        <a:pt x="4094" y="3834"/>
                        <a:pt x="4070" y="3818"/>
                      </a:cubicBezTo>
                      <a:cubicBezTo>
                        <a:pt x="4054" y="3795"/>
                        <a:pt x="4039" y="3771"/>
                        <a:pt x="4054" y="3763"/>
                      </a:cubicBezTo>
                      <a:cubicBezTo>
                        <a:pt x="4078" y="3755"/>
                        <a:pt x="4062" y="3787"/>
                        <a:pt x="4094" y="3795"/>
                      </a:cubicBezTo>
                      <a:cubicBezTo>
                        <a:pt x="4126" y="3810"/>
                        <a:pt x="4141" y="3826"/>
                        <a:pt x="4157" y="3803"/>
                      </a:cubicBezTo>
                      <a:cubicBezTo>
                        <a:pt x="4173" y="3779"/>
                        <a:pt x="4181" y="3779"/>
                        <a:pt x="4204" y="3787"/>
                      </a:cubicBezTo>
                      <a:cubicBezTo>
                        <a:pt x="4220" y="3795"/>
                        <a:pt x="4244" y="3818"/>
                        <a:pt x="4268" y="3810"/>
                      </a:cubicBezTo>
                      <a:cubicBezTo>
                        <a:pt x="4292" y="3810"/>
                        <a:pt x="4276" y="3826"/>
                        <a:pt x="4252" y="3834"/>
                      </a:cubicBezTo>
                      <a:cubicBezTo>
                        <a:pt x="4228" y="3842"/>
                        <a:pt x="4213" y="3874"/>
                        <a:pt x="4220" y="3874"/>
                      </a:cubicBezTo>
                      <a:cubicBezTo>
                        <a:pt x="4236" y="3874"/>
                        <a:pt x="4276" y="3842"/>
                        <a:pt x="4323" y="3818"/>
                      </a:cubicBezTo>
                      <a:cubicBezTo>
                        <a:pt x="4371" y="3795"/>
                        <a:pt x="4402" y="3779"/>
                        <a:pt x="4386" y="3771"/>
                      </a:cubicBezTo>
                      <a:cubicBezTo>
                        <a:pt x="4371" y="3755"/>
                        <a:pt x="4379" y="3755"/>
                        <a:pt x="4402" y="3747"/>
                      </a:cubicBezTo>
                      <a:cubicBezTo>
                        <a:pt x="4426" y="3747"/>
                        <a:pt x="4450" y="3739"/>
                        <a:pt x="4473" y="3723"/>
                      </a:cubicBezTo>
                      <a:cubicBezTo>
                        <a:pt x="4489" y="3708"/>
                        <a:pt x="4616" y="3644"/>
                        <a:pt x="4639" y="3597"/>
                      </a:cubicBezTo>
                      <a:cubicBezTo>
                        <a:pt x="4663" y="3549"/>
                        <a:pt x="4647" y="3534"/>
                        <a:pt x="4679" y="3518"/>
                      </a:cubicBezTo>
                      <a:cubicBezTo>
                        <a:pt x="4703" y="3502"/>
                        <a:pt x="4734" y="3478"/>
                        <a:pt x="4742" y="3470"/>
                      </a:cubicBezTo>
                      <a:cubicBezTo>
                        <a:pt x="4758" y="3463"/>
                        <a:pt x="4766" y="3423"/>
                        <a:pt x="4750" y="3407"/>
                      </a:cubicBezTo>
                      <a:cubicBezTo>
                        <a:pt x="4734" y="3383"/>
                        <a:pt x="4734" y="3383"/>
                        <a:pt x="4726" y="3360"/>
                      </a:cubicBezTo>
                      <a:cubicBezTo>
                        <a:pt x="4711" y="3336"/>
                        <a:pt x="4703" y="3344"/>
                        <a:pt x="4703" y="3320"/>
                      </a:cubicBezTo>
                      <a:cubicBezTo>
                        <a:pt x="4703" y="3296"/>
                        <a:pt x="4695" y="3281"/>
                        <a:pt x="4711" y="3289"/>
                      </a:cubicBezTo>
                      <a:cubicBezTo>
                        <a:pt x="4726" y="3296"/>
                        <a:pt x="4750" y="3320"/>
                        <a:pt x="4766" y="3305"/>
                      </a:cubicBezTo>
                      <a:cubicBezTo>
                        <a:pt x="4774" y="3281"/>
                        <a:pt x="4774" y="3281"/>
                        <a:pt x="4790" y="3265"/>
                      </a:cubicBezTo>
                      <a:cubicBezTo>
                        <a:pt x="4797" y="3249"/>
                        <a:pt x="4813" y="3241"/>
                        <a:pt x="4821" y="3257"/>
                      </a:cubicBezTo>
                      <a:cubicBezTo>
                        <a:pt x="4821" y="3265"/>
                        <a:pt x="4853" y="3281"/>
                        <a:pt x="4829" y="3289"/>
                      </a:cubicBezTo>
                      <a:cubicBezTo>
                        <a:pt x="4813" y="3305"/>
                        <a:pt x="4813" y="3320"/>
                        <a:pt x="4813" y="3328"/>
                      </a:cubicBezTo>
                      <a:cubicBezTo>
                        <a:pt x="4821" y="3336"/>
                        <a:pt x="4790" y="3336"/>
                        <a:pt x="4806" y="3352"/>
                      </a:cubicBezTo>
                      <a:cubicBezTo>
                        <a:pt x="4813" y="3368"/>
                        <a:pt x="4797" y="3376"/>
                        <a:pt x="4829" y="3368"/>
                      </a:cubicBezTo>
                      <a:cubicBezTo>
                        <a:pt x="4853" y="3368"/>
                        <a:pt x="4869" y="3368"/>
                        <a:pt x="4853" y="3376"/>
                      </a:cubicBezTo>
                      <a:cubicBezTo>
                        <a:pt x="4837" y="3383"/>
                        <a:pt x="4797" y="3431"/>
                        <a:pt x="4790" y="3447"/>
                      </a:cubicBezTo>
                      <a:cubicBezTo>
                        <a:pt x="4782" y="3463"/>
                        <a:pt x="4766" y="3478"/>
                        <a:pt x="4750" y="3486"/>
                      </a:cubicBezTo>
                      <a:cubicBezTo>
                        <a:pt x="4734" y="3502"/>
                        <a:pt x="4703" y="3518"/>
                        <a:pt x="4703" y="3526"/>
                      </a:cubicBezTo>
                      <a:cubicBezTo>
                        <a:pt x="4695" y="3542"/>
                        <a:pt x="4679" y="3557"/>
                        <a:pt x="4719" y="3542"/>
                      </a:cubicBezTo>
                      <a:cubicBezTo>
                        <a:pt x="4758" y="3518"/>
                        <a:pt x="4790" y="3494"/>
                        <a:pt x="4797" y="3478"/>
                      </a:cubicBezTo>
                      <a:cubicBezTo>
                        <a:pt x="4806" y="3455"/>
                        <a:pt x="4829" y="3415"/>
                        <a:pt x="4877" y="3392"/>
                      </a:cubicBezTo>
                      <a:cubicBezTo>
                        <a:pt x="4932" y="3368"/>
                        <a:pt x="4964" y="3336"/>
                        <a:pt x="4995" y="3336"/>
                      </a:cubicBezTo>
                      <a:cubicBezTo>
                        <a:pt x="5035" y="3328"/>
                        <a:pt x="5145" y="3273"/>
                        <a:pt x="5177" y="3273"/>
                      </a:cubicBezTo>
                      <a:lnTo>
                        <a:pt x="5185" y="3265"/>
                      </a:lnTo>
                      <a:lnTo>
                        <a:pt x="5185" y="3265"/>
                      </a:lnTo>
                      <a:cubicBezTo>
                        <a:pt x="5185" y="3265"/>
                        <a:pt x="5185" y="3257"/>
                        <a:pt x="5169" y="324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8" name="Freeform 12">
                  <a:extLst>
                    <a:ext uri="{FF2B5EF4-FFF2-40B4-BE49-F238E27FC236}">
                      <a16:creationId xmlns:a16="http://schemas.microsoft.com/office/drawing/2014/main" id="{4F4FBC99-BD26-4245-9BF3-0E8E6FF493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47205" y="6755139"/>
                  <a:ext cx="2778528" cy="2695033"/>
                </a:xfrm>
                <a:custGeom>
                  <a:avLst/>
                  <a:gdLst>
                    <a:gd name="T0" fmla="*/ 3170 w 5281"/>
                    <a:gd name="T1" fmla="*/ 4901 h 5124"/>
                    <a:gd name="T2" fmla="*/ 2822 w 5281"/>
                    <a:gd name="T3" fmla="*/ 4301 h 5124"/>
                    <a:gd name="T4" fmla="*/ 2016 w 5281"/>
                    <a:gd name="T5" fmla="*/ 3202 h 5124"/>
                    <a:gd name="T6" fmla="*/ 1525 w 5281"/>
                    <a:gd name="T7" fmla="*/ 3273 h 5124"/>
                    <a:gd name="T8" fmla="*/ 893 w 5281"/>
                    <a:gd name="T9" fmla="*/ 3281 h 5124"/>
                    <a:gd name="T10" fmla="*/ 482 w 5281"/>
                    <a:gd name="T11" fmla="*/ 2593 h 5124"/>
                    <a:gd name="T12" fmla="*/ 1454 w 5281"/>
                    <a:gd name="T13" fmla="*/ 2103 h 5124"/>
                    <a:gd name="T14" fmla="*/ 2972 w 5281"/>
                    <a:gd name="T15" fmla="*/ 1028 h 5124"/>
                    <a:gd name="T16" fmla="*/ 3320 w 5281"/>
                    <a:gd name="T17" fmla="*/ 1241 h 5124"/>
                    <a:gd name="T18" fmla="*/ 3510 w 5281"/>
                    <a:gd name="T19" fmla="*/ 1328 h 5124"/>
                    <a:gd name="T20" fmla="*/ 3842 w 5281"/>
                    <a:gd name="T21" fmla="*/ 1399 h 5124"/>
                    <a:gd name="T22" fmla="*/ 4125 w 5281"/>
                    <a:gd name="T23" fmla="*/ 1407 h 5124"/>
                    <a:gd name="T24" fmla="*/ 4537 w 5281"/>
                    <a:gd name="T25" fmla="*/ 1313 h 5124"/>
                    <a:gd name="T26" fmla="*/ 5003 w 5281"/>
                    <a:gd name="T27" fmla="*/ 1439 h 5124"/>
                    <a:gd name="T28" fmla="*/ 5280 w 5281"/>
                    <a:gd name="T29" fmla="*/ 2656 h 5124"/>
                    <a:gd name="T30" fmla="*/ 5232 w 5281"/>
                    <a:gd name="T31" fmla="*/ 3075 h 5124"/>
                    <a:gd name="T32" fmla="*/ 4924 w 5281"/>
                    <a:gd name="T33" fmla="*/ 3368 h 5124"/>
                    <a:gd name="T34" fmla="*/ 4813 w 5281"/>
                    <a:gd name="T35" fmla="*/ 3384 h 5124"/>
                    <a:gd name="T36" fmla="*/ 4734 w 5281"/>
                    <a:gd name="T37" fmla="*/ 3320 h 5124"/>
                    <a:gd name="T38" fmla="*/ 4457 w 5281"/>
                    <a:gd name="T39" fmla="*/ 3739 h 5124"/>
                    <a:gd name="T40" fmla="*/ 4204 w 5281"/>
                    <a:gd name="T41" fmla="*/ 3811 h 5124"/>
                    <a:gd name="T42" fmla="*/ 4125 w 5281"/>
                    <a:gd name="T43" fmla="*/ 3913 h 5124"/>
                    <a:gd name="T44" fmla="*/ 3960 w 5281"/>
                    <a:gd name="T45" fmla="*/ 3897 h 5124"/>
                    <a:gd name="T46" fmla="*/ 3826 w 5281"/>
                    <a:gd name="T47" fmla="*/ 4064 h 5124"/>
                    <a:gd name="T48" fmla="*/ 3684 w 5281"/>
                    <a:gd name="T49" fmla="*/ 4158 h 5124"/>
                    <a:gd name="T50" fmla="*/ 3826 w 5281"/>
                    <a:gd name="T51" fmla="*/ 4230 h 5124"/>
                    <a:gd name="T52" fmla="*/ 3581 w 5281"/>
                    <a:gd name="T53" fmla="*/ 4411 h 5124"/>
                    <a:gd name="T54" fmla="*/ 3802 w 5281"/>
                    <a:gd name="T55" fmla="*/ 4949 h 5124"/>
                    <a:gd name="T56" fmla="*/ 3699 w 5281"/>
                    <a:gd name="T57" fmla="*/ 4822 h 5124"/>
                    <a:gd name="T58" fmla="*/ 3810 w 5281"/>
                    <a:gd name="T59" fmla="*/ 5052 h 5124"/>
                    <a:gd name="T60" fmla="*/ 3723 w 5281"/>
                    <a:gd name="T61" fmla="*/ 5115 h 5124"/>
                    <a:gd name="T62" fmla="*/ 3763 w 5281"/>
                    <a:gd name="T63" fmla="*/ 4981 h 5124"/>
                    <a:gd name="T64" fmla="*/ 3707 w 5281"/>
                    <a:gd name="T65" fmla="*/ 4561 h 5124"/>
                    <a:gd name="T66" fmla="*/ 3652 w 5281"/>
                    <a:gd name="T67" fmla="*/ 4443 h 5124"/>
                    <a:gd name="T68" fmla="*/ 3723 w 5281"/>
                    <a:gd name="T69" fmla="*/ 4435 h 5124"/>
                    <a:gd name="T70" fmla="*/ 3731 w 5281"/>
                    <a:gd name="T71" fmla="*/ 4222 h 5124"/>
                    <a:gd name="T72" fmla="*/ 3802 w 5281"/>
                    <a:gd name="T73" fmla="*/ 4150 h 5124"/>
                    <a:gd name="T74" fmla="*/ 3976 w 5281"/>
                    <a:gd name="T75" fmla="*/ 3953 h 5124"/>
                    <a:gd name="T76" fmla="*/ 3984 w 5281"/>
                    <a:gd name="T77" fmla="*/ 4024 h 5124"/>
                    <a:gd name="T78" fmla="*/ 4117 w 5281"/>
                    <a:gd name="T79" fmla="*/ 3818 h 5124"/>
                    <a:gd name="T80" fmla="*/ 4363 w 5281"/>
                    <a:gd name="T81" fmla="*/ 3763 h 5124"/>
                    <a:gd name="T82" fmla="*/ 4687 w 5281"/>
                    <a:gd name="T83" fmla="*/ 3289 h 5124"/>
                    <a:gd name="T84" fmla="*/ 4790 w 5281"/>
                    <a:gd name="T85" fmla="*/ 3360 h 5124"/>
                    <a:gd name="T86" fmla="*/ 4781 w 5281"/>
                    <a:gd name="T87" fmla="*/ 3478 h 5124"/>
                    <a:gd name="T88" fmla="*/ 5224 w 5281"/>
                    <a:gd name="T89" fmla="*/ 3075 h 5124"/>
                    <a:gd name="T90" fmla="*/ 5272 w 5281"/>
                    <a:gd name="T91" fmla="*/ 2656 h 5124"/>
                    <a:gd name="T92" fmla="*/ 5003 w 5281"/>
                    <a:gd name="T93" fmla="*/ 1447 h 5124"/>
                    <a:gd name="T94" fmla="*/ 4544 w 5281"/>
                    <a:gd name="T95" fmla="*/ 1313 h 5124"/>
                    <a:gd name="T96" fmla="*/ 4117 w 5281"/>
                    <a:gd name="T97" fmla="*/ 1415 h 5124"/>
                    <a:gd name="T98" fmla="*/ 3842 w 5281"/>
                    <a:gd name="T99" fmla="*/ 1399 h 5124"/>
                    <a:gd name="T100" fmla="*/ 3502 w 5281"/>
                    <a:gd name="T101" fmla="*/ 1336 h 5124"/>
                    <a:gd name="T102" fmla="*/ 3320 w 5281"/>
                    <a:gd name="T103" fmla="*/ 1249 h 5124"/>
                    <a:gd name="T104" fmla="*/ 3004 w 5281"/>
                    <a:gd name="T105" fmla="*/ 1083 h 5124"/>
                    <a:gd name="T106" fmla="*/ 1423 w 5281"/>
                    <a:gd name="T107" fmla="*/ 2150 h 5124"/>
                    <a:gd name="T108" fmla="*/ 569 w 5281"/>
                    <a:gd name="T109" fmla="*/ 2648 h 5124"/>
                    <a:gd name="T110" fmla="*/ 1028 w 5281"/>
                    <a:gd name="T111" fmla="*/ 3368 h 5124"/>
                    <a:gd name="T112" fmla="*/ 1597 w 5281"/>
                    <a:gd name="T113" fmla="*/ 3186 h 5124"/>
                    <a:gd name="T114" fmla="*/ 2150 w 5281"/>
                    <a:gd name="T115" fmla="*/ 3336 h 5124"/>
                    <a:gd name="T116" fmla="*/ 2822 w 5281"/>
                    <a:gd name="T117" fmla="*/ 4348 h 5124"/>
                    <a:gd name="T118" fmla="*/ 3265 w 5281"/>
                    <a:gd name="T119" fmla="*/ 4917 h 5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281" h="5124">
                      <a:moveTo>
                        <a:pt x="3715" y="5123"/>
                      </a:moveTo>
                      <a:lnTo>
                        <a:pt x="3715" y="5123"/>
                      </a:lnTo>
                      <a:cubicBezTo>
                        <a:pt x="3699" y="5123"/>
                        <a:pt x="3699" y="5115"/>
                        <a:pt x="3699" y="5115"/>
                      </a:cubicBezTo>
                      <a:cubicBezTo>
                        <a:pt x="3699" y="5107"/>
                        <a:pt x="3692" y="5107"/>
                        <a:pt x="3684" y="5099"/>
                      </a:cubicBezTo>
                      <a:cubicBezTo>
                        <a:pt x="3684" y="5091"/>
                        <a:pt x="3676" y="5083"/>
                        <a:pt x="3668" y="5075"/>
                      </a:cubicBezTo>
                      <a:cubicBezTo>
                        <a:pt x="3660" y="5060"/>
                        <a:pt x="3644" y="5044"/>
                        <a:pt x="3621" y="5028"/>
                      </a:cubicBezTo>
                      <a:cubicBezTo>
                        <a:pt x="3605" y="5028"/>
                        <a:pt x="3597" y="5020"/>
                        <a:pt x="3589" y="5012"/>
                      </a:cubicBezTo>
                      <a:cubicBezTo>
                        <a:pt x="3565" y="4996"/>
                        <a:pt x="3534" y="4981"/>
                        <a:pt x="3518" y="4981"/>
                      </a:cubicBezTo>
                      <a:cubicBezTo>
                        <a:pt x="3510" y="4981"/>
                        <a:pt x="3502" y="4981"/>
                        <a:pt x="3494" y="4988"/>
                      </a:cubicBezTo>
                      <a:cubicBezTo>
                        <a:pt x="3462" y="5012"/>
                        <a:pt x="3454" y="5012"/>
                        <a:pt x="3407" y="5004"/>
                      </a:cubicBezTo>
                      <a:cubicBezTo>
                        <a:pt x="3367" y="4996"/>
                        <a:pt x="3352" y="4988"/>
                        <a:pt x="3312" y="4965"/>
                      </a:cubicBezTo>
                      <a:cubicBezTo>
                        <a:pt x="3304" y="4957"/>
                        <a:pt x="3296" y="4957"/>
                        <a:pt x="3288" y="4949"/>
                      </a:cubicBezTo>
                      <a:cubicBezTo>
                        <a:pt x="3281" y="4941"/>
                        <a:pt x="3265" y="4933"/>
                        <a:pt x="3257" y="4925"/>
                      </a:cubicBezTo>
                      <a:cubicBezTo>
                        <a:pt x="3233" y="4909"/>
                        <a:pt x="3217" y="4894"/>
                        <a:pt x="3186" y="4901"/>
                      </a:cubicBezTo>
                      <a:cubicBezTo>
                        <a:pt x="3178" y="4901"/>
                        <a:pt x="3170" y="4901"/>
                        <a:pt x="3170" y="4901"/>
                      </a:cubicBezTo>
                      <a:cubicBezTo>
                        <a:pt x="3154" y="4901"/>
                        <a:pt x="3146" y="4894"/>
                        <a:pt x="3138" y="4886"/>
                      </a:cubicBezTo>
                      <a:cubicBezTo>
                        <a:pt x="3130" y="4886"/>
                        <a:pt x="3122" y="4878"/>
                        <a:pt x="3099" y="4862"/>
                      </a:cubicBezTo>
                      <a:cubicBezTo>
                        <a:pt x="3035" y="4830"/>
                        <a:pt x="3004" y="4822"/>
                        <a:pt x="2988" y="4822"/>
                      </a:cubicBezTo>
                      <a:cubicBezTo>
                        <a:pt x="2980" y="4822"/>
                        <a:pt x="2980" y="4807"/>
                        <a:pt x="2972" y="4799"/>
                      </a:cubicBezTo>
                      <a:cubicBezTo>
                        <a:pt x="2972" y="4791"/>
                        <a:pt x="2972" y="4775"/>
                        <a:pt x="2956" y="4767"/>
                      </a:cubicBezTo>
                      <a:cubicBezTo>
                        <a:pt x="2941" y="4759"/>
                        <a:pt x="2948" y="4743"/>
                        <a:pt x="2948" y="4728"/>
                      </a:cubicBezTo>
                      <a:cubicBezTo>
                        <a:pt x="2956" y="4712"/>
                        <a:pt x="2956" y="4696"/>
                        <a:pt x="2948" y="4688"/>
                      </a:cubicBezTo>
                      <a:cubicBezTo>
                        <a:pt x="2933" y="4672"/>
                        <a:pt x="2917" y="4641"/>
                        <a:pt x="2901" y="4617"/>
                      </a:cubicBezTo>
                      <a:cubicBezTo>
                        <a:pt x="2877" y="4577"/>
                        <a:pt x="2862" y="4546"/>
                        <a:pt x="2846" y="4530"/>
                      </a:cubicBezTo>
                      <a:cubicBezTo>
                        <a:pt x="2830" y="4506"/>
                        <a:pt x="2838" y="4482"/>
                        <a:pt x="2854" y="4467"/>
                      </a:cubicBezTo>
                      <a:cubicBezTo>
                        <a:pt x="2862" y="4459"/>
                        <a:pt x="2862" y="4443"/>
                        <a:pt x="2862" y="4435"/>
                      </a:cubicBezTo>
                      <a:cubicBezTo>
                        <a:pt x="2862" y="4435"/>
                        <a:pt x="2854" y="4427"/>
                        <a:pt x="2846" y="4419"/>
                      </a:cubicBezTo>
                      <a:cubicBezTo>
                        <a:pt x="2798" y="4395"/>
                        <a:pt x="2806" y="4372"/>
                        <a:pt x="2814" y="4348"/>
                      </a:cubicBezTo>
                      <a:cubicBezTo>
                        <a:pt x="2814" y="4340"/>
                        <a:pt x="2814" y="4332"/>
                        <a:pt x="2814" y="4332"/>
                      </a:cubicBezTo>
                      <a:cubicBezTo>
                        <a:pt x="2814" y="4317"/>
                        <a:pt x="2822" y="4308"/>
                        <a:pt x="2822" y="4301"/>
                      </a:cubicBezTo>
                      <a:cubicBezTo>
                        <a:pt x="2830" y="4293"/>
                        <a:pt x="2830" y="4293"/>
                        <a:pt x="2822" y="4285"/>
                      </a:cubicBezTo>
                      <a:cubicBezTo>
                        <a:pt x="2814" y="4277"/>
                        <a:pt x="2806" y="4269"/>
                        <a:pt x="2798" y="4261"/>
                      </a:cubicBezTo>
                      <a:cubicBezTo>
                        <a:pt x="2790" y="4245"/>
                        <a:pt x="2775" y="4230"/>
                        <a:pt x="2751" y="4222"/>
                      </a:cubicBezTo>
                      <a:cubicBezTo>
                        <a:pt x="2719" y="4222"/>
                        <a:pt x="2711" y="4206"/>
                        <a:pt x="2703" y="4182"/>
                      </a:cubicBezTo>
                      <a:cubicBezTo>
                        <a:pt x="2703" y="4166"/>
                        <a:pt x="2695" y="4158"/>
                        <a:pt x="2688" y="4142"/>
                      </a:cubicBezTo>
                      <a:cubicBezTo>
                        <a:pt x="2664" y="4111"/>
                        <a:pt x="2569" y="3977"/>
                        <a:pt x="2522" y="3953"/>
                      </a:cubicBezTo>
                      <a:cubicBezTo>
                        <a:pt x="2498" y="3945"/>
                        <a:pt x="2498" y="3929"/>
                        <a:pt x="2506" y="3921"/>
                      </a:cubicBezTo>
                      <a:cubicBezTo>
                        <a:pt x="2506" y="3905"/>
                        <a:pt x="2514" y="3897"/>
                        <a:pt x="2498" y="3882"/>
                      </a:cubicBezTo>
                      <a:cubicBezTo>
                        <a:pt x="2490" y="3866"/>
                        <a:pt x="2482" y="3858"/>
                        <a:pt x="2482" y="3842"/>
                      </a:cubicBezTo>
                      <a:cubicBezTo>
                        <a:pt x="2474" y="3811"/>
                        <a:pt x="2466" y="3763"/>
                        <a:pt x="2395" y="3668"/>
                      </a:cubicBezTo>
                      <a:cubicBezTo>
                        <a:pt x="2340" y="3581"/>
                        <a:pt x="2332" y="3534"/>
                        <a:pt x="2332" y="3510"/>
                      </a:cubicBezTo>
                      <a:cubicBezTo>
                        <a:pt x="2332" y="3494"/>
                        <a:pt x="2324" y="3486"/>
                        <a:pt x="2308" y="3471"/>
                      </a:cubicBezTo>
                      <a:cubicBezTo>
                        <a:pt x="2261" y="3439"/>
                        <a:pt x="2182" y="3376"/>
                        <a:pt x="2150" y="3336"/>
                      </a:cubicBezTo>
                      <a:cubicBezTo>
                        <a:pt x="2134" y="3328"/>
                        <a:pt x="2118" y="3313"/>
                        <a:pt x="2103" y="3289"/>
                      </a:cubicBezTo>
                      <a:cubicBezTo>
                        <a:pt x="2071" y="3249"/>
                        <a:pt x="2031" y="3202"/>
                        <a:pt x="2016" y="3202"/>
                      </a:cubicBezTo>
                      <a:lnTo>
                        <a:pt x="2016" y="3202"/>
                      </a:lnTo>
                      <a:cubicBezTo>
                        <a:pt x="2000" y="3218"/>
                        <a:pt x="1976" y="3225"/>
                        <a:pt x="1960" y="3225"/>
                      </a:cubicBezTo>
                      <a:cubicBezTo>
                        <a:pt x="1952" y="3225"/>
                        <a:pt x="1945" y="3218"/>
                        <a:pt x="1936" y="3210"/>
                      </a:cubicBezTo>
                      <a:cubicBezTo>
                        <a:pt x="1929" y="3210"/>
                        <a:pt x="1929" y="3202"/>
                        <a:pt x="1921" y="3202"/>
                      </a:cubicBezTo>
                      <a:cubicBezTo>
                        <a:pt x="1913" y="3186"/>
                        <a:pt x="1905" y="3186"/>
                        <a:pt x="1897" y="3186"/>
                      </a:cubicBezTo>
                      <a:cubicBezTo>
                        <a:pt x="1889" y="3186"/>
                        <a:pt x="1881" y="3186"/>
                        <a:pt x="1873" y="3186"/>
                      </a:cubicBezTo>
                      <a:cubicBezTo>
                        <a:pt x="1865" y="3186"/>
                        <a:pt x="1858" y="3194"/>
                        <a:pt x="1850" y="3194"/>
                      </a:cubicBezTo>
                      <a:cubicBezTo>
                        <a:pt x="1834" y="3202"/>
                        <a:pt x="1826" y="3202"/>
                        <a:pt x="1810" y="3202"/>
                      </a:cubicBezTo>
                      <a:cubicBezTo>
                        <a:pt x="1794" y="3202"/>
                        <a:pt x="1786" y="3186"/>
                        <a:pt x="1778" y="3178"/>
                      </a:cubicBezTo>
                      <a:cubicBezTo>
                        <a:pt x="1763" y="3170"/>
                        <a:pt x="1755" y="3154"/>
                        <a:pt x="1723" y="3154"/>
                      </a:cubicBezTo>
                      <a:cubicBezTo>
                        <a:pt x="1723" y="3154"/>
                        <a:pt x="1723" y="3154"/>
                        <a:pt x="1715" y="3154"/>
                      </a:cubicBezTo>
                      <a:cubicBezTo>
                        <a:pt x="1699" y="3154"/>
                        <a:pt x="1692" y="3154"/>
                        <a:pt x="1676" y="3162"/>
                      </a:cubicBezTo>
                      <a:cubicBezTo>
                        <a:pt x="1660" y="3178"/>
                        <a:pt x="1644" y="3186"/>
                        <a:pt x="1597" y="3194"/>
                      </a:cubicBezTo>
                      <a:cubicBezTo>
                        <a:pt x="1533" y="3202"/>
                        <a:pt x="1533" y="3225"/>
                        <a:pt x="1533" y="3249"/>
                      </a:cubicBezTo>
                      <a:cubicBezTo>
                        <a:pt x="1533" y="3257"/>
                        <a:pt x="1525" y="3265"/>
                        <a:pt x="1525" y="3273"/>
                      </a:cubicBezTo>
                      <a:cubicBezTo>
                        <a:pt x="1525" y="3281"/>
                        <a:pt x="1518" y="3289"/>
                        <a:pt x="1510" y="3297"/>
                      </a:cubicBezTo>
                      <a:cubicBezTo>
                        <a:pt x="1502" y="3320"/>
                        <a:pt x="1486" y="3344"/>
                        <a:pt x="1478" y="3376"/>
                      </a:cubicBezTo>
                      <a:cubicBezTo>
                        <a:pt x="1470" y="3384"/>
                        <a:pt x="1470" y="3391"/>
                        <a:pt x="1470" y="3400"/>
                      </a:cubicBezTo>
                      <a:cubicBezTo>
                        <a:pt x="1462" y="3439"/>
                        <a:pt x="1454" y="3478"/>
                        <a:pt x="1415" y="3494"/>
                      </a:cubicBezTo>
                      <a:cubicBezTo>
                        <a:pt x="1399" y="3502"/>
                        <a:pt x="1391" y="3526"/>
                        <a:pt x="1383" y="3542"/>
                      </a:cubicBezTo>
                      <a:cubicBezTo>
                        <a:pt x="1375" y="3550"/>
                        <a:pt x="1375" y="3565"/>
                        <a:pt x="1359" y="3565"/>
                      </a:cubicBezTo>
                      <a:cubicBezTo>
                        <a:pt x="1352" y="3565"/>
                        <a:pt x="1336" y="3565"/>
                        <a:pt x="1328" y="3557"/>
                      </a:cubicBezTo>
                      <a:cubicBezTo>
                        <a:pt x="1312" y="3550"/>
                        <a:pt x="1304" y="3534"/>
                        <a:pt x="1288" y="3526"/>
                      </a:cubicBezTo>
                      <a:cubicBezTo>
                        <a:pt x="1233" y="3494"/>
                        <a:pt x="1162" y="3439"/>
                        <a:pt x="1146" y="3439"/>
                      </a:cubicBezTo>
                      <a:cubicBezTo>
                        <a:pt x="1138" y="3439"/>
                        <a:pt x="1138" y="3439"/>
                        <a:pt x="1138" y="3439"/>
                      </a:cubicBezTo>
                      <a:cubicBezTo>
                        <a:pt x="1138" y="3447"/>
                        <a:pt x="1138" y="3447"/>
                        <a:pt x="1138" y="3447"/>
                      </a:cubicBezTo>
                      <a:cubicBezTo>
                        <a:pt x="1122" y="3447"/>
                        <a:pt x="1106" y="3431"/>
                        <a:pt x="1091" y="3415"/>
                      </a:cubicBezTo>
                      <a:cubicBezTo>
                        <a:pt x="1067" y="3391"/>
                        <a:pt x="1051" y="3376"/>
                        <a:pt x="1028" y="3376"/>
                      </a:cubicBezTo>
                      <a:cubicBezTo>
                        <a:pt x="996" y="3376"/>
                        <a:pt x="933" y="3344"/>
                        <a:pt x="909" y="3304"/>
                      </a:cubicBezTo>
                      <a:cubicBezTo>
                        <a:pt x="901" y="3297"/>
                        <a:pt x="901" y="3289"/>
                        <a:pt x="893" y="3281"/>
                      </a:cubicBezTo>
                      <a:cubicBezTo>
                        <a:pt x="893" y="3265"/>
                        <a:pt x="893" y="3265"/>
                        <a:pt x="869" y="3257"/>
                      </a:cubicBezTo>
                      <a:cubicBezTo>
                        <a:pt x="861" y="3249"/>
                        <a:pt x="861" y="3249"/>
                        <a:pt x="861" y="3249"/>
                      </a:cubicBezTo>
                      <a:cubicBezTo>
                        <a:pt x="822" y="3241"/>
                        <a:pt x="798" y="3233"/>
                        <a:pt x="782" y="3186"/>
                      </a:cubicBezTo>
                      <a:cubicBezTo>
                        <a:pt x="775" y="3170"/>
                        <a:pt x="766" y="3147"/>
                        <a:pt x="751" y="3131"/>
                      </a:cubicBezTo>
                      <a:cubicBezTo>
                        <a:pt x="735" y="3091"/>
                        <a:pt x="711" y="3051"/>
                        <a:pt x="719" y="3020"/>
                      </a:cubicBezTo>
                      <a:cubicBezTo>
                        <a:pt x="727" y="2996"/>
                        <a:pt x="743" y="2988"/>
                        <a:pt x="759" y="2980"/>
                      </a:cubicBezTo>
                      <a:cubicBezTo>
                        <a:pt x="766" y="2980"/>
                        <a:pt x="766" y="2973"/>
                        <a:pt x="775" y="2965"/>
                      </a:cubicBezTo>
                      <a:cubicBezTo>
                        <a:pt x="775" y="2957"/>
                        <a:pt x="766" y="2941"/>
                        <a:pt x="743" y="2917"/>
                      </a:cubicBezTo>
                      <a:cubicBezTo>
                        <a:pt x="695" y="2854"/>
                        <a:pt x="695" y="2854"/>
                        <a:pt x="695" y="2830"/>
                      </a:cubicBezTo>
                      <a:cubicBezTo>
                        <a:pt x="695" y="2830"/>
                        <a:pt x="695" y="2822"/>
                        <a:pt x="695" y="2814"/>
                      </a:cubicBezTo>
                      <a:cubicBezTo>
                        <a:pt x="695" y="2807"/>
                        <a:pt x="695" y="2799"/>
                        <a:pt x="695" y="2791"/>
                      </a:cubicBezTo>
                      <a:cubicBezTo>
                        <a:pt x="703" y="2775"/>
                        <a:pt x="703" y="2767"/>
                        <a:pt x="656" y="2727"/>
                      </a:cubicBezTo>
                      <a:cubicBezTo>
                        <a:pt x="608" y="2696"/>
                        <a:pt x="585" y="2672"/>
                        <a:pt x="561" y="2648"/>
                      </a:cubicBezTo>
                      <a:cubicBezTo>
                        <a:pt x="553" y="2641"/>
                        <a:pt x="545" y="2633"/>
                        <a:pt x="529" y="2617"/>
                      </a:cubicBezTo>
                      <a:cubicBezTo>
                        <a:pt x="513" y="2601"/>
                        <a:pt x="498" y="2593"/>
                        <a:pt x="482" y="2593"/>
                      </a:cubicBezTo>
                      <a:cubicBezTo>
                        <a:pt x="458" y="2585"/>
                        <a:pt x="435" y="2577"/>
                        <a:pt x="427" y="2538"/>
                      </a:cubicBezTo>
                      <a:cubicBezTo>
                        <a:pt x="411" y="2490"/>
                        <a:pt x="403" y="2474"/>
                        <a:pt x="371" y="2451"/>
                      </a:cubicBezTo>
                      <a:cubicBezTo>
                        <a:pt x="371" y="2443"/>
                        <a:pt x="363" y="2435"/>
                        <a:pt x="355" y="2427"/>
                      </a:cubicBezTo>
                      <a:cubicBezTo>
                        <a:pt x="308" y="2380"/>
                        <a:pt x="292" y="2364"/>
                        <a:pt x="229" y="2324"/>
                      </a:cubicBezTo>
                      <a:cubicBezTo>
                        <a:pt x="213" y="2308"/>
                        <a:pt x="197" y="2308"/>
                        <a:pt x="189" y="2308"/>
                      </a:cubicBezTo>
                      <a:cubicBezTo>
                        <a:pt x="166" y="2301"/>
                        <a:pt x="166" y="2301"/>
                        <a:pt x="166" y="2261"/>
                      </a:cubicBezTo>
                      <a:cubicBezTo>
                        <a:pt x="166" y="2190"/>
                        <a:pt x="95" y="2143"/>
                        <a:pt x="87" y="2143"/>
                      </a:cubicBezTo>
                      <a:cubicBezTo>
                        <a:pt x="87" y="2143"/>
                        <a:pt x="87" y="2143"/>
                        <a:pt x="55" y="2143"/>
                      </a:cubicBezTo>
                      <a:cubicBezTo>
                        <a:pt x="47" y="2143"/>
                        <a:pt x="47" y="2143"/>
                        <a:pt x="47" y="2143"/>
                      </a:cubicBezTo>
                      <a:cubicBezTo>
                        <a:pt x="47" y="2135"/>
                        <a:pt x="47" y="2135"/>
                        <a:pt x="47" y="2135"/>
                      </a:cubicBezTo>
                      <a:cubicBezTo>
                        <a:pt x="0" y="2040"/>
                        <a:pt x="8" y="2032"/>
                        <a:pt x="8" y="2024"/>
                      </a:cubicBezTo>
                      <a:lnTo>
                        <a:pt x="16" y="2024"/>
                      </a:lnTo>
                      <a:lnTo>
                        <a:pt x="23" y="2024"/>
                      </a:lnTo>
                      <a:cubicBezTo>
                        <a:pt x="71" y="2032"/>
                        <a:pt x="1399" y="2143"/>
                        <a:pt x="1423" y="2143"/>
                      </a:cubicBezTo>
                      <a:cubicBezTo>
                        <a:pt x="1454" y="2143"/>
                        <a:pt x="1454" y="2103"/>
                        <a:pt x="1454" y="2103"/>
                      </a:cubicBezTo>
                      <a:cubicBezTo>
                        <a:pt x="1597" y="0"/>
                        <a:pt x="1597" y="0"/>
                        <a:pt x="1597" y="0"/>
                      </a:cubicBezTo>
                      <a:lnTo>
                        <a:pt x="1597" y="0"/>
                      </a:lnTo>
                      <a:cubicBezTo>
                        <a:pt x="2743" y="63"/>
                        <a:pt x="2743" y="63"/>
                        <a:pt x="2743" y="63"/>
                      </a:cubicBezTo>
                      <a:lnTo>
                        <a:pt x="2743" y="63"/>
                      </a:lnTo>
                      <a:cubicBezTo>
                        <a:pt x="2735" y="419"/>
                        <a:pt x="2735" y="949"/>
                        <a:pt x="2759" y="965"/>
                      </a:cubicBezTo>
                      <a:cubicBezTo>
                        <a:pt x="2775" y="980"/>
                        <a:pt x="2790" y="996"/>
                        <a:pt x="2798" y="1012"/>
                      </a:cubicBezTo>
                      <a:cubicBezTo>
                        <a:pt x="2806" y="1028"/>
                        <a:pt x="2822" y="1044"/>
                        <a:pt x="2838" y="1060"/>
                      </a:cubicBezTo>
                      <a:cubicBezTo>
                        <a:pt x="2846" y="1067"/>
                        <a:pt x="2854" y="1067"/>
                        <a:pt x="2862" y="1067"/>
                      </a:cubicBezTo>
                      <a:cubicBezTo>
                        <a:pt x="2869" y="1067"/>
                        <a:pt x="2869" y="1067"/>
                        <a:pt x="2877" y="1067"/>
                      </a:cubicBezTo>
                      <a:cubicBezTo>
                        <a:pt x="2885" y="1067"/>
                        <a:pt x="2885" y="1060"/>
                        <a:pt x="2893" y="1060"/>
                      </a:cubicBezTo>
                      <a:cubicBezTo>
                        <a:pt x="2901" y="1060"/>
                        <a:pt x="2909" y="1060"/>
                        <a:pt x="2917" y="1067"/>
                      </a:cubicBezTo>
                      <a:cubicBezTo>
                        <a:pt x="2925" y="1067"/>
                        <a:pt x="2925" y="1067"/>
                        <a:pt x="2933" y="1067"/>
                      </a:cubicBezTo>
                      <a:cubicBezTo>
                        <a:pt x="2941" y="1067"/>
                        <a:pt x="2941" y="1060"/>
                        <a:pt x="2948" y="1051"/>
                      </a:cubicBezTo>
                      <a:cubicBezTo>
                        <a:pt x="2948" y="1044"/>
                        <a:pt x="2948" y="1036"/>
                        <a:pt x="2964" y="1028"/>
                      </a:cubicBezTo>
                      <a:cubicBezTo>
                        <a:pt x="2964" y="1028"/>
                        <a:pt x="2964" y="1028"/>
                        <a:pt x="2972" y="1028"/>
                      </a:cubicBezTo>
                      <a:cubicBezTo>
                        <a:pt x="2988" y="1028"/>
                        <a:pt x="2996" y="1051"/>
                        <a:pt x="3012" y="1075"/>
                      </a:cubicBezTo>
                      <a:cubicBezTo>
                        <a:pt x="3012" y="1083"/>
                        <a:pt x="3012" y="1083"/>
                        <a:pt x="3012" y="1083"/>
                      </a:cubicBezTo>
                      <a:cubicBezTo>
                        <a:pt x="3020" y="1091"/>
                        <a:pt x="3020" y="1099"/>
                        <a:pt x="3020" y="1107"/>
                      </a:cubicBezTo>
                      <a:cubicBezTo>
                        <a:pt x="3020" y="1131"/>
                        <a:pt x="3028" y="1146"/>
                        <a:pt x="3043" y="1146"/>
                      </a:cubicBezTo>
                      <a:cubicBezTo>
                        <a:pt x="3051" y="1154"/>
                        <a:pt x="3067" y="1154"/>
                        <a:pt x="3067" y="1162"/>
                      </a:cubicBezTo>
                      <a:cubicBezTo>
                        <a:pt x="3083" y="1162"/>
                        <a:pt x="3091" y="1170"/>
                        <a:pt x="3115" y="1170"/>
                      </a:cubicBezTo>
                      <a:cubicBezTo>
                        <a:pt x="3115" y="1170"/>
                        <a:pt x="3122" y="1170"/>
                        <a:pt x="3130" y="1170"/>
                      </a:cubicBezTo>
                      <a:cubicBezTo>
                        <a:pt x="3170" y="1162"/>
                        <a:pt x="3186" y="1194"/>
                        <a:pt x="3186" y="1194"/>
                      </a:cubicBezTo>
                      <a:cubicBezTo>
                        <a:pt x="3194" y="1202"/>
                        <a:pt x="3201" y="1202"/>
                        <a:pt x="3209" y="1202"/>
                      </a:cubicBezTo>
                      <a:cubicBezTo>
                        <a:pt x="3217" y="1202"/>
                        <a:pt x="3225" y="1202"/>
                        <a:pt x="3233" y="1202"/>
                      </a:cubicBezTo>
                      <a:cubicBezTo>
                        <a:pt x="3241" y="1194"/>
                        <a:pt x="3249" y="1194"/>
                        <a:pt x="3265" y="1194"/>
                      </a:cubicBezTo>
                      <a:lnTo>
                        <a:pt x="3273" y="1194"/>
                      </a:lnTo>
                      <a:cubicBezTo>
                        <a:pt x="3304" y="1194"/>
                        <a:pt x="3304" y="1210"/>
                        <a:pt x="3312" y="1226"/>
                      </a:cubicBezTo>
                      <a:cubicBezTo>
                        <a:pt x="3312" y="1233"/>
                        <a:pt x="3312" y="1233"/>
                        <a:pt x="3312" y="1233"/>
                      </a:cubicBezTo>
                      <a:cubicBezTo>
                        <a:pt x="3312" y="1241"/>
                        <a:pt x="3312" y="1241"/>
                        <a:pt x="3320" y="1241"/>
                      </a:cubicBezTo>
                      <a:cubicBezTo>
                        <a:pt x="3328" y="1241"/>
                        <a:pt x="3344" y="1233"/>
                        <a:pt x="3352" y="1218"/>
                      </a:cubicBezTo>
                      <a:cubicBezTo>
                        <a:pt x="3352" y="1202"/>
                        <a:pt x="3359" y="1194"/>
                        <a:pt x="3367" y="1194"/>
                      </a:cubicBezTo>
                      <a:cubicBezTo>
                        <a:pt x="3367" y="1194"/>
                        <a:pt x="3375" y="1194"/>
                        <a:pt x="3375" y="1202"/>
                      </a:cubicBezTo>
                      <a:lnTo>
                        <a:pt x="3383" y="1202"/>
                      </a:lnTo>
                      <a:lnTo>
                        <a:pt x="3383" y="1202"/>
                      </a:lnTo>
                      <a:cubicBezTo>
                        <a:pt x="3383" y="1186"/>
                        <a:pt x="3399" y="1186"/>
                        <a:pt x="3399" y="1186"/>
                      </a:cubicBezTo>
                      <a:cubicBezTo>
                        <a:pt x="3407" y="1186"/>
                        <a:pt x="3415" y="1186"/>
                        <a:pt x="3423" y="1186"/>
                      </a:cubicBezTo>
                      <a:cubicBezTo>
                        <a:pt x="3423" y="1186"/>
                        <a:pt x="3439" y="1186"/>
                        <a:pt x="3446" y="1186"/>
                      </a:cubicBezTo>
                      <a:cubicBezTo>
                        <a:pt x="3454" y="1186"/>
                        <a:pt x="3462" y="1194"/>
                        <a:pt x="3462" y="1194"/>
                      </a:cubicBezTo>
                      <a:cubicBezTo>
                        <a:pt x="3470" y="1202"/>
                        <a:pt x="3470" y="1210"/>
                        <a:pt x="3470" y="1226"/>
                      </a:cubicBezTo>
                      <a:lnTo>
                        <a:pt x="3470" y="1233"/>
                      </a:lnTo>
                      <a:cubicBezTo>
                        <a:pt x="3470" y="1249"/>
                        <a:pt x="3470" y="1249"/>
                        <a:pt x="3478" y="1249"/>
                      </a:cubicBezTo>
                      <a:cubicBezTo>
                        <a:pt x="3486" y="1257"/>
                        <a:pt x="3486" y="1257"/>
                        <a:pt x="3494" y="1257"/>
                      </a:cubicBezTo>
                      <a:cubicBezTo>
                        <a:pt x="3510" y="1265"/>
                        <a:pt x="3510" y="1281"/>
                        <a:pt x="3510" y="1297"/>
                      </a:cubicBezTo>
                      <a:cubicBezTo>
                        <a:pt x="3510" y="1304"/>
                        <a:pt x="3502" y="1320"/>
                        <a:pt x="3510" y="1328"/>
                      </a:cubicBezTo>
                      <a:cubicBezTo>
                        <a:pt x="3510" y="1336"/>
                        <a:pt x="3518" y="1336"/>
                        <a:pt x="3518" y="1336"/>
                      </a:cubicBezTo>
                      <a:cubicBezTo>
                        <a:pt x="3526" y="1336"/>
                        <a:pt x="3549" y="1320"/>
                        <a:pt x="3557" y="1304"/>
                      </a:cubicBezTo>
                      <a:cubicBezTo>
                        <a:pt x="3573" y="1281"/>
                        <a:pt x="3597" y="1273"/>
                        <a:pt x="3628" y="1281"/>
                      </a:cubicBezTo>
                      <a:cubicBezTo>
                        <a:pt x="3660" y="1289"/>
                        <a:pt x="3668" y="1304"/>
                        <a:pt x="3676" y="1320"/>
                      </a:cubicBezTo>
                      <a:cubicBezTo>
                        <a:pt x="3684" y="1328"/>
                        <a:pt x="3684" y="1328"/>
                        <a:pt x="3684" y="1328"/>
                      </a:cubicBezTo>
                      <a:cubicBezTo>
                        <a:pt x="3684" y="1336"/>
                        <a:pt x="3692" y="1336"/>
                        <a:pt x="3699" y="1336"/>
                      </a:cubicBezTo>
                      <a:cubicBezTo>
                        <a:pt x="3707" y="1336"/>
                        <a:pt x="3715" y="1336"/>
                        <a:pt x="3715" y="1320"/>
                      </a:cubicBezTo>
                      <a:cubicBezTo>
                        <a:pt x="3715" y="1313"/>
                        <a:pt x="3739" y="1304"/>
                        <a:pt x="3778" y="1304"/>
                      </a:cubicBezTo>
                      <a:cubicBezTo>
                        <a:pt x="3786" y="1304"/>
                        <a:pt x="3794" y="1304"/>
                        <a:pt x="3802" y="1304"/>
                      </a:cubicBezTo>
                      <a:cubicBezTo>
                        <a:pt x="3810" y="1304"/>
                        <a:pt x="3810" y="1304"/>
                        <a:pt x="3810" y="1304"/>
                      </a:cubicBezTo>
                      <a:cubicBezTo>
                        <a:pt x="3818" y="1304"/>
                        <a:pt x="3818" y="1304"/>
                        <a:pt x="3818" y="1313"/>
                      </a:cubicBezTo>
                      <a:cubicBezTo>
                        <a:pt x="3826" y="1313"/>
                        <a:pt x="3818" y="1320"/>
                        <a:pt x="3818" y="1336"/>
                      </a:cubicBezTo>
                      <a:cubicBezTo>
                        <a:pt x="3818" y="1344"/>
                        <a:pt x="3818" y="1352"/>
                        <a:pt x="3810" y="1360"/>
                      </a:cubicBezTo>
                      <a:cubicBezTo>
                        <a:pt x="3810" y="1384"/>
                        <a:pt x="3818" y="1391"/>
                        <a:pt x="3834" y="1391"/>
                      </a:cubicBezTo>
                      <a:cubicBezTo>
                        <a:pt x="3834" y="1391"/>
                        <a:pt x="3842" y="1391"/>
                        <a:pt x="3842" y="1399"/>
                      </a:cubicBezTo>
                      <a:lnTo>
                        <a:pt x="3842" y="1399"/>
                      </a:lnTo>
                      <a:cubicBezTo>
                        <a:pt x="3850" y="1399"/>
                        <a:pt x="3858" y="1368"/>
                        <a:pt x="3858" y="1344"/>
                      </a:cubicBezTo>
                      <a:cubicBezTo>
                        <a:pt x="3858" y="1320"/>
                        <a:pt x="3865" y="1320"/>
                        <a:pt x="3865" y="1304"/>
                      </a:cubicBezTo>
                      <a:cubicBezTo>
                        <a:pt x="3874" y="1297"/>
                        <a:pt x="3874" y="1297"/>
                        <a:pt x="3881" y="1281"/>
                      </a:cubicBezTo>
                      <a:cubicBezTo>
                        <a:pt x="3881" y="1273"/>
                        <a:pt x="3889" y="1265"/>
                        <a:pt x="3897" y="1265"/>
                      </a:cubicBezTo>
                      <a:lnTo>
                        <a:pt x="3905" y="1273"/>
                      </a:lnTo>
                      <a:cubicBezTo>
                        <a:pt x="3913" y="1281"/>
                        <a:pt x="3913" y="1289"/>
                        <a:pt x="3913" y="1289"/>
                      </a:cubicBezTo>
                      <a:cubicBezTo>
                        <a:pt x="3929" y="1304"/>
                        <a:pt x="3945" y="1313"/>
                        <a:pt x="3960" y="1336"/>
                      </a:cubicBezTo>
                      <a:cubicBezTo>
                        <a:pt x="3960" y="1344"/>
                        <a:pt x="3968" y="1344"/>
                        <a:pt x="3968" y="1344"/>
                      </a:cubicBezTo>
                      <a:cubicBezTo>
                        <a:pt x="3976" y="1344"/>
                        <a:pt x="3984" y="1328"/>
                        <a:pt x="3984" y="1313"/>
                      </a:cubicBezTo>
                      <a:lnTo>
                        <a:pt x="3984" y="1313"/>
                      </a:lnTo>
                      <a:cubicBezTo>
                        <a:pt x="3992" y="1304"/>
                        <a:pt x="3992" y="1297"/>
                        <a:pt x="4000" y="1297"/>
                      </a:cubicBezTo>
                      <a:cubicBezTo>
                        <a:pt x="4007" y="1297"/>
                        <a:pt x="4023" y="1313"/>
                        <a:pt x="4038" y="1328"/>
                      </a:cubicBezTo>
                      <a:cubicBezTo>
                        <a:pt x="4046" y="1336"/>
                        <a:pt x="4046" y="1336"/>
                        <a:pt x="4054" y="1344"/>
                      </a:cubicBezTo>
                      <a:cubicBezTo>
                        <a:pt x="4078" y="1368"/>
                        <a:pt x="4094" y="1391"/>
                        <a:pt x="4125" y="1407"/>
                      </a:cubicBezTo>
                      <a:cubicBezTo>
                        <a:pt x="4133" y="1415"/>
                        <a:pt x="4133" y="1415"/>
                        <a:pt x="4141" y="1415"/>
                      </a:cubicBezTo>
                      <a:cubicBezTo>
                        <a:pt x="4157" y="1415"/>
                        <a:pt x="4165" y="1399"/>
                        <a:pt x="4181" y="1384"/>
                      </a:cubicBezTo>
                      <a:cubicBezTo>
                        <a:pt x="4181" y="1376"/>
                        <a:pt x="4181" y="1376"/>
                        <a:pt x="4188" y="1376"/>
                      </a:cubicBezTo>
                      <a:cubicBezTo>
                        <a:pt x="4204" y="1352"/>
                        <a:pt x="4236" y="1328"/>
                        <a:pt x="4276" y="1320"/>
                      </a:cubicBezTo>
                      <a:cubicBezTo>
                        <a:pt x="4276" y="1313"/>
                        <a:pt x="4284" y="1313"/>
                        <a:pt x="4291" y="1313"/>
                      </a:cubicBezTo>
                      <a:cubicBezTo>
                        <a:pt x="4299" y="1313"/>
                        <a:pt x="4299" y="1320"/>
                        <a:pt x="4307" y="1328"/>
                      </a:cubicBezTo>
                      <a:cubicBezTo>
                        <a:pt x="4307" y="1328"/>
                        <a:pt x="4315" y="1336"/>
                        <a:pt x="4323" y="1344"/>
                      </a:cubicBezTo>
                      <a:cubicBezTo>
                        <a:pt x="4323" y="1352"/>
                        <a:pt x="4331" y="1352"/>
                        <a:pt x="4339" y="1352"/>
                      </a:cubicBezTo>
                      <a:cubicBezTo>
                        <a:pt x="4347" y="1352"/>
                        <a:pt x="4363" y="1328"/>
                        <a:pt x="4363" y="1313"/>
                      </a:cubicBezTo>
                      <a:cubicBezTo>
                        <a:pt x="4370" y="1281"/>
                        <a:pt x="4410" y="1281"/>
                        <a:pt x="4434" y="1281"/>
                      </a:cubicBezTo>
                      <a:cubicBezTo>
                        <a:pt x="4450" y="1281"/>
                        <a:pt x="4450" y="1289"/>
                        <a:pt x="4457" y="1297"/>
                      </a:cubicBezTo>
                      <a:cubicBezTo>
                        <a:pt x="4465" y="1304"/>
                        <a:pt x="4465" y="1313"/>
                        <a:pt x="4481" y="1328"/>
                      </a:cubicBezTo>
                      <a:cubicBezTo>
                        <a:pt x="4489" y="1336"/>
                        <a:pt x="4497" y="1336"/>
                        <a:pt x="4505" y="1336"/>
                      </a:cubicBezTo>
                      <a:cubicBezTo>
                        <a:pt x="4521" y="1336"/>
                        <a:pt x="4528" y="1320"/>
                        <a:pt x="4537" y="1313"/>
                      </a:cubicBezTo>
                      <a:lnTo>
                        <a:pt x="4537" y="1313"/>
                      </a:lnTo>
                      <a:cubicBezTo>
                        <a:pt x="4537" y="1304"/>
                        <a:pt x="4544" y="1304"/>
                        <a:pt x="4544" y="1304"/>
                      </a:cubicBezTo>
                      <a:cubicBezTo>
                        <a:pt x="4552" y="1289"/>
                        <a:pt x="4568" y="1273"/>
                        <a:pt x="4584" y="1265"/>
                      </a:cubicBezTo>
                      <a:cubicBezTo>
                        <a:pt x="4608" y="1265"/>
                        <a:pt x="4631" y="1281"/>
                        <a:pt x="4671" y="1328"/>
                      </a:cubicBezTo>
                      <a:cubicBezTo>
                        <a:pt x="4703" y="1368"/>
                        <a:pt x="4718" y="1368"/>
                        <a:pt x="4734" y="1376"/>
                      </a:cubicBezTo>
                      <a:cubicBezTo>
                        <a:pt x="4742" y="1376"/>
                        <a:pt x="4750" y="1376"/>
                        <a:pt x="4750" y="1384"/>
                      </a:cubicBezTo>
                      <a:cubicBezTo>
                        <a:pt x="4766" y="1391"/>
                        <a:pt x="4781" y="1415"/>
                        <a:pt x="4813" y="1415"/>
                      </a:cubicBezTo>
                      <a:cubicBezTo>
                        <a:pt x="4829" y="1415"/>
                        <a:pt x="4837" y="1407"/>
                        <a:pt x="4845" y="1407"/>
                      </a:cubicBezTo>
                      <a:cubicBezTo>
                        <a:pt x="4845" y="1399"/>
                        <a:pt x="4853" y="1399"/>
                        <a:pt x="4868" y="1399"/>
                      </a:cubicBezTo>
                      <a:cubicBezTo>
                        <a:pt x="4884" y="1399"/>
                        <a:pt x="4892" y="1415"/>
                        <a:pt x="4892" y="1431"/>
                      </a:cubicBezTo>
                      <a:cubicBezTo>
                        <a:pt x="4900" y="1447"/>
                        <a:pt x="4900" y="1455"/>
                        <a:pt x="4908" y="1463"/>
                      </a:cubicBezTo>
                      <a:cubicBezTo>
                        <a:pt x="4916" y="1471"/>
                        <a:pt x="4916" y="1471"/>
                        <a:pt x="4916" y="1471"/>
                      </a:cubicBezTo>
                      <a:cubicBezTo>
                        <a:pt x="4916" y="1471"/>
                        <a:pt x="4924" y="1463"/>
                        <a:pt x="4924" y="1455"/>
                      </a:cubicBezTo>
                      <a:cubicBezTo>
                        <a:pt x="4924" y="1439"/>
                        <a:pt x="4932" y="1431"/>
                        <a:pt x="4940" y="1431"/>
                      </a:cubicBezTo>
                      <a:cubicBezTo>
                        <a:pt x="4940" y="1431"/>
                        <a:pt x="4956" y="1431"/>
                        <a:pt x="4963" y="1431"/>
                      </a:cubicBezTo>
                      <a:cubicBezTo>
                        <a:pt x="4971" y="1439"/>
                        <a:pt x="4987" y="1439"/>
                        <a:pt x="5003" y="1439"/>
                      </a:cubicBezTo>
                      <a:cubicBezTo>
                        <a:pt x="5027" y="1439"/>
                        <a:pt x="5043" y="1463"/>
                        <a:pt x="5043" y="1463"/>
                      </a:cubicBezTo>
                      <a:lnTo>
                        <a:pt x="5043" y="1463"/>
                      </a:lnTo>
                      <a:lnTo>
                        <a:pt x="5043" y="1463"/>
                      </a:lnTo>
                      <a:cubicBezTo>
                        <a:pt x="5058" y="2206"/>
                        <a:pt x="5058" y="2206"/>
                        <a:pt x="5058" y="2206"/>
                      </a:cubicBezTo>
                      <a:cubicBezTo>
                        <a:pt x="5066" y="2206"/>
                        <a:pt x="5090" y="2221"/>
                        <a:pt x="5106" y="2245"/>
                      </a:cubicBezTo>
                      <a:cubicBezTo>
                        <a:pt x="5106" y="2253"/>
                        <a:pt x="5114" y="2261"/>
                        <a:pt x="5121" y="2269"/>
                      </a:cubicBezTo>
                      <a:cubicBezTo>
                        <a:pt x="5137" y="2277"/>
                        <a:pt x="5153" y="2293"/>
                        <a:pt x="5161" y="2316"/>
                      </a:cubicBezTo>
                      <a:cubicBezTo>
                        <a:pt x="5169" y="2348"/>
                        <a:pt x="5169" y="2356"/>
                        <a:pt x="5161" y="2372"/>
                      </a:cubicBezTo>
                      <a:cubicBezTo>
                        <a:pt x="5161" y="2372"/>
                        <a:pt x="5161" y="2380"/>
                        <a:pt x="5153" y="2388"/>
                      </a:cubicBezTo>
                      <a:cubicBezTo>
                        <a:pt x="5153" y="2403"/>
                        <a:pt x="5161" y="2403"/>
                        <a:pt x="5169" y="2411"/>
                      </a:cubicBezTo>
                      <a:cubicBezTo>
                        <a:pt x="5177" y="2411"/>
                        <a:pt x="5177" y="2419"/>
                        <a:pt x="5185" y="2419"/>
                      </a:cubicBezTo>
                      <a:cubicBezTo>
                        <a:pt x="5201" y="2435"/>
                        <a:pt x="5224" y="2459"/>
                        <a:pt x="5216" y="2506"/>
                      </a:cubicBezTo>
                      <a:cubicBezTo>
                        <a:pt x="5216" y="2530"/>
                        <a:pt x="5224" y="2530"/>
                        <a:pt x="5232" y="2538"/>
                      </a:cubicBezTo>
                      <a:cubicBezTo>
                        <a:pt x="5240" y="2538"/>
                        <a:pt x="5256" y="2546"/>
                        <a:pt x="5264" y="2561"/>
                      </a:cubicBezTo>
                      <a:cubicBezTo>
                        <a:pt x="5280" y="2593"/>
                        <a:pt x="5280" y="2625"/>
                        <a:pt x="5280" y="2656"/>
                      </a:cubicBezTo>
                      <a:cubicBezTo>
                        <a:pt x="5272" y="2672"/>
                        <a:pt x="5272" y="2696"/>
                        <a:pt x="5272" y="2712"/>
                      </a:cubicBezTo>
                      <a:cubicBezTo>
                        <a:pt x="5272" y="2712"/>
                        <a:pt x="5272" y="2712"/>
                        <a:pt x="5280" y="2720"/>
                      </a:cubicBezTo>
                      <a:cubicBezTo>
                        <a:pt x="5280" y="2727"/>
                        <a:pt x="5280" y="2759"/>
                        <a:pt x="5256" y="2807"/>
                      </a:cubicBezTo>
                      <a:cubicBezTo>
                        <a:pt x="5248" y="2830"/>
                        <a:pt x="5240" y="2838"/>
                        <a:pt x="5224" y="2846"/>
                      </a:cubicBezTo>
                      <a:cubicBezTo>
                        <a:pt x="5224" y="2846"/>
                        <a:pt x="5216" y="2854"/>
                        <a:pt x="5208" y="2862"/>
                      </a:cubicBezTo>
                      <a:cubicBezTo>
                        <a:pt x="5201" y="2870"/>
                        <a:pt x="5201" y="2878"/>
                        <a:pt x="5201" y="2878"/>
                      </a:cubicBezTo>
                      <a:cubicBezTo>
                        <a:pt x="5201" y="2878"/>
                        <a:pt x="5201" y="2878"/>
                        <a:pt x="5208" y="2878"/>
                      </a:cubicBezTo>
                      <a:cubicBezTo>
                        <a:pt x="5216" y="2886"/>
                        <a:pt x="5224" y="2886"/>
                        <a:pt x="5224" y="2894"/>
                      </a:cubicBezTo>
                      <a:cubicBezTo>
                        <a:pt x="5232" y="2909"/>
                        <a:pt x="5232" y="2925"/>
                        <a:pt x="5232" y="2933"/>
                      </a:cubicBezTo>
                      <a:cubicBezTo>
                        <a:pt x="5224" y="2933"/>
                        <a:pt x="5224" y="2933"/>
                        <a:pt x="5216" y="2933"/>
                      </a:cubicBezTo>
                      <a:cubicBezTo>
                        <a:pt x="5216" y="2933"/>
                        <a:pt x="5208" y="2957"/>
                        <a:pt x="5201" y="2973"/>
                      </a:cubicBezTo>
                      <a:cubicBezTo>
                        <a:pt x="5201" y="2973"/>
                        <a:pt x="5201" y="2973"/>
                        <a:pt x="5201" y="2980"/>
                      </a:cubicBezTo>
                      <a:cubicBezTo>
                        <a:pt x="5201" y="2988"/>
                        <a:pt x="5208" y="2996"/>
                        <a:pt x="5216" y="3012"/>
                      </a:cubicBezTo>
                      <a:cubicBezTo>
                        <a:pt x="5216" y="3020"/>
                        <a:pt x="5216" y="3020"/>
                        <a:pt x="5224" y="3028"/>
                      </a:cubicBezTo>
                      <a:cubicBezTo>
                        <a:pt x="5232" y="3044"/>
                        <a:pt x="5232" y="3060"/>
                        <a:pt x="5232" y="3075"/>
                      </a:cubicBezTo>
                      <a:cubicBezTo>
                        <a:pt x="5232" y="3083"/>
                        <a:pt x="5232" y="3083"/>
                        <a:pt x="5232" y="3091"/>
                      </a:cubicBezTo>
                      <a:cubicBezTo>
                        <a:pt x="5232" y="3099"/>
                        <a:pt x="5224" y="3107"/>
                        <a:pt x="5216" y="3107"/>
                      </a:cubicBezTo>
                      <a:lnTo>
                        <a:pt x="5208" y="3115"/>
                      </a:lnTo>
                      <a:cubicBezTo>
                        <a:pt x="5201" y="3123"/>
                        <a:pt x="5201" y="3131"/>
                        <a:pt x="5201" y="3138"/>
                      </a:cubicBezTo>
                      <a:cubicBezTo>
                        <a:pt x="5201" y="3154"/>
                        <a:pt x="5193" y="3170"/>
                        <a:pt x="5185" y="3178"/>
                      </a:cubicBezTo>
                      <a:cubicBezTo>
                        <a:pt x="5161" y="3202"/>
                        <a:pt x="5153" y="3210"/>
                        <a:pt x="5145" y="3225"/>
                      </a:cubicBezTo>
                      <a:cubicBezTo>
                        <a:pt x="5137" y="3241"/>
                        <a:pt x="5145" y="3241"/>
                        <a:pt x="5153" y="3249"/>
                      </a:cubicBezTo>
                      <a:lnTo>
                        <a:pt x="5153" y="3249"/>
                      </a:lnTo>
                      <a:cubicBezTo>
                        <a:pt x="5169" y="3257"/>
                        <a:pt x="5177" y="3273"/>
                        <a:pt x="5177" y="3273"/>
                      </a:cubicBezTo>
                      <a:cubicBezTo>
                        <a:pt x="5177" y="3281"/>
                        <a:pt x="5177" y="3281"/>
                        <a:pt x="5177" y="3281"/>
                      </a:cubicBezTo>
                      <a:cubicBezTo>
                        <a:pt x="5169" y="3281"/>
                        <a:pt x="5169" y="3281"/>
                        <a:pt x="5169" y="3281"/>
                      </a:cubicBezTo>
                      <a:cubicBezTo>
                        <a:pt x="5169" y="3281"/>
                        <a:pt x="5169" y="3281"/>
                        <a:pt x="5161" y="3281"/>
                      </a:cubicBezTo>
                      <a:cubicBezTo>
                        <a:pt x="5145" y="3281"/>
                        <a:pt x="5114" y="3297"/>
                        <a:pt x="5074" y="3313"/>
                      </a:cubicBezTo>
                      <a:cubicBezTo>
                        <a:pt x="5034" y="3328"/>
                        <a:pt x="5003" y="3336"/>
                        <a:pt x="4979" y="3344"/>
                      </a:cubicBezTo>
                      <a:cubicBezTo>
                        <a:pt x="4963" y="3344"/>
                        <a:pt x="4948" y="3360"/>
                        <a:pt x="4924" y="3368"/>
                      </a:cubicBezTo>
                      <a:cubicBezTo>
                        <a:pt x="4908" y="3384"/>
                        <a:pt x="4892" y="3391"/>
                        <a:pt x="4868" y="3407"/>
                      </a:cubicBezTo>
                      <a:cubicBezTo>
                        <a:pt x="4813" y="3431"/>
                        <a:pt x="4797" y="3463"/>
                        <a:pt x="4790" y="3486"/>
                      </a:cubicBezTo>
                      <a:lnTo>
                        <a:pt x="4790" y="3486"/>
                      </a:lnTo>
                      <a:cubicBezTo>
                        <a:pt x="4781" y="3502"/>
                        <a:pt x="4742" y="3534"/>
                        <a:pt x="4703" y="3550"/>
                      </a:cubicBezTo>
                      <a:cubicBezTo>
                        <a:pt x="4695" y="3557"/>
                        <a:pt x="4687" y="3557"/>
                        <a:pt x="4679" y="3557"/>
                      </a:cubicBezTo>
                      <a:lnTo>
                        <a:pt x="4679" y="3557"/>
                      </a:lnTo>
                      <a:cubicBezTo>
                        <a:pt x="4671" y="3550"/>
                        <a:pt x="4671" y="3550"/>
                        <a:pt x="4679" y="3542"/>
                      </a:cubicBezTo>
                      <a:lnTo>
                        <a:pt x="4679" y="3534"/>
                      </a:lnTo>
                      <a:cubicBezTo>
                        <a:pt x="4679" y="3526"/>
                        <a:pt x="4695" y="3518"/>
                        <a:pt x="4710" y="3510"/>
                      </a:cubicBezTo>
                      <a:cubicBezTo>
                        <a:pt x="4718" y="3502"/>
                        <a:pt x="4726" y="3494"/>
                        <a:pt x="4734" y="3494"/>
                      </a:cubicBezTo>
                      <a:cubicBezTo>
                        <a:pt x="4758" y="3478"/>
                        <a:pt x="4766" y="3463"/>
                        <a:pt x="4774" y="3455"/>
                      </a:cubicBezTo>
                      <a:cubicBezTo>
                        <a:pt x="4781" y="3439"/>
                        <a:pt x="4813" y="3391"/>
                        <a:pt x="4837" y="3384"/>
                      </a:cubicBezTo>
                      <a:lnTo>
                        <a:pt x="4837" y="3384"/>
                      </a:lnTo>
                      <a:lnTo>
                        <a:pt x="4829" y="3384"/>
                      </a:lnTo>
                      <a:cubicBezTo>
                        <a:pt x="4821" y="3384"/>
                        <a:pt x="4821" y="3384"/>
                        <a:pt x="4813" y="3384"/>
                      </a:cubicBezTo>
                      <a:cubicBezTo>
                        <a:pt x="4805" y="3384"/>
                        <a:pt x="4805" y="3384"/>
                        <a:pt x="4797" y="3384"/>
                      </a:cubicBezTo>
                      <a:cubicBezTo>
                        <a:pt x="4790" y="3384"/>
                        <a:pt x="4790" y="3384"/>
                        <a:pt x="4790" y="3376"/>
                      </a:cubicBezTo>
                      <a:cubicBezTo>
                        <a:pt x="4790" y="3368"/>
                        <a:pt x="4781" y="3368"/>
                        <a:pt x="4781" y="3360"/>
                      </a:cubicBezTo>
                      <a:cubicBezTo>
                        <a:pt x="4774" y="3352"/>
                        <a:pt x="4790" y="3344"/>
                        <a:pt x="4790" y="3344"/>
                      </a:cubicBezTo>
                      <a:cubicBezTo>
                        <a:pt x="4790" y="3336"/>
                        <a:pt x="4797" y="3336"/>
                        <a:pt x="4797" y="3336"/>
                      </a:cubicBezTo>
                      <a:cubicBezTo>
                        <a:pt x="4790" y="3336"/>
                        <a:pt x="4790" y="3328"/>
                        <a:pt x="4797" y="3320"/>
                      </a:cubicBezTo>
                      <a:cubicBezTo>
                        <a:pt x="4797" y="3313"/>
                        <a:pt x="4805" y="3304"/>
                        <a:pt x="4813" y="3297"/>
                      </a:cubicBezTo>
                      <a:cubicBezTo>
                        <a:pt x="4821" y="3297"/>
                        <a:pt x="4821" y="3297"/>
                        <a:pt x="4821" y="3289"/>
                      </a:cubicBezTo>
                      <a:cubicBezTo>
                        <a:pt x="4821" y="3289"/>
                        <a:pt x="4813" y="3281"/>
                        <a:pt x="4805" y="3273"/>
                      </a:cubicBezTo>
                      <a:lnTo>
                        <a:pt x="4797" y="3265"/>
                      </a:lnTo>
                      <a:lnTo>
                        <a:pt x="4797" y="3265"/>
                      </a:lnTo>
                      <a:cubicBezTo>
                        <a:pt x="4790" y="3265"/>
                        <a:pt x="4781" y="3265"/>
                        <a:pt x="4774" y="3273"/>
                      </a:cubicBezTo>
                      <a:cubicBezTo>
                        <a:pt x="4766" y="3281"/>
                        <a:pt x="4766" y="3289"/>
                        <a:pt x="4766" y="3297"/>
                      </a:cubicBezTo>
                      <a:cubicBezTo>
                        <a:pt x="4758" y="3297"/>
                        <a:pt x="4758" y="3304"/>
                        <a:pt x="4750" y="3313"/>
                      </a:cubicBezTo>
                      <a:cubicBezTo>
                        <a:pt x="4742" y="3320"/>
                        <a:pt x="4742" y="3320"/>
                        <a:pt x="4734" y="3320"/>
                      </a:cubicBezTo>
                      <a:cubicBezTo>
                        <a:pt x="4726" y="3320"/>
                        <a:pt x="4718" y="3313"/>
                        <a:pt x="4710" y="3304"/>
                      </a:cubicBezTo>
                      <a:cubicBezTo>
                        <a:pt x="4703" y="3304"/>
                        <a:pt x="4695" y="3297"/>
                        <a:pt x="4695" y="3297"/>
                      </a:cubicBezTo>
                      <a:lnTo>
                        <a:pt x="4687" y="3297"/>
                      </a:lnTo>
                      <a:lnTo>
                        <a:pt x="4687" y="3304"/>
                      </a:lnTo>
                      <a:cubicBezTo>
                        <a:pt x="4687" y="3313"/>
                        <a:pt x="4695" y="3320"/>
                        <a:pt x="4687" y="3328"/>
                      </a:cubicBezTo>
                      <a:cubicBezTo>
                        <a:pt x="4687" y="3336"/>
                        <a:pt x="4695" y="3344"/>
                        <a:pt x="4695" y="3344"/>
                      </a:cubicBezTo>
                      <a:cubicBezTo>
                        <a:pt x="4703" y="3352"/>
                        <a:pt x="4703" y="3352"/>
                        <a:pt x="4710" y="3368"/>
                      </a:cubicBezTo>
                      <a:cubicBezTo>
                        <a:pt x="4718" y="3376"/>
                        <a:pt x="4718" y="3384"/>
                        <a:pt x="4718" y="3384"/>
                      </a:cubicBezTo>
                      <a:cubicBezTo>
                        <a:pt x="4726" y="3391"/>
                        <a:pt x="4726" y="3400"/>
                        <a:pt x="4734" y="3407"/>
                      </a:cubicBezTo>
                      <a:cubicBezTo>
                        <a:pt x="4758" y="3431"/>
                        <a:pt x="4742" y="3471"/>
                        <a:pt x="4734" y="3478"/>
                      </a:cubicBezTo>
                      <a:cubicBezTo>
                        <a:pt x="4726" y="3486"/>
                        <a:pt x="4695" y="3518"/>
                        <a:pt x="4663" y="3534"/>
                      </a:cubicBezTo>
                      <a:cubicBezTo>
                        <a:pt x="4647" y="3534"/>
                        <a:pt x="4647" y="3542"/>
                        <a:pt x="4647" y="3557"/>
                      </a:cubicBezTo>
                      <a:cubicBezTo>
                        <a:pt x="4639" y="3565"/>
                        <a:pt x="4639" y="3581"/>
                        <a:pt x="4631" y="3605"/>
                      </a:cubicBezTo>
                      <a:cubicBezTo>
                        <a:pt x="4608" y="3637"/>
                        <a:pt x="4537" y="3684"/>
                        <a:pt x="4489" y="3716"/>
                      </a:cubicBezTo>
                      <a:cubicBezTo>
                        <a:pt x="4473" y="3724"/>
                        <a:pt x="4465" y="3731"/>
                        <a:pt x="4457" y="3739"/>
                      </a:cubicBezTo>
                      <a:cubicBezTo>
                        <a:pt x="4442" y="3755"/>
                        <a:pt x="4410" y="3755"/>
                        <a:pt x="4386" y="3763"/>
                      </a:cubicBezTo>
                      <a:lnTo>
                        <a:pt x="4386" y="3763"/>
                      </a:lnTo>
                      <a:cubicBezTo>
                        <a:pt x="4370" y="3763"/>
                        <a:pt x="4370" y="3763"/>
                        <a:pt x="4370" y="3763"/>
                      </a:cubicBezTo>
                      <a:cubicBezTo>
                        <a:pt x="4370" y="3771"/>
                        <a:pt x="4370" y="3771"/>
                        <a:pt x="4378" y="3779"/>
                      </a:cubicBezTo>
                      <a:cubicBezTo>
                        <a:pt x="4378" y="3779"/>
                        <a:pt x="4378" y="3779"/>
                        <a:pt x="4378" y="3787"/>
                      </a:cubicBezTo>
                      <a:cubicBezTo>
                        <a:pt x="4378" y="3803"/>
                        <a:pt x="4355" y="3811"/>
                        <a:pt x="4315" y="3834"/>
                      </a:cubicBezTo>
                      <a:cubicBezTo>
                        <a:pt x="4291" y="3842"/>
                        <a:pt x="4268" y="3858"/>
                        <a:pt x="4252" y="3866"/>
                      </a:cubicBezTo>
                      <a:cubicBezTo>
                        <a:pt x="4228" y="3882"/>
                        <a:pt x="4212" y="3890"/>
                        <a:pt x="4204" y="3890"/>
                      </a:cubicBezTo>
                      <a:lnTo>
                        <a:pt x="4204" y="3882"/>
                      </a:lnTo>
                      <a:cubicBezTo>
                        <a:pt x="4204" y="3874"/>
                        <a:pt x="4212" y="3842"/>
                        <a:pt x="4236" y="3834"/>
                      </a:cubicBezTo>
                      <a:cubicBezTo>
                        <a:pt x="4252" y="3834"/>
                        <a:pt x="4260" y="3826"/>
                        <a:pt x="4260" y="3818"/>
                      </a:cubicBezTo>
                      <a:cubicBezTo>
                        <a:pt x="4260" y="3826"/>
                        <a:pt x="4260" y="3818"/>
                        <a:pt x="4252" y="3818"/>
                      </a:cubicBezTo>
                      <a:lnTo>
                        <a:pt x="4252" y="3826"/>
                      </a:lnTo>
                      <a:cubicBezTo>
                        <a:pt x="4244" y="3826"/>
                        <a:pt x="4244" y="3826"/>
                        <a:pt x="4244" y="3826"/>
                      </a:cubicBezTo>
                      <a:cubicBezTo>
                        <a:pt x="4228" y="3826"/>
                        <a:pt x="4220" y="3818"/>
                        <a:pt x="4204" y="3811"/>
                      </a:cubicBezTo>
                      <a:cubicBezTo>
                        <a:pt x="4197" y="3803"/>
                        <a:pt x="4188" y="3803"/>
                        <a:pt x="4188" y="3795"/>
                      </a:cubicBezTo>
                      <a:cubicBezTo>
                        <a:pt x="4181" y="3795"/>
                        <a:pt x="4173" y="3795"/>
                        <a:pt x="4165" y="3795"/>
                      </a:cubicBezTo>
                      <a:cubicBezTo>
                        <a:pt x="4157" y="3795"/>
                        <a:pt x="4149" y="3795"/>
                        <a:pt x="4141" y="3811"/>
                      </a:cubicBezTo>
                      <a:cubicBezTo>
                        <a:pt x="4133" y="3818"/>
                        <a:pt x="4133" y="3826"/>
                        <a:pt x="4117" y="3826"/>
                      </a:cubicBezTo>
                      <a:cubicBezTo>
                        <a:pt x="4110" y="3826"/>
                        <a:pt x="4102" y="3818"/>
                        <a:pt x="4086" y="3811"/>
                      </a:cubicBezTo>
                      <a:lnTo>
                        <a:pt x="4078" y="3811"/>
                      </a:lnTo>
                      <a:cubicBezTo>
                        <a:pt x="4054" y="3803"/>
                        <a:pt x="4054" y="3787"/>
                        <a:pt x="4054" y="3779"/>
                      </a:cubicBezTo>
                      <a:cubicBezTo>
                        <a:pt x="4054" y="3771"/>
                        <a:pt x="4046" y="3771"/>
                        <a:pt x="4046" y="3771"/>
                      </a:cubicBezTo>
                      <a:lnTo>
                        <a:pt x="4046" y="3771"/>
                      </a:lnTo>
                      <a:cubicBezTo>
                        <a:pt x="4038" y="3779"/>
                        <a:pt x="4038" y="3779"/>
                        <a:pt x="4038" y="3779"/>
                      </a:cubicBezTo>
                      <a:cubicBezTo>
                        <a:pt x="4031" y="3787"/>
                        <a:pt x="4046" y="3811"/>
                        <a:pt x="4062" y="3826"/>
                      </a:cubicBezTo>
                      <a:cubicBezTo>
                        <a:pt x="4070" y="3834"/>
                        <a:pt x="4070" y="3834"/>
                        <a:pt x="4070" y="3842"/>
                      </a:cubicBezTo>
                      <a:cubicBezTo>
                        <a:pt x="4070" y="3850"/>
                        <a:pt x="4078" y="3858"/>
                        <a:pt x="4094" y="3866"/>
                      </a:cubicBezTo>
                      <a:cubicBezTo>
                        <a:pt x="4117" y="3874"/>
                        <a:pt x="4117" y="3890"/>
                        <a:pt x="4117" y="3897"/>
                      </a:cubicBezTo>
                      <a:cubicBezTo>
                        <a:pt x="4117" y="3905"/>
                        <a:pt x="4117" y="3913"/>
                        <a:pt x="4125" y="3913"/>
                      </a:cubicBezTo>
                      <a:cubicBezTo>
                        <a:pt x="4133" y="3913"/>
                        <a:pt x="4133" y="3921"/>
                        <a:pt x="4133" y="3921"/>
                      </a:cubicBezTo>
                      <a:cubicBezTo>
                        <a:pt x="4133" y="3937"/>
                        <a:pt x="4094" y="3961"/>
                        <a:pt x="4046" y="3992"/>
                      </a:cubicBezTo>
                      <a:cubicBezTo>
                        <a:pt x="4038" y="4000"/>
                        <a:pt x="4023" y="4008"/>
                        <a:pt x="4023" y="4008"/>
                      </a:cubicBezTo>
                      <a:cubicBezTo>
                        <a:pt x="4015" y="4016"/>
                        <a:pt x="4015" y="4016"/>
                        <a:pt x="4015" y="4016"/>
                      </a:cubicBezTo>
                      <a:cubicBezTo>
                        <a:pt x="4007" y="4024"/>
                        <a:pt x="3992" y="4032"/>
                        <a:pt x="3984" y="4032"/>
                      </a:cubicBezTo>
                      <a:cubicBezTo>
                        <a:pt x="3976" y="4032"/>
                        <a:pt x="3976" y="4032"/>
                        <a:pt x="3968" y="4024"/>
                      </a:cubicBezTo>
                      <a:cubicBezTo>
                        <a:pt x="3968" y="4016"/>
                        <a:pt x="3992" y="4000"/>
                        <a:pt x="4023" y="3969"/>
                      </a:cubicBezTo>
                      <a:cubicBezTo>
                        <a:pt x="4046" y="3953"/>
                        <a:pt x="4070" y="3937"/>
                        <a:pt x="4070" y="3929"/>
                      </a:cubicBezTo>
                      <a:cubicBezTo>
                        <a:pt x="4070" y="3921"/>
                        <a:pt x="4070" y="3921"/>
                        <a:pt x="4070" y="3921"/>
                      </a:cubicBezTo>
                      <a:cubicBezTo>
                        <a:pt x="4070" y="3929"/>
                        <a:pt x="4070" y="3929"/>
                        <a:pt x="4062" y="3929"/>
                      </a:cubicBezTo>
                      <a:cubicBezTo>
                        <a:pt x="4054" y="3937"/>
                        <a:pt x="4038" y="3953"/>
                        <a:pt x="4023" y="3953"/>
                      </a:cubicBezTo>
                      <a:cubicBezTo>
                        <a:pt x="4015" y="3953"/>
                        <a:pt x="4015" y="3953"/>
                        <a:pt x="4015" y="3953"/>
                      </a:cubicBezTo>
                      <a:cubicBezTo>
                        <a:pt x="4000" y="3953"/>
                        <a:pt x="4000" y="3945"/>
                        <a:pt x="3992" y="3937"/>
                      </a:cubicBezTo>
                      <a:cubicBezTo>
                        <a:pt x="3992" y="3929"/>
                        <a:pt x="3992" y="3921"/>
                        <a:pt x="3976" y="3905"/>
                      </a:cubicBezTo>
                      <a:cubicBezTo>
                        <a:pt x="3968" y="3897"/>
                        <a:pt x="3960" y="3897"/>
                        <a:pt x="3960" y="3897"/>
                      </a:cubicBezTo>
                      <a:cubicBezTo>
                        <a:pt x="3952" y="3897"/>
                        <a:pt x="3952" y="3905"/>
                        <a:pt x="3952" y="3913"/>
                      </a:cubicBezTo>
                      <a:cubicBezTo>
                        <a:pt x="3952" y="3921"/>
                        <a:pt x="3952" y="3921"/>
                        <a:pt x="3952" y="3921"/>
                      </a:cubicBezTo>
                      <a:cubicBezTo>
                        <a:pt x="3945" y="3937"/>
                        <a:pt x="3945" y="3937"/>
                        <a:pt x="3976" y="3945"/>
                      </a:cubicBezTo>
                      <a:lnTo>
                        <a:pt x="3984" y="3953"/>
                      </a:lnTo>
                      <a:cubicBezTo>
                        <a:pt x="3992" y="3977"/>
                        <a:pt x="3929" y="4032"/>
                        <a:pt x="3929" y="4032"/>
                      </a:cubicBezTo>
                      <a:cubicBezTo>
                        <a:pt x="3921" y="4032"/>
                        <a:pt x="3913" y="4040"/>
                        <a:pt x="3913" y="4040"/>
                      </a:cubicBezTo>
                      <a:cubicBezTo>
                        <a:pt x="3905" y="4040"/>
                        <a:pt x="3905" y="4032"/>
                        <a:pt x="3897" y="4024"/>
                      </a:cubicBezTo>
                      <a:cubicBezTo>
                        <a:pt x="3889" y="4024"/>
                        <a:pt x="3889" y="4024"/>
                        <a:pt x="3889" y="4016"/>
                      </a:cubicBezTo>
                      <a:cubicBezTo>
                        <a:pt x="3881" y="4016"/>
                        <a:pt x="3874" y="4016"/>
                        <a:pt x="3874" y="4016"/>
                      </a:cubicBezTo>
                      <a:cubicBezTo>
                        <a:pt x="3865" y="4016"/>
                        <a:pt x="3858" y="4016"/>
                        <a:pt x="3850" y="4016"/>
                      </a:cubicBezTo>
                      <a:cubicBezTo>
                        <a:pt x="3842" y="4024"/>
                        <a:pt x="3834" y="4024"/>
                        <a:pt x="3826" y="4024"/>
                      </a:cubicBezTo>
                      <a:cubicBezTo>
                        <a:pt x="3818" y="4024"/>
                        <a:pt x="3818" y="4024"/>
                        <a:pt x="3810" y="4032"/>
                      </a:cubicBezTo>
                      <a:cubicBezTo>
                        <a:pt x="3810" y="4040"/>
                        <a:pt x="3810" y="4048"/>
                        <a:pt x="3810" y="4064"/>
                      </a:cubicBezTo>
                      <a:cubicBezTo>
                        <a:pt x="3810" y="4071"/>
                        <a:pt x="3810" y="4071"/>
                        <a:pt x="3810" y="4071"/>
                      </a:cubicBezTo>
                      <a:cubicBezTo>
                        <a:pt x="3818" y="4071"/>
                        <a:pt x="3818" y="4064"/>
                        <a:pt x="3826" y="4064"/>
                      </a:cubicBezTo>
                      <a:cubicBezTo>
                        <a:pt x="3834" y="4055"/>
                        <a:pt x="3842" y="4048"/>
                        <a:pt x="3858" y="4048"/>
                      </a:cubicBezTo>
                      <a:cubicBezTo>
                        <a:pt x="3858" y="4048"/>
                        <a:pt x="3865" y="4048"/>
                        <a:pt x="3865" y="4055"/>
                      </a:cubicBezTo>
                      <a:cubicBezTo>
                        <a:pt x="3874" y="4064"/>
                        <a:pt x="3850" y="4087"/>
                        <a:pt x="3826" y="4127"/>
                      </a:cubicBezTo>
                      <a:cubicBezTo>
                        <a:pt x="3818" y="4142"/>
                        <a:pt x="3818" y="4150"/>
                        <a:pt x="3810" y="4158"/>
                      </a:cubicBezTo>
                      <a:lnTo>
                        <a:pt x="3802" y="4166"/>
                      </a:lnTo>
                      <a:cubicBezTo>
                        <a:pt x="3794" y="4182"/>
                        <a:pt x="3794" y="4182"/>
                        <a:pt x="3786" y="4182"/>
                      </a:cubicBezTo>
                      <a:lnTo>
                        <a:pt x="3778" y="4182"/>
                      </a:lnTo>
                      <a:lnTo>
                        <a:pt x="3778" y="4182"/>
                      </a:lnTo>
                      <a:cubicBezTo>
                        <a:pt x="3763" y="4182"/>
                        <a:pt x="3763" y="4174"/>
                        <a:pt x="3755" y="4166"/>
                      </a:cubicBezTo>
                      <a:cubicBezTo>
                        <a:pt x="3755" y="4158"/>
                        <a:pt x="3755" y="4158"/>
                        <a:pt x="3747" y="4150"/>
                      </a:cubicBezTo>
                      <a:lnTo>
                        <a:pt x="3739" y="4150"/>
                      </a:lnTo>
                      <a:cubicBezTo>
                        <a:pt x="3731" y="4150"/>
                        <a:pt x="3723" y="4150"/>
                        <a:pt x="3715" y="4150"/>
                      </a:cubicBezTo>
                      <a:cubicBezTo>
                        <a:pt x="3707" y="4150"/>
                        <a:pt x="3699" y="4150"/>
                        <a:pt x="3692" y="4150"/>
                      </a:cubicBezTo>
                      <a:cubicBezTo>
                        <a:pt x="3684" y="4150"/>
                        <a:pt x="3684" y="4158"/>
                        <a:pt x="3684" y="4158"/>
                      </a:cubicBezTo>
                      <a:lnTo>
                        <a:pt x="3684" y="4158"/>
                      </a:lnTo>
                      <a:cubicBezTo>
                        <a:pt x="3684" y="4166"/>
                        <a:pt x="3684" y="4174"/>
                        <a:pt x="3684" y="4182"/>
                      </a:cubicBezTo>
                      <a:cubicBezTo>
                        <a:pt x="3684" y="4190"/>
                        <a:pt x="3692" y="4190"/>
                        <a:pt x="3699" y="4198"/>
                      </a:cubicBezTo>
                      <a:cubicBezTo>
                        <a:pt x="3715" y="4198"/>
                        <a:pt x="3723" y="4206"/>
                        <a:pt x="3731" y="4214"/>
                      </a:cubicBezTo>
                      <a:cubicBezTo>
                        <a:pt x="3739" y="4214"/>
                        <a:pt x="3739" y="4214"/>
                        <a:pt x="3739" y="4214"/>
                      </a:cubicBezTo>
                      <a:cubicBezTo>
                        <a:pt x="3755" y="4230"/>
                        <a:pt x="3755" y="4230"/>
                        <a:pt x="3755" y="4245"/>
                      </a:cubicBezTo>
                      <a:cubicBezTo>
                        <a:pt x="3755" y="4253"/>
                        <a:pt x="3755" y="4261"/>
                        <a:pt x="3755" y="4261"/>
                      </a:cubicBezTo>
                      <a:cubicBezTo>
                        <a:pt x="3755" y="4277"/>
                        <a:pt x="3755" y="4285"/>
                        <a:pt x="3755" y="4285"/>
                      </a:cubicBezTo>
                      <a:cubicBezTo>
                        <a:pt x="3755" y="4293"/>
                        <a:pt x="3755" y="4293"/>
                        <a:pt x="3763" y="4293"/>
                      </a:cubicBezTo>
                      <a:lnTo>
                        <a:pt x="3763" y="4285"/>
                      </a:lnTo>
                      <a:cubicBezTo>
                        <a:pt x="3771" y="4285"/>
                        <a:pt x="3778" y="4261"/>
                        <a:pt x="3778" y="4237"/>
                      </a:cubicBezTo>
                      <a:cubicBezTo>
                        <a:pt x="3778" y="4222"/>
                        <a:pt x="3786" y="4214"/>
                        <a:pt x="3802" y="4198"/>
                      </a:cubicBezTo>
                      <a:lnTo>
                        <a:pt x="3810" y="4190"/>
                      </a:lnTo>
                      <a:cubicBezTo>
                        <a:pt x="3818" y="4182"/>
                        <a:pt x="3818" y="4182"/>
                        <a:pt x="3826" y="4182"/>
                      </a:cubicBezTo>
                      <a:lnTo>
                        <a:pt x="3834" y="4182"/>
                      </a:lnTo>
                      <a:cubicBezTo>
                        <a:pt x="3834" y="4190"/>
                        <a:pt x="3834" y="4214"/>
                        <a:pt x="3826" y="4230"/>
                      </a:cubicBezTo>
                      <a:cubicBezTo>
                        <a:pt x="3810" y="4253"/>
                        <a:pt x="3747" y="4372"/>
                        <a:pt x="3747" y="4395"/>
                      </a:cubicBezTo>
                      <a:cubicBezTo>
                        <a:pt x="3747" y="4403"/>
                        <a:pt x="3747" y="4411"/>
                        <a:pt x="3747" y="4411"/>
                      </a:cubicBezTo>
                      <a:cubicBezTo>
                        <a:pt x="3747" y="4427"/>
                        <a:pt x="3739" y="4435"/>
                        <a:pt x="3723" y="4443"/>
                      </a:cubicBezTo>
                      <a:lnTo>
                        <a:pt x="3715" y="4435"/>
                      </a:lnTo>
                      <a:cubicBezTo>
                        <a:pt x="3715" y="4435"/>
                        <a:pt x="3715" y="4427"/>
                        <a:pt x="3715" y="4411"/>
                      </a:cubicBezTo>
                      <a:cubicBezTo>
                        <a:pt x="3715" y="4403"/>
                        <a:pt x="3723" y="4395"/>
                        <a:pt x="3715" y="4395"/>
                      </a:cubicBezTo>
                      <a:lnTo>
                        <a:pt x="3715" y="4395"/>
                      </a:lnTo>
                      <a:lnTo>
                        <a:pt x="3715" y="4395"/>
                      </a:lnTo>
                      <a:cubicBezTo>
                        <a:pt x="3715" y="4403"/>
                        <a:pt x="3707" y="4411"/>
                        <a:pt x="3699" y="4419"/>
                      </a:cubicBezTo>
                      <a:cubicBezTo>
                        <a:pt x="3692" y="4419"/>
                        <a:pt x="3692" y="4427"/>
                        <a:pt x="3684" y="4427"/>
                      </a:cubicBezTo>
                      <a:cubicBezTo>
                        <a:pt x="3676" y="4427"/>
                        <a:pt x="3676" y="4419"/>
                        <a:pt x="3668" y="4419"/>
                      </a:cubicBezTo>
                      <a:cubicBezTo>
                        <a:pt x="3660" y="4419"/>
                        <a:pt x="3660" y="4419"/>
                        <a:pt x="3660" y="4411"/>
                      </a:cubicBezTo>
                      <a:cubicBezTo>
                        <a:pt x="3644" y="4411"/>
                        <a:pt x="3628" y="4403"/>
                        <a:pt x="3605" y="4403"/>
                      </a:cubicBezTo>
                      <a:cubicBezTo>
                        <a:pt x="3597" y="4403"/>
                        <a:pt x="3589" y="4403"/>
                        <a:pt x="3581" y="4411"/>
                      </a:cubicBezTo>
                      <a:lnTo>
                        <a:pt x="3581" y="4411"/>
                      </a:lnTo>
                      <a:cubicBezTo>
                        <a:pt x="3581" y="4419"/>
                        <a:pt x="3581" y="4419"/>
                        <a:pt x="3589" y="4427"/>
                      </a:cubicBezTo>
                      <a:cubicBezTo>
                        <a:pt x="3597" y="4427"/>
                        <a:pt x="3597" y="4435"/>
                        <a:pt x="3605" y="4435"/>
                      </a:cubicBezTo>
                      <a:cubicBezTo>
                        <a:pt x="3612" y="4443"/>
                        <a:pt x="3612" y="4443"/>
                        <a:pt x="3621" y="4443"/>
                      </a:cubicBezTo>
                      <a:cubicBezTo>
                        <a:pt x="3621" y="4443"/>
                        <a:pt x="3628" y="4443"/>
                        <a:pt x="3636" y="4443"/>
                      </a:cubicBezTo>
                      <a:cubicBezTo>
                        <a:pt x="3636" y="4443"/>
                        <a:pt x="3644" y="4435"/>
                        <a:pt x="3652" y="4435"/>
                      </a:cubicBezTo>
                      <a:cubicBezTo>
                        <a:pt x="3684" y="4435"/>
                        <a:pt x="3692" y="4443"/>
                        <a:pt x="3699" y="4459"/>
                      </a:cubicBezTo>
                      <a:cubicBezTo>
                        <a:pt x="3707" y="4475"/>
                        <a:pt x="3715" y="4475"/>
                        <a:pt x="3715" y="4490"/>
                      </a:cubicBezTo>
                      <a:cubicBezTo>
                        <a:pt x="3715" y="4490"/>
                        <a:pt x="3715" y="4498"/>
                        <a:pt x="3715" y="4506"/>
                      </a:cubicBezTo>
                      <a:cubicBezTo>
                        <a:pt x="3715" y="4514"/>
                        <a:pt x="3723" y="4514"/>
                        <a:pt x="3723" y="4522"/>
                      </a:cubicBezTo>
                      <a:cubicBezTo>
                        <a:pt x="3723" y="4538"/>
                        <a:pt x="3731" y="4554"/>
                        <a:pt x="3731" y="4585"/>
                      </a:cubicBezTo>
                      <a:cubicBezTo>
                        <a:pt x="3731" y="4617"/>
                        <a:pt x="3739" y="4633"/>
                        <a:pt x="3747" y="4672"/>
                      </a:cubicBezTo>
                      <a:cubicBezTo>
                        <a:pt x="3755" y="4680"/>
                        <a:pt x="3755" y="4696"/>
                        <a:pt x="3763" y="4720"/>
                      </a:cubicBezTo>
                      <a:cubicBezTo>
                        <a:pt x="3778" y="4759"/>
                        <a:pt x="3786" y="4807"/>
                        <a:pt x="3794" y="4838"/>
                      </a:cubicBezTo>
                      <a:cubicBezTo>
                        <a:pt x="3794" y="4862"/>
                        <a:pt x="3802" y="4878"/>
                        <a:pt x="3802" y="4894"/>
                      </a:cubicBezTo>
                      <a:cubicBezTo>
                        <a:pt x="3810" y="4925"/>
                        <a:pt x="3810" y="4933"/>
                        <a:pt x="3802" y="4949"/>
                      </a:cubicBezTo>
                      <a:lnTo>
                        <a:pt x="3802" y="4949"/>
                      </a:lnTo>
                      <a:cubicBezTo>
                        <a:pt x="3802" y="4957"/>
                        <a:pt x="3794" y="4957"/>
                        <a:pt x="3794" y="4957"/>
                      </a:cubicBezTo>
                      <a:lnTo>
                        <a:pt x="3794" y="4957"/>
                      </a:lnTo>
                      <a:cubicBezTo>
                        <a:pt x="3786" y="4949"/>
                        <a:pt x="3778" y="4909"/>
                        <a:pt x="3778" y="4886"/>
                      </a:cubicBezTo>
                      <a:cubicBezTo>
                        <a:pt x="3778" y="4870"/>
                        <a:pt x="3747" y="4775"/>
                        <a:pt x="3731" y="4759"/>
                      </a:cubicBezTo>
                      <a:cubicBezTo>
                        <a:pt x="3715" y="4735"/>
                        <a:pt x="3699" y="4601"/>
                        <a:pt x="3699" y="4561"/>
                      </a:cubicBezTo>
                      <a:cubicBezTo>
                        <a:pt x="3699" y="4538"/>
                        <a:pt x="3699" y="4522"/>
                        <a:pt x="3692" y="4514"/>
                      </a:cubicBezTo>
                      <a:cubicBezTo>
                        <a:pt x="3692" y="4530"/>
                        <a:pt x="3684" y="4554"/>
                        <a:pt x="3660" y="4561"/>
                      </a:cubicBezTo>
                      <a:cubicBezTo>
                        <a:pt x="3636" y="4570"/>
                        <a:pt x="3636" y="4577"/>
                        <a:pt x="3644" y="4601"/>
                      </a:cubicBezTo>
                      <a:cubicBezTo>
                        <a:pt x="3644" y="4609"/>
                        <a:pt x="3652" y="4609"/>
                        <a:pt x="3652" y="4617"/>
                      </a:cubicBezTo>
                      <a:cubicBezTo>
                        <a:pt x="3660" y="4625"/>
                        <a:pt x="3668" y="4625"/>
                        <a:pt x="3660" y="4641"/>
                      </a:cubicBezTo>
                      <a:cubicBezTo>
                        <a:pt x="3660" y="4656"/>
                        <a:pt x="3668" y="4664"/>
                        <a:pt x="3684" y="4680"/>
                      </a:cubicBezTo>
                      <a:cubicBezTo>
                        <a:pt x="3684" y="4688"/>
                        <a:pt x="3692" y="4696"/>
                        <a:pt x="3692" y="4704"/>
                      </a:cubicBezTo>
                      <a:cubicBezTo>
                        <a:pt x="3707" y="4720"/>
                        <a:pt x="3707" y="4743"/>
                        <a:pt x="3699" y="4767"/>
                      </a:cubicBezTo>
                      <a:cubicBezTo>
                        <a:pt x="3699" y="4783"/>
                        <a:pt x="3699" y="4799"/>
                        <a:pt x="3699" y="4822"/>
                      </a:cubicBezTo>
                      <a:cubicBezTo>
                        <a:pt x="3699" y="4846"/>
                        <a:pt x="3707" y="4854"/>
                        <a:pt x="3715" y="4862"/>
                      </a:cubicBezTo>
                      <a:cubicBezTo>
                        <a:pt x="3723" y="4878"/>
                        <a:pt x="3731" y="4886"/>
                        <a:pt x="3739" y="4909"/>
                      </a:cubicBezTo>
                      <a:cubicBezTo>
                        <a:pt x="3739" y="4941"/>
                        <a:pt x="3747" y="4949"/>
                        <a:pt x="3755" y="4957"/>
                      </a:cubicBezTo>
                      <a:cubicBezTo>
                        <a:pt x="3755" y="4965"/>
                        <a:pt x="3763" y="4972"/>
                        <a:pt x="3771" y="4981"/>
                      </a:cubicBezTo>
                      <a:cubicBezTo>
                        <a:pt x="3778" y="5004"/>
                        <a:pt x="3778" y="5012"/>
                        <a:pt x="3771" y="5020"/>
                      </a:cubicBezTo>
                      <a:cubicBezTo>
                        <a:pt x="3771" y="5028"/>
                        <a:pt x="3763" y="5028"/>
                        <a:pt x="3771" y="5036"/>
                      </a:cubicBezTo>
                      <a:lnTo>
                        <a:pt x="3771" y="5036"/>
                      </a:lnTo>
                      <a:cubicBezTo>
                        <a:pt x="3771" y="5036"/>
                        <a:pt x="3771" y="5036"/>
                        <a:pt x="3778" y="5028"/>
                      </a:cubicBezTo>
                      <a:cubicBezTo>
                        <a:pt x="3778" y="5028"/>
                        <a:pt x="3778" y="5020"/>
                        <a:pt x="3786" y="5012"/>
                      </a:cubicBezTo>
                      <a:lnTo>
                        <a:pt x="3786" y="5012"/>
                      </a:lnTo>
                      <a:cubicBezTo>
                        <a:pt x="3786" y="5004"/>
                        <a:pt x="3794" y="5004"/>
                        <a:pt x="3794" y="5004"/>
                      </a:cubicBezTo>
                      <a:cubicBezTo>
                        <a:pt x="3802" y="5004"/>
                        <a:pt x="3810" y="5012"/>
                        <a:pt x="3818" y="5044"/>
                      </a:cubicBezTo>
                      <a:cubicBezTo>
                        <a:pt x="3818" y="5044"/>
                        <a:pt x="3818" y="5044"/>
                        <a:pt x="3818" y="5052"/>
                      </a:cubicBezTo>
                      <a:cubicBezTo>
                        <a:pt x="3818" y="5060"/>
                        <a:pt x="3818" y="5060"/>
                        <a:pt x="3818" y="5060"/>
                      </a:cubicBezTo>
                      <a:cubicBezTo>
                        <a:pt x="3810" y="5052"/>
                        <a:pt x="3810" y="5052"/>
                        <a:pt x="3810" y="5052"/>
                      </a:cubicBezTo>
                      <a:cubicBezTo>
                        <a:pt x="3810" y="5052"/>
                        <a:pt x="3802" y="5052"/>
                        <a:pt x="3794" y="5052"/>
                      </a:cubicBezTo>
                      <a:lnTo>
                        <a:pt x="3794" y="5052"/>
                      </a:lnTo>
                      <a:cubicBezTo>
                        <a:pt x="3786" y="5060"/>
                        <a:pt x="3763" y="5075"/>
                        <a:pt x="3755" y="5083"/>
                      </a:cubicBezTo>
                      <a:cubicBezTo>
                        <a:pt x="3755" y="5083"/>
                        <a:pt x="3755" y="5091"/>
                        <a:pt x="3755" y="5099"/>
                      </a:cubicBezTo>
                      <a:cubicBezTo>
                        <a:pt x="3747" y="5107"/>
                        <a:pt x="3739" y="5115"/>
                        <a:pt x="3731" y="5123"/>
                      </a:cubicBezTo>
                      <a:cubicBezTo>
                        <a:pt x="3723" y="5123"/>
                        <a:pt x="3715" y="5123"/>
                        <a:pt x="3715" y="5123"/>
                      </a:cubicBezTo>
                      <a:close/>
                      <a:moveTo>
                        <a:pt x="3518" y="4972"/>
                      </a:moveTo>
                      <a:lnTo>
                        <a:pt x="3518" y="4972"/>
                      </a:lnTo>
                      <a:cubicBezTo>
                        <a:pt x="3541" y="4972"/>
                        <a:pt x="3565" y="4988"/>
                        <a:pt x="3589" y="5004"/>
                      </a:cubicBezTo>
                      <a:cubicBezTo>
                        <a:pt x="3597" y="5012"/>
                        <a:pt x="3612" y="5020"/>
                        <a:pt x="3621" y="5020"/>
                      </a:cubicBezTo>
                      <a:cubicBezTo>
                        <a:pt x="3644" y="5036"/>
                        <a:pt x="3660" y="5060"/>
                        <a:pt x="3676" y="5075"/>
                      </a:cubicBezTo>
                      <a:cubicBezTo>
                        <a:pt x="3684" y="5083"/>
                        <a:pt x="3684" y="5083"/>
                        <a:pt x="3692" y="5091"/>
                      </a:cubicBezTo>
                      <a:cubicBezTo>
                        <a:pt x="3699" y="5099"/>
                        <a:pt x="3699" y="5107"/>
                        <a:pt x="3707" y="5107"/>
                      </a:cubicBezTo>
                      <a:cubicBezTo>
                        <a:pt x="3707" y="5115"/>
                        <a:pt x="3707" y="5115"/>
                        <a:pt x="3715" y="5115"/>
                      </a:cubicBezTo>
                      <a:lnTo>
                        <a:pt x="3723" y="5115"/>
                      </a:lnTo>
                      <a:cubicBezTo>
                        <a:pt x="3739" y="5107"/>
                        <a:pt x="3739" y="5107"/>
                        <a:pt x="3747" y="5099"/>
                      </a:cubicBezTo>
                      <a:cubicBezTo>
                        <a:pt x="3747" y="5091"/>
                        <a:pt x="3747" y="5083"/>
                        <a:pt x="3747" y="5083"/>
                      </a:cubicBezTo>
                      <a:cubicBezTo>
                        <a:pt x="3747" y="5075"/>
                        <a:pt x="3747" y="5075"/>
                        <a:pt x="3747" y="5075"/>
                      </a:cubicBezTo>
                      <a:lnTo>
                        <a:pt x="3747" y="5075"/>
                      </a:lnTo>
                      <a:cubicBezTo>
                        <a:pt x="3755" y="5075"/>
                        <a:pt x="3778" y="5060"/>
                        <a:pt x="3786" y="5052"/>
                      </a:cubicBezTo>
                      <a:cubicBezTo>
                        <a:pt x="3786" y="5044"/>
                        <a:pt x="3794" y="5044"/>
                        <a:pt x="3794" y="5044"/>
                      </a:cubicBezTo>
                      <a:cubicBezTo>
                        <a:pt x="3802" y="5044"/>
                        <a:pt x="3802" y="5044"/>
                        <a:pt x="3810" y="5044"/>
                      </a:cubicBezTo>
                      <a:cubicBezTo>
                        <a:pt x="3802" y="5012"/>
                        <a:pt x="3794" y="5012"/>
                        <a:pt x="3794" y="5012"/>
                      </a:cubicBezTo>
                      <a:lnTo>
                        <a:pt x="3794" y="5012"/>
                      </a:lnTo>
                      <a:cubicBezTo>
                        <a:pt x="3786" y="5020"/>
                        <a:pt x="3786" y="5020"/>
                        <a:pt x="3786" y="5020"/>
                      </a:cubicBezTo>
                      <a:cubicBezTo>
                        <a:pt x="3786" y="5020"/>
                        <a:pt x="3786" y="5028"/>
                        <a:pt x="3778" y="5036"/>
                      </a:cubicBezTo>
                      <a:cubicBezTo>
                        <a:pt x="3778" y="5044"/>
                        <a:pt x="3778" y="5044"/>
                        <a:pt x="3771" y="5044"/>
                      </a:cubicBezTo>
                      <a:cubicBezTo>
                        <a:pt x="3771" y="5044"/>
                        <a:pt x="3763" y="5044"/>
                        <a:pt x="3763" y="5036"/>
                      </a:cubicBezTo>
                      <a:cubicBezTo>
                        <a:pt x="3755" y="5028"/>
                        <a:pt x="3763" y="5028"/>
                        <a:pt x="3763" y="5020"/>
                      </a:cubicBezTo>
                      <a:cubicBezTo>
                        <a:pt x="3771" y="5012"/>
                        <a:pt x="3771" y="5004"/>
                        <a:pt x="3763" y="4981"/>
                      </a:cubicBezTo>
                      <a:cubicBezTo>
                        <a:pt x="3755" y="4972"/>
                        <a:pt x="3755" y="4972"/>
                        <a:pt x="3747" y="4965"/>
                      </a:cubicBezTo>
                      <a:cubicBezTo>
                        <a:pt x="3739" y="4949"/>
                        <a:pt x="3731" y="4949"/>
                        <a:pt x="3731" y="4909"/>
                      </a:cubicBezTo>
                      <a:cubicBezTo>
                        <a:pt x="3723" y="4886"/>
                        <a:pt x="3715" y="4878"/>
                        <a:pt x="3707" y="4870"/>
                      </a:cubicBezTo>
                      <a:cubicBezTo>
                        <a:pt x="3699" y="4862"/>
                        <a:pt x="3692" y="4854"/>
                        <a:pt x="3692" y="4822"/>
                      </a:cubicBezTo>
                      <a:cubicBezTo>
                        <a:pt x="3692" y="4799"/>
                        <a:pt x="3692" y="4783"/>
                        <a:pt x="3692" y="4767"/>
                      </a:cubicBezTo>
                      <a:cubicBezTo>
                        <a:pt x="3699" y="4743"/>
                        <a:pt x="3699" y="4728"/>
                        <a:pt x="3692" y="4704"/>
                      </a:cubicBezTo>
                      <a:cubicBezTo>
                        <a:pt x="3684" y="4704"/>
                        <a:pt x="3676" y="4696"/>
                        <a:pt x="3676" y="4688"/>
                      </a:cubicBezTo>
                      <a:cubicBezTo>
                        <a:pt x="3660" y="4672"/>
                        <a:pt x="3652" y="4656"/>
                        <a:pt x="3652" y="4641"/>
                      </a:cubicBezTo>
                      <a:cubicBezTo>
                        <a:pt x="3660" y="4625"/>
                        <a:pt x="3652" y="4625"/>
                        <a:pt x="3652" y="4617"/>
                      </a:cubicBezTo>
                      <a:cubicBezTo>
                        <a:pt x="3644" y="4617"/>
                        <a:pt x="3644" y="4609"/>
                        <a:pt x="3636" y="4601"/>
                      </a:cubicBezTo>
                      <a:cubicBezTo>
                        <a:pt x="3628" y="4577"/>
                        <a:pt x="3628" y="4570"/>
                        <a:pt x="3660" y="4554"/>
                      </a:cubicBezTo>
                      <a:cubicBezTo>
                        <a:pt x="3684" y="4546"/>
                        <a:pt x="3684" y="4530"/>
                        <a:pt x="3684" y="4514"/>
                      </a:cubicBezTo>
                      <a:lnTo>
                        <a:pt x="3684" y="4506"/>
                      </a:lnTo>
                      <a:cubicBezTo>
                        <a:pt x="3684" y="4506"/>
                        <a:pt x="3684" y="4506"/>
                        <a:pt x="3692" y="4506"/>
                      </a:cubicBezTo>
                      <a:cubicBezTo>
                        <a:pt x="3699" y="4506"/>
                        <a:pt x="3707" y="4530"/>
                        <a:pt x="3707" y="4561"/>
                      </a:cubicBezTo>
                      <a:cubicBezTo>
                        <a:pt x="3707" y="4601"/>
                        <a:pt x="3723" y="4735"/>
                        <a:pt x="3739" y="4751"/>
                      </a:cubicBezTo>
                      <a:cubicBezTo>
                        <a:pt x="3755" y="4775"/>
                        <a:pt x="3786" y="4862"/>
                        <a:pt x="3786" y="4886"/>
                      </a:cubicBezTo>
                      <a:cubicBezTo>
                        <a:pt x="3786" y="4909"/>
                        <a:pt x="3794" y="4941"/>
                        <a:pt x="3794" y="4949"/>
                      </a:cubicBezTo>
                      <a:lnTo>
                        <a:pt x="3794" y="4949"/>
                      </a:lnTo>
                      <a:cubicBezTo>
                        <a:pt x="3794" y="4949"/>
                        <a:pt x="3794" y="4941"/>
                        <a:pt x="3802" y="4941"/>
                      </a:cubicBezTo>
                      <a:cubicBezTo>
                        <a:pt x="3802" y="4933"/>
                        <a:pt x="3802" y="4933"/>
                        <a:pt x="3794" y="4894"/>
                      </a:cubicBezTo>
                      <a:cubicBezTo>
                        <a:pt x="3794" y="4878"/>
                        <a:pt x="3786" y="4862"/>
                        <a:pt x="3786" y="4846"/>
                      </a:cubicBezTo>
                      <a:cubicBezTo>
                        <a:pt x="3778" y="4807"/>
                        <a:pt x="3771" y="4759"/>
                        <a:pt x="3755" y="4720"/>
                      </a:cubicBezTo>
                      <a:cubicBezTo>
                        <a:pt x="3755" y="4704"/>
                        <a:pt x="3747" y="4688"/>
                        <a:pt x="3739" y="4672"/>
                      </a:cubicBezTo>
                      <a:cubicBezTo>
                        <a:pt x="3731" y="4641"/>
                        <a:pt x="3723" y="4617"/>
                        <a:pt x="3723" y="4585"/>
                      </a:cubicBezTo>
                      <a:cubicBezTo>
                        <a:pt x="3723" y="4561"/>
                        <a:pt x="3715" y="4538"/>
                        <a:pt x="3715" y="4522"/>
                      </a:cubicBezTo>
                      <a:cubicBezTo>
                        <a:pt x="3715" y="4514"/>
                        <a:pt x="3707" y="4514"/>
                        <a:pt x="3707" y="4506"/>
                      </a:cubicBezTo>
                      <a:cubicBezTo>
                        <a:pt x="3707" y="4498"/>
                        <a:pt x="3707" y="4498"/>
                        <a:pt x="3707" y="4490"/>
                      </a:cubicBezTo>
                      <a:cubicBezTo>
                        <a:pt x="3707" y="4482"/>
                        <a:pt x="3699" y="4475"/>
                        <a:pt x="3699" y="4467"/>
                      </a:cubicBezTo>
                      <a:cubicBezTo>
                        <a:pt x="3684" y="4451"/>
                        <a:pt x="3676" y="4443"/>
                        <a:pt x="3652" y="4443"/>
                      </a:cubicBezTo>
                      <a:cubicBezTo>
                        <a:pt x="3644" y="4443"/>
                        <a:pt x="3644" y="4443"/>
                        <a:pt x="3636" y="4451"/>
                      </a:cubicBezTo>
                      <a:cubicBezTo>
                        <a:pt x="3628" y="4451"/>
                        <a:pt x="3628" y="4451"/>
                        <a:pt x="3621" y="4451"/>
                      </a:cubicBezTo>
                      <a:cubicBezTo>
                        <a:pt x="3612" y="4451"/>
                        <a:pt x="3605" y="4451"/>
                        <a:pt x="3597" y="4443"/>
                      </a:cubicBezTo>
                      <a:cubicBezTo>
                        <a:pt x="3597" y="4435"/>
                        <a:pt x="3589" y="4435"/>
                        <a:pt x="3581" y="4427"/>
                      </a:cubicBezTo>
                      <a:cubicBezTo>
                        <a:pt x="3581" y="4427"/>
                        <a:pt x="3573" y="4419"/>
                        <a:pt x="3573" y="4411"/>
                      </a:cubicBezTo>
                      <a:cubicBezTo>
                        <a:pt x="3573" y="4411"/>
                        <a:pt x="3573" y="4403"/>
                        <a:pt x="3581" y="4403"/>
                      </a:cubicBezTo>
                      <a:cubicBezTo>
                        <a:pt x="3589" y="4395"/>
                        <a:pt x="3597" y="4395"/>
                        <a:pt x="3605" y="4395"/>
                      </a:cubicBezTo>
                      <a:cubicBezTo>
                        <a:pt x="3621" y="4395"/>
                        <a:pt x="3644" y="4403"/>
                        <a:pt x="3660" y="4403"/>
                      </a:cubicBezTo>
                      <a:cubicBezTo>
                        <a:pt x="3660" y="4411"/>
                        <a:pt x="3668" y="4411"/>
                        <a:pt x="3668" y="4411"/>
                      </a:cubicBezTo>
                      <a:cubicBezTo>
                        <a:pt x="3684" y="4419"/>
                        <a:pt x="3684" y="4419"/>
                        <a:pt x="3699" y="4411"/>
                      </a:cubicBezTo>
                      <a:cubicBezTo>
                        <a:pt x="3699" y="4403"/>
                        <a:pt x="3707" y="4395"/>
                        <a:pt x="3707" y="4395"/>
                      </a:cubicBezTo>
                      <a:cubicBezTo>
                        <a:pt x="3715" y="4388"/>
                        <a:pt x="3715" y="4380"/>
                        <a:pt x="3715" y="4380"/>
                      </a:cubicBezTo>
                      <a:cubicBezTo>
                        <a:pt x="3723" y="4380"/>
                        <a:pt x="3723" y="4388"/>
                        <a:pt x="3723" y="4388"/>
                      </a:cubicBezTo>
                      <a:cubicBezTo>
                        <a:pt x="3731" y="4395"/>
                        <a:pt x="3723" y="4411"/>
                        <a:pt x="3723" y="4419"/>
                      </a:cubicBezTo>
                      <a:cubicBezTo>
                        <a:pt x="3723" y="4419"/>
                        <a:pt x="3723" y="4427"/>
                        <a:pt x="3723" y="4435"/>
                      </a:cubicBezTo>
                      <a:lnTo>
                        <a:pt x="3723" y="4435"/>
                      </a:lnTo>
                      <a:cubicBezTo>
                        <a:pt x="3739" y="4427"/>
                        <a:pt x="3739" y="4427"/>
                        <a:pt x="3739" y="4411"/>
                      </a:cubicBezTo>
                      <a:cubicBezTo>
                        <a:pt x="3739" y="4411"/>
                        <a:pt x="3739" y="4403"/>
                        <a:pt x="3739" y="4395"/>
                      </a:cubicBezTo>
                      <a:cubicBezTo>
                        <a:pt x="3747" y="4372"/>
                        <a:pt x="3802" y="4253"/>
                        <a:pt x="3818" y="4222"/>
                      </a:cubicBezTo>
                      <a:cubicBezTo>
                        <a:pt x="3826" y="4206"/>
                        <a:pt x="3826" y="4190"/>
                        <a:pt x="3826" y="4190"/>
                      </a:cubicBezTo>
                      <a:lnTo>
                        <a:pt x="3826" y="4190"/>
                      </a:lnTo>
                      <a:cubicBezTo>
                        <a:pt x="3826" y="4190"/>
                        <a:pt x="3826" y="4190"/>
                        <a:pt x="3818" y="4190"/>
                      </a:cubicBezTo>
                      <a:cubicBezTo>
                        <a:pt x="3818" y="4198"/>
                        <a:pt x="3810" y="4198"/>
                        <a:pt x="3810" y="4206"/>
                      </a:cubicBezTo>
                      <a:cubicBezTo>
                        <a:pt x="3794" y="4214"/>
                        <a:pt x="3786" y="4222"/>
                        <a:pt x="3786" y="4237"/>
                      </a:cubicBezTo>
                      <a:cubicBezTo>
                        <a:pt x="3786" y="4261"/>
                        <a:pt x="3778" y="4285"/>
                        <a:pt x="3771" y="4293"/>
                      </a:cubicBezTo>
                      <a:cubicBezTo>
                        <a:pt x="3763" y="4293"/>
                        <a:pt x="3763" y="4301"/>
                        <a:pt x="3763" y="4301"/>
                      </a:cubicBezTo>
                      <a:cubicBezTo>
                        <a:pt x="3755" y="4301"/>
                        <a:pt x="3755" y="4293"/>
                        <a:pt x="3747" y="4285"/>
                      </a:cubicBezTo>
                      <a:cubicBezTo>
                        <a:pt x="3747" y="4285"/>
                        <a:pt x="3747" y="4277"/>
                        <a:pt x="3747" y="4261"/>
                      </a:cubicBezTo>
                      <a:cubicBezTo>
                        <a:pt x="3747" y="4261"/>
                        <a:pt x="3747" y="4253"/>
                        <a:pt x="3747" y="4245"/>
                      </a:cubicBezTo>
                      <a:cubicBezTo>
                        <a:pt x="3747" y="4237"/>
                        <a:pt x="3747" y="4237"/>
                        <a:pt x="3731" y="4222"/>
                      </a:cubicBezTo>
                      <a:lnTo>
                        <a:pt x="3731" y="4222"/>
                      </a:lnTo>
                      <a:cubicBezTo>
                        <a:pt x="3723" y="4206"/>
                        <a:pt x="3707" y="4206"/>
                        <a:pt x="3699" y="4206"/>
                      </a:cubicBezTo>
                      <a:cubicBezTo>
                        <a:pt x="3692" y="4198"/>
                        <a:pt x="3684" y="4198"/>
                        <a:pt x="3684" y="4182"/>
                      </a:cubicBezTo>
                      <a:cubicBezTo>
                        <a:pt x="3684" y="4174"/>
                        <a:pt x="3676" y="4166"/>
                        <a:pt x="3676" y="4166"/>
                      </a:cubicBezTo>
                      <a:cubicBezTo>
                        <a:pt x="3676" y="4158"/>
                        <a:pt x="3676" y="4158"/>
                        <a:pt x="3676" y="4150"/>
                      </a:cubicBezTo>
                      <a:cubicBezTo>
                        <a:pt x="3676" y="4150"/>
                        <a:pt x="3684" y="4142"/>
                        <a:pt x="3692" y="4142"/>
                      </a:cubicBezTo>
                      <a:cubicBezTo>
                        <a:pt x="3699" y="4142"/>
                        <a:pt x="3707" y="4142"/>
                        <a:pt x="3715" y="4142"/>
                      </a:cubicBezTo>
                      <a:cubicBezTo>
                        <a:pt x="3723" y="4142"/>
                        <a:pt x="3731" y="4142"/>
                        <a:pt x="3739" y="4142"/>
                      </a:cubicBezTo>
                      <a:cubicBezTo>
                        <a:pt x="3747" y="4142"/>
                        <a:pt x="3747" y="4142"/>
                        <a:pt x="3755" y="4150"/>
                      </a:cubicBezTo>
                      <a:cubicBezTo>
                        <a:pt x="3763" y="4150"/>
                        <a:pt x="3763" y="4158"/>
                        <a:pt x="3763" y="4166"/>
                      </a:cubicBezTo>
                      <a:cubicBezTo>
                        <a:pt x="3771" y="4174"/>
                        <a:pt x="3771" y="4174"/>
                        <a:pt x="3778" y="4174"/>
                      </a:cubicBezTo>
                      <a:lnTo>
                        <a:pt x="3778" y="4174"/>
                      </a:lnTo>
                      <a:cubicBezTo>
                        <a:pt x="3778" y="4182"/>
                        <a:pt x="3786" y="4182"/>
                        <a:pt x="3786" y="4182"/>
                      </a:cubicBezTo>
                      <a:cubicBezTo>
                        <a:pt x="3786" y="4182"/>
                        <a:pt x="3786" y="4174"/>
                        <a:pt x="3794" y="4166"/>
                      </a:cubicBezTo>
                      <a:cubicBezTo>
                        <a:pt x="3794" y="4166"/>
                        <a:pt x="3802" y="4158"/>
                        <a:pt x="3802" y="4150"/>
                      </a:cubicBezTo>
                      <a:cubicBezTo>
                        <a:pt x="3810" y="4142"/>
                        <a:pt x="3818" y="4135"/>
                        <a:pt x="3818" y="4127"/>
                      </a:cubicBezTo>
                      <a:cubicBezTo>
                        <a:pt x="3834" y="4103"/>
                        <a:pt x="3865" y="4064"/>
                        <a:pt x="3858" y="4055"/>
                      </a:cubicBezTo>
                      <a:lnTo>
                        <a:pt x="3858" y="4055"/>
                      </a:lnTo>
                      <a:cubicBezTo>
                        <a:pt x="3850" y="4055"/>
                        <a:pt x="3842" y="4064"/>
                        <a:pt x="3826" y="4071"/>
                      </a:cubicBezTo>
                      <a:cubicBezTo>
                        <a:pt x="3826" y="4071"/>
                        <a:pt x="3818" y="4079"/>
                        <a:pt x="3810" y="4079"/>
                      </a:cubicBezTo>
                      <a:cubicBezTo>
                        <a:pt x="3810" y="4079"/>
                        <a:pt x="3802" y="4079"/>
                        <a:pt x="3802" y="4071"/>
                      </a:cubicBezTo>
                      <a:cubicBezTo>
                        <a:pt x="3802" y="4055"/>
                        <a:pt x="3802" y="4040"/>
                        <a:pt x="3810" y="4024"/>
                      </a:cubicBezTo>
                      <a:cubicBezTo>
                        <a:pt x="3810" y="4024"/>
                        <a:pt x="3818" y="4016"/>
                        <a:pt x="3826" y="4016"/>
                      </a:cubicBezTo>
                      <a:cubicBezTo>
                        <a:pt x="3834" y="4016"/>
                        <a:pt x="3834" y="4016"/>
                        <a:pt x="3842" y="4016"/>
                      </a:cubicBezTo>
                      <a:cubicBezTo>
                        <a:pt x="3850" y="4008"/>
                        <a:pt x="3858" y="4008"/>
                        <a:pt x="3874" y="4008"/>
                      </a:cubicBezTo>
                      <a:cubicBezTo>
                        <a:pt x="3881" y="4008"/>
                        <a:pt x="3881" y="4008"/>
                        <a:pt x="3889" y="4016"/>
                      </a:cubicBezTo>
                      <a:cubicBezTo>
                        <a:pt x="3897" y="4016"/>
                        <a:pt x="3897" y="4016"/>
                        <a:pt x="3897" y="4024"/>
                      </a:cubicBezTo>
                      <a:cubicBezTo>
                        <a:pt x="3905" y="4024"/>
                        <a:pt x="3913" y="4032"/>
                        <a:pt x="3913" y="4032"/>
                      </a:cubicBezTo>
                      <a:cubicBezTo>
                        <a:pt x="3913" y="4032"/>
                        <a:pt x="3913" y="4032"/>
                        <a:pt x="3921" y="4024"/>
                      </a:cubicBezTo>
                      <a:cubicBezTo>
                        <a:pt x="3937" y="4008"/>
                        <a:pt x="3976" y="3969"/>
                        <a:pt x="3976" y="3953"/>
                      </a:cubicBezTo>
                      <a:lnTo>
                        <a:pt x="3976" y="3953"/>
                      </a:lnTo>
                      <a:cubicBezTo>
                        <a:pt x="3945" y="3945"/>
                        <a:pt x="3937" y="3945"/>
                        <a:pt x="3945" y="3921"/>
                      </a:cubicBezTo>
                      <a:cubicBezTo>
                        <a:pt x="3945" y="3913"/>
                        <a:pt x="3945" y="3913"/>
                        <a:pt x="3945" y="3913"/>
                      </a:cubicBezTo>
                      <a:cubicBezTo>
                        <a:pt x="3945" y="3905"/>
                        <a:pt x="3945" y="3890"/>
                        <a:pt x="3960" y="3890"/>
                      </a:cubicBezTo>
                      <a:cubicBezTo>
                        <a:pt x="3960" y="3890"/>
                        <a:pt x="3968" y="3890"/>
                        <a:pt x="3984" y="3905"/>
                      </a:cubicBezTo>
                      <a:cubicBezTo>
                        <a:pt x="3999" y="3921"/>
                        <a:pt x="4000" y="3929"/>
                        <a:pt x="4000" y="3937"/>
                      </a:cubicBezTo>
                      <a:cubicBezTo>
                        <a:pt x="4007" y="3945"/>
                        <a:pt x="4007" y="3945"/>
                        <a:pt x="4015" y="3945"/>
                      </a:cubicBezTo>
                      <a:lnTo>
                        <a:pt x="4015" y="3945"/>
                      </a:lnTo>
                      <a:cubicBezTo>
                        <a:pt x="4031" y="3945"/>
                        <a:pt x="4046" y="3929"/>
                        <a:pt x="4062" y="3921"/>
                      </a:cubicBezTo>
                      <a:cubicBezTo>
                        <a:pt x="4070" y="3921"/>
                        <a:pt x="4070" y="3921"/>
                        <a:pt x="4078" y="3921"/>
                      </a:cubicBezTo>
                      <a:lnTo>
                        <a:pt x="4078" y="3921"/>
                      </a:lnTo>
                      <a:cubicBezTo>
                        <a:pt x="4078" y="3921"/>
                        <a:pt x="4078" y="3921"/>
                        <a:pt x="4078" y="3929"/>
                      </a:cubicBezTo>
                      <a:cubicBezTo>
                        <a:pt x="4078" y="3937"/>
                        <a:pt x="4062" y="3953"/>
                        <a:pt x="4031" y="3977"/>
                      </a:cubicBezTo>
                      <a:cubicBezTo>
                        <a:pt x="4007" y="3992"/>
                        <a:pt x="3976" y="4016"/>
                        <a:pt x="3976" y="4024"/>
                      </a:cubicBezTo>
                      <a:cubicBezTo>
                        <a:pt x="3984" y="4024"/>
                        <a:pt x="3984" y="4024"/>
                        <a:pt x="3984" y="4024"/>
                      </a:cubicBezTo>
                      <a:cubicBezTo>
                        <a:pt x="3992" y="4024"/>
                        <a:pt x="4000" y="4016"/>
                        <a:pt x="4015" y="4008"/>
                      </a:cubicBezTo>
                      <a:lnTo>
                        <a:pt x="4015" y="4008"/>
                      </a:lnTo>
                      <a:cubicBezTo>
                        <a:pt x="4023" y="4000"/>
                        <a:pt x="4031" y="3992"/>
                        <a:pt x="4046" y="3984"/>
                      </a:cubicBezTo>
                      <a:cubicBezTo>
                        <a:pt x="4070" y="3969"/>
                        <a:pt x="4125" y="3929"/>
                        <a:pt x="4125" y="3921"/>
                      </a:cubicBezTo>
                      <a:lnTo>
                        <a:pt x="4125" y="3921"/>
                      </a:lnTo>
                      <a:cubicBezTo>
                        <a:pt x="4110" y="3913"/>
                        <a:pt x="4110" y="3905"/>
                        <a:pt x="4110" y="3897"/>
                      </a:cubicBezTo>
                      <a:cubicBezTo>
                        <a:pt x="4110" y="3890"/>
                        <a:pt x="4110" y="3882"/>
                        <a:pt x="4094" y="3874"/>
                      </a:cubicBezTo>
                      <a:cubicBezTo>
                        <a:pt x="4070" y="3866"/>
                        <a:pt x="4070" y="3858"/>
                        <a:pt x="4062" y="3842"/>
                      </a:cubicBezTo>
                      <a:cubicBezTo>
                        <a:pt x="4062" y="3842"/>
                        <a:pt x="4062" y="3834"/>
                        <a:pt x="4054" y="3826"/>
                      </a:cubicBezTo>
                      <a:cubicBezTo>
                        <a:pt x="4046" y="3818"/>
                        <a:pt x="4023" y="3795"/>
                        <a:pt x="4031" y="3779"/>
                      </a:cubicBezTo>
                      <a:cubicBezTo>
                        <a:pt x="4031" y="3779"/>
                        <a:pt x="4031" y="3771"/>
                        <a:pt x="4038" y="3771"/>
                      </a:cubicBezTo>
                      <a:cubicBezTo>
                        <a:pt x="4054" y="3763"/>
                        <a:pt x="4054" y="3771"/>
                        <a:pt x="4062" y="3779"/>
                      </a:cubicBezTo>
                      <a:cubicBezTo>
                        <a:pt x="4062" y="3787"/>
                        <a:pt x="4062" y="3795"/>
                        <a:pt x="4078" y="3803"/>
                      </a:cubicBezTo>
                      <a:cubicBezTo>
                        <a:pt x="4086" y="3803"/>
                        <a:pt x="4086" y="3803"/>
                        <a:pt x="4094" y="3811"/>
                      </a:cubicBezTo>
                      <a:cubicBezTo>
                        <a:pt x="4102" y="3811"/>
                        <a:pt x="4110" y="3818"/>
                        <a:pt x="4117" y="3818"/>
                      </a:cubicBezTo>
                      <a:cubicBezTo>
                        <a:pt x="4125" y="3818"/>
                        <a:pt x="4133" y="3811"/>
                        <a:pt x="4133" y="3811"/>
                      </a:cubicBezTo>
                      <a:cubicBezTo>
                        <a:pt x="4149" y="3795"/>
                        <a:pt x="4157" y="3787"/>
                        <a:pt x="4165" y="3787"/>
                      </a:cubicBezTo>
                      <a:cubicBezTo>
                        <a:pt x="4173" y="3787"/>
                        <a:pt x="4181" y="3787"/>
                        <a:pt x="4188" y="3787"/>
                      </a:cubicBezTo>
                      <a:cubicBezTo>
                        <a:pt x="4197" y="3795"/>
                        <a:pt x="4204" y="3795"/>
                        <a:pt x="4212" y="3803"/>
                      </a:cubicBezTo>
                      <a:cubicBezTo>
                        <a:pt x="4220" y="3811"/>
                        <a:pt x="4236" y="3818"/>
                        <a:pt x="4252" y="3818"/>
                      </a:cubicBezTo>
                      <a:lnTo>
                        <a:pt x="4252" y="3818"/>
                      </a:lnTo>
                      <a:cubicBezTo>
                        <a:pt x="4260" y="3818"/>
                        <a:pt x="4268" y="3818"/>
                        <a:pt x="4268" y="3818"/>
                      </a:cubicBezTo>
                      <a:cubicBezTo>
                        <a:pt x="4268" y="3826"/>
                        <a:pt x="4252" y="3842"/>
                        <a:pt x="4236" y="3842"/>
                      </a:cubicBezTo>
                      <a:cubicBezTo>
                        <a:pt x="4228" y="3850"/>
                        <a:pt x="4220" y="3858"/>
                        <a:pt x="4212" y="3866"/>
                      </a:cubicBezTo>
                      <a:cubicBezTo>
                        <a:pt x="4212" y="3874"/>
                        <a:pt x="4212" y="3874"/>
                        <a:pt x="4212" y="3882"/>
                      </a:cubicBezTo>
                      <a:cubicBezTo>
                        <a:pt x="4212" y="3874"/>
                        <a:pt x="4228" y="3866"/>
                        <a:pt x="4252" y="3858"/>
                      </a:cubicBezTo>
                      <a:cubicBezTo>
                        <a:pt x="4268" y="3850"/>
                        <a:pt x="4284" y="3834"/>
                        <a:pt x="4307" y="3826"/>
                      </a:cubicBezTo>
                      <a:cubicBezTo>
                        <a:pt x="4339" y="3811"/>
                        <a:pt x="4370" y="3795"/>
                        <a:pt x="4370" y="3787"/>
                      </a:cubicBezTo>
                      <a:lnTo>
                        <a:pt x="4370" y="3779"/>
                      </a:lnTo>
                      <a:cubicBezTo>
                        <a:pt x="4363" y="3771"/>
                        <a:pt x="4363" y="3771"/>
                        <a:pt x="4363" y="3763"/>
                      </a:cubicBezTo>
                      <a:cubicBezTo>
                        <a:pt x="4363" y="3763"/>
                        <a:pt x="4370" y="3755"/>
                        <a:pt x="4386" y="3755"/>
                      </a:cubicBezTo>
                      <a:lnTo>
                        <a:pt x="4386" y="3755"/>
                      </a:lnTo>
                      <a:cubicBezTo>
                        <a:pt x="4410" y="3747"/>
                        <a:pt x="4434" y="3747"/>
                        <a:pt x="4450" y="3731"/>
                      </a:cubicBezTo>
                      <a:cubicBezTo>
                        <a:pt x="4457" y="3724"/>
                        <a:pt x="4473" y="3716"/>
                        <a:pt x="4489" y="3708"/>
                      </a:cubicBezTo>
                      <a:cubicBezTo>
                        <a:pt x="4528" y="3684"/>
                        <a:pt x="4608" y="3637"/>
                        <a:pt x="4623" y="3605"/>
                      </a:cubicBezTo>
                      <a:cubicBezTo>
                        <a:pt x="4631" y="3581"/>
                        <a:pt x="4631" y="3565"/>
                        <a:pt x="4639" y="3557"/>
                      </a:cubicBezTo>
                      <a:cubicBezTo>
                        <a:pt x="4639" y="3542"/>
                        <a:pt x="4639" y="3534"/>
                        <a:pt x="4655" y="3526"/>
                      </a:cubicBezTo>
                      <a:cubicBezTo>
                        <a:pt x="4687" y="3510"/>
                        <a:pt x="4718" y="3486"/>
                        <a:pt x="4726" y="3478"/>
                      </a:cubicBezTo>
                      <a:cubicBezTo>
                        <a:pt x="4734" y="3463"/>
                        <a:pt x="4750" y="3431"/>
                        <a:pt x="4734" y="3415"/>
                      </a:cubicBezTo>
                      <a:cubicBezTo>
                        <a:pt x="4718" y="3407"/>
                        <a:pt x="4718" y="3400"/>
                        <a:pt x="4710" y="3391"/>
                      </a:cubicBezTo>
                      <a:cubicBezTo>
                        <a:pt x="4710" y="3384"/>
                        <a:pt x="4710" y="3376"/>
                        <a:pt x="4703" y="3368"/>
                      </a:cubicBezTo>
                      <a:cubicBezTo>
                        <a:pt x="4703" y="3360"/>
                        <a:pt x="4695" y="3352"/>
                        <a:pt x="4695" y="3352"/>
                      </a:cubicBezTo>
                      <a:cubicBezTo>
                        <a:pt x="4687" y="3344"/>
                        <a:pt x="4679" y="3344"/>
                        <a:pt x="4687" y="3328"/>
                      </a:cubicBezTo>
                      <a:cubicBezTo>
                        <a:pt x="4687" y="3320"/>
                        <a:pt x="4687" y="3313"/>
                        <a:pt x="4679" y="3304"/>
                      </a:cubicBezTo>
                      <a:cubicBezTo>
                        <a:pt x="4679" y="3297"/>
                        <a:pt x="4679" y="3297"/>
                        <a:pt x="4687" y="3289"/>
                      </a:cubicBezTo>
                      <a:cubicBezTo>
                        <a:pt x="4687" y="3289"/>
                        <a:pt x="4687" y="3289"/>
                        <a:pt x="4695" y="3289"/>
                      </a:cubicBezTo>
                      <a:cubicBezTo>
                        <a:pt x="4703" y="3297"/>
                        <a:pt x="4710" y="3297"/>
                        <a:pt x="4710" y="3304"/>
                      </a:cubicBezTo>
                      <a:cubicBezTo>
                        <a:pt x="4718" y="3304"/>
                        <a:pt x="4726" y="3313"/>
                        <a:pt x="4734" y="3313"/>
                      </a:cubicBezTo>
                      <a:cubicBezTo>
                        <a:pt x="4742" y="3313"/>
                        <a:pt x="4742" y="3313"/>
                        <a:pt x="4742" y="3304"/>
                      </a:cubicBezTo>
                      <a:cubicBezTo>
                        <a:pt x="4750" y="3297"/>
                        <a:pt x="4750" y="3297"/>
                        <a:pt x="4758" y="3289"/>
                      </a:cubicBezTo>
                      <a:cubicBezTo>
                        <a:pt x="4758" y="3281"/>
                        <a:pt x="4766" y="3281"/>
                        <a:pt x="4766" y="3273"/>
                      </a:cubicBezTo>
                      <a:cubicBezTo>
                        <a:pt x="4781" y="3257"/>
                        <a:pt x="4790" y="3257"/>
                        <a:pt x="4797" y="3257"/>
                      </a:cubicBezTo>
                      <a:lnTo>
                        <a:pt x="4805" y="3257"/>
                      </a:lnTo>
                      <a:cubicBezTo>
                        <a:pt x="4805" y="3265"/>
                        <a:pt x="4805" y="3265"/>
                        <a:pt x="4813" y="3265"/>
                      </a:cubicBezTo>
                      <a:cubicBezTo>
                        <a:pt x="4821" y="3273"/>
                        <a:pt x="4829" y="3289"/>
                        <a:pt x="4829" y="3297"/>
                      </a:cubicBezTo>
                      <a:lnTo>
                        <a:pt x="4821" y="3304"/>
                      </a:lnTo>
                      <a:cubicBezTo>
                        <a:pt x="4805" y="3304"/>
                        <a:pt x="4805" y="3313"/>
                        <a:pt x="4805" y="3320"/>
                      </a:cubicBezTo>
                      <a:cubicBezTo>
                        <a:pt x="4797" y="3328"/>
                        <a:pt x="4797" y="3336"/>
                        <a:pt x="4805" y="3336"/>
                      </a:cubicBezTo>
                      <a:cubicBezTo>
                        <a:pt x="4805" y="3344"/>
                        <a:pt x="4797" y="3344"/>
                        <a:pt x="4797" y="3344"/>
                      </a:cubicBezTo>
                      <a:cubicBezTo>
                        <a:pt x="4790" y="3352"/>
                        <a:pt x="4790" y="3352"/>
                        <a:pt x="4790" y="3360"/>
                      </a:cubicBezTo>
                      <a:cubicBezTo>
                        <a:pt x="4790" y="3368"/>
                        <a:pt x="4790" y="3368"/>
                        <a:pt x="4797" y="3368"/>
                      </a:cubicBezTo>
                      <a:cubicBezTo>
                        <a:pt x="4797" y="3376"/>
                        <a:pt x="4797" y="3376"/>
                        <a:pt x="4797" y="3376"/>
                      </a:cubicBezTo>
                      <a:cubicBezTo>
                        <a:pt x="4805" y="3376"/>
                        <a:pt x="4805" y="3376"/>
                        <a:pt x="4813" y="3376"/>
                      </a:cubicBezTo>
                      <a:cubicBezTo>
                        <a:pt x="4821" y="3376"/>
                        <a:pt x="4821" y="3376"/>
                        <a:pt x="4829" y="3376"/>
                      </a:cubicBezTo>
                      <a:cubicBezTo>
                        <a:pt x="4837" y="3376"/>
                        <a:pt x="4845" y="3376"/>
                        <a:pt x="4845" y="3384"/>
                      </a:cubicBezTo>
                      <a:cubicBezTo>
                        <a:pt x="4845" y="3384"/>
                        <a:pt x="4845" y="3391"/>
                        <a:pt x="4837" y="3391"/>
                      </a:cubicBezTo>
                      <a:cubicBezTo>
                        <a:pt x="4821" y="3400"/>
                        <a:pt x="4790" y="3439"/>
                        <a:pt x="4781" y="3455"/>
                      </a:cubicBezTo>
                      <a:cubicBezTo>
                        <a:pt x="4774" y="3471"/>
                        <a:pt x="4758" y="3486"/>
                        <a:pt x="4742" y="3502"/>
                      </a:cubicBezTo>
                      <a:cubicBezTo>
                        <a:pt x="4734" y="3502"/>
                        <a:pt x="4726" y="3510"/>
                        <a:pt x="4718" y="3510"/>
                      </a:cubicBezTo>
                      <a:cubicBezTo>
                        <a:pt x="4703" y="3518"/>
                        <a:pt x="4687" y="3526"/>
                        <a:pt x="4687" y="3534"/>
                      </a:cubicBezTo>
                      <a:cubicBezTo>
                        <a:pt x="4687" y="3542"/>
                        <a:pt x="4687" y="3542"/>
                        <a:pt x="4687" y="3542"/>
                      </a:cubicBezTo>
                      <a:cubicBezTo>
                        <a:pt x="4687" y="3550"/>
                        <a:pt x="4679" y="3550"/>
                        <a:pt x="4679" y="3550"/>
                      </a:cubicBezTo>
                      <a:cubicBezTo>
                        <a:pt x="4687" y="3550"/>
                        <a:pt x="4687" y="3550"/>
                        <a:pt x="4703" y="3542"/>
                      </a:cubicBezTo>
                      <a:cubicBezTo>
                        <a:pt x="4742" y="3526"/>
                        <a:pt x="4774" y="3502"/>
                        <a:pt x="4781" y="3486"/>
                      </a:cubicBezTo>
                      <a:cubicBezTo>
                        <a:pt x="4781" y="3478"/>
                        <a:pt x="4781" y="3478"/>
                        <a:pt x="4781" y="3478"/>
                      </a:cubicBezTo>
                      <a:cubicBezTo>
                        <a:pt x="4790" y="3463"/>
                        <a:pt x="4805" y="3423"/>
                        <a:pt x="4861" y="3400"/>
                      </a:cubicBezTo>
                      <a:cubicBezTo>
                        <a:pt x="4884" y="3391"/>
                        <a:pt x="4908" y="3376"/>
                        <a:pt x="4924" y="3368"/>
                      </a:cubicBezTo>
                      <a:cubicBezTo>
                        <a:pt x="4940" y="3352"/>
                        <a:pt x="4963" y="3344"/>
                        <a:pt x="4979" y="3336"/>
                      </a:cubicBezTo>
                      <a:cubicBezTo>
                        <a:pt x="4995" y="3336"/>
                        <a:pt x="5034" y="3320"/>
                        <a:pt x="5074" y="3304"/>
                      </a:cubicBezTo>
                      <a:cubicBezTo>
                        <a:pt x="5114" y="3289"/>
                        <a:pt x="5145" y="3273"/>
                        <a:pt x="5161" y="3273"/>
                      </a:cubicBezTo>
                      <a:cubicBezTo>
                        <a:pt x="5161" y="3273"/>
                        <a:pt x="5161" y="3273"/>
                        <a:pt x="5169" y="3273"/>
                      </a:cubicBezTo>
                      <a:cubicBezTo>
                        <a:pt x="5169" y="3273"/>
                        <a:pt x="5161" y="3265"/>
                        <a:pt x="5153" y="3257"/>
                      </a:cubicBezTo>
                      <a:lnTo>
                        <a:pt x="5153" y="3257"/>
                      </a:lnTo>
                      <a:cubicBezTo>
                        <a:pt x="5137" y="3249"/>
                        <a:pt x="5129" y="3241"/>
                        <a:pt x="5137" y="3225"/>
                      </a:cubicBezTo>
                      <a:cubicBezTo>
                        <a:pt x="5145" y="3210"/>
                        <a:pt x="5153" y="3194"/>
                        <a:pt x="5177" y="3178"/>
                      </a:cubicBezTo>
                      <a:cubicBezTo>
                        <a:pt x="5185" y="3162"/>
                        <a:pt x="5193" y="3154"/>
                        <a:pt x="5193" y="3138"/>
                      </a:cubicBezTo>
                      <a:cubicBezTo>
                        <a:pt x="5193" y="3131"/>
                        <a:pt x="5193" y="3123"/>
                        <a:pt x="5201" y="3115"/>
                      </a:cubicBezTo>
                      <a:cubicBezTo>
                        <a:pt x="5208" y="3107"/>
                        <a:pt x="5208" y="3107"/>
                        <a:pt x="5216" y="3099"/>
                      </a:cubicBezTo>
                      <a:cubicBezTo>
                        <a:pt x="5224" y="3099"/>
                        <a:pt x="5224" y="3099"/>
                        <a:pt x="5224" y="3091"/>
                      </a:cubicBezTo>
                      <a:cubicBezTo>
                        <a:pt x="5224" y="3083"/>
                        <a:pt x="5224" y="3083"/>
                        <a:pt x="5224" y="3075"/>
                      </a:cubicBezTo>
                      <a:cubicBezTo>
                        <a:pt x="5224" y="3060"/>
                        <a:pt x="5224" y="3044"/>
                        <a:pt x="5216" y="3028"/>
                      </a:cubicBezTo>
                      <a:lnTo>
                        <a:pt x="5208" y="3020"/>
                      </a:lnTo>
                      <a:cubicBezTo>
                        <a:pt x="5201" y="3004"/>
                        <a:pt x="5193" y="2988"/>
                        <a:pt x="5193" y="2973"/>
                      </a:cubicBezTo>
                      <a:cubicBezTo>
                        <a:pt x="5193" y="2973"/>
                        <a:pt x="5193" y="2973"/>
                        <a:pt x="5193" y="2965"/>
                      </a:cubicBezTo>
                      <a:cubicBezTo>
                        <a:pt x="5201" y="2949"/>
                        <a:pt x="5208" y="2925"/>
                        <a:pt x="5216" y="2925"/>
                      </a:cubicBezTo>
                      <a:cubicBezTo>
                        <a:pt x="5224" y="2925"/>
                        <a:pt x="5224" y="2925"/>
                        <a:pt x="5224" y="2925"/>
                      </a:cubicBezTo>
                      <a:cubicBezTo>
                        <a:pt x="5224" y="2925"/>
                        <a:pt x="5224" y="2909"/>
                        <a:pt x="5216" y="2894"/>
                      </a:cubicBezTo>
                      <a:cubicBezTo>
                        <a:pt x="5216" y="2894"/>
                        <a:pt x="5208" y="2886"/>
                        <a:pt x="5201" y="2886"/>
                      </a:cubicBezTo>
                      <a:cubicBezTo>
                        <a:pt x="5201" y="2886"/>
                        <a:pt x="5193" y="2886"/>
                        <a:pt x="5193" y="2878"/>
                      </a:cubicBezTo>
                      <a:cubicBezTo>
                        <a:pt x="5193" y="2870"/>
                        <a:pt x="5193" y="2862"/>
                        <a:pt x="5201" y="2854"/>
                      </a:cubicBezTo>
                      <a:cubicBezTo>
                        <a:pt x="5208" y="2846"/>
                        <a:pt x="5216" y="2838"/>
                        <a:pt x="5224" y="2838"/>
                      </a:cubicBezTo>
                      <a:cubicBezTo>
                        <a:pt x="5232" y="2830"/>
                        <a:pt x="5240" y="2830"/>
                        <a:pt x="5248" y="2807"/>
                      </a:cubicBezTo>
                      <a:cubicBezTo>
                        <a:pt x="5272" y="2759"/>
                        <a:pt x="5272" y="2727"/>
                        <a:pt x="5272" y="2720"/>
                      </a:cubicBezTo>
                      <a:cubicBezTo>
                        <a:pt x="5272" y="2712"/>
                        <a:pt x="5272" y="2712"/>
                        <a:pt x="5264" y="2712"/>
                      </a:cubicBezTo>
                      <a:cubicBezTo>
                        <a:pt x="5264" y="2696"/>
                        <a:pt x="5264" y="2672"/>
                        <a:pt x="5272" y="2656"/>
                      </a:cubicBezTo>
                      <a:cubicBezTo>
                        <a:pt x="5272" y="2625"/>
                        <a:pt x="5272" y="2593"/>
                        <a:pt x="5256" y="2561"/>
                      </a:cubicBezTo>
                      <a:cubicBezTo>
                        <a:pt x="5248" y="2554"/>
                        <a:pt x="5240" y="2546"/>
                        <a:pt x="5232" y="2546"/>
                      </a:cubicBezTo>
                      <a:cubicBezTo>
                        <a:pt x="5224" y="2538"/>
                        <a:pt x="5208" y="2538"/>
                        <a:pt x="5208" y="2506"/>
                      </a:cubicBezTo>
                      <a:cubicBezTo>
                        <a:pt x="5216" y="2459"/>
                        <a:pt x="5193" y="2443"/>
                        <a:pt x="5177" y="2427"/>
                      </a:cubicBezTo>
                      <a:lnTo>
                        <a:pt x="5169" y="2419"/>
                      </a:lnTo>
                      <a:cubicBezTo>
                        <a:pt x="5153" y="2411"/>
                        <a:pt x="5145" y="2403"/>
                        <a:pt x="5153" y="2388"/>
                      </a:cubicBezTo>
                      <a:cubicBezTo>
                        <a:pt x="5153" y="2380"/>
                        <a:pt x="5153" y="2372"/>
                        <a:pt x="5153" y="2364"/>
                      </a:cubicBezTo>
                      <a:cubicBezTo>
                        <a:pt x="5161" y="2356"/>
                        <a:pt x="5161" y="2348"/>
                        <a:pt x="5153" y="2324"/>
                      </a:cubicBezTo>
                      <a:cubicBezTo>
                        <a:pt x="5145" y="2301"/>
                        <a:pt x="5129" y="2285"/>
                        <a:pt x="5121" y="2269"/>
                      </a:cubicBezTo>
                      <a:cubicBezTo>
                        <a:pt x="5114" y="2261"/>
                        <a:pt x="5106" y="2253"/>
                        <a:pt x="5098" y="2245"/>
                      </a:cubicBezTo>
                      <a:cubicBezTo>
                        <a:pt x="5082" y="2221"/>
                        <a:pt x="5050" y="2214"/>
                        <a:pt x="5050" y="2214"/>
                      </a:cubicBezTo>
                      <a:cubicBezTo>
                        <a:pt x="5050" y="2206"/>
                        <a:pt x="5050" y="2206"/>
                        <a:pt x="5050" y="2206"/>
                      </a:cubicBezTo>
                      <a:lnTo>
                        <a:pt x="5050" y="2206"/>
                      </a:lnTo>
                      <a:cubicBezTo>
                        <a:pt x="5034" y="1463"/>
                        <a:pt x="5034" y="1463"/>
                        <a:pt x="5034" y="1463"/>
                      </a:cubicBezTo>
                      <a:cubicBezTo>
                        <a:pt x="5034" y="1463"/>
                        <a:pt x="5027" y="1447"/>
                        <a:pt x="5003" y="1447"/>
                      </a:cubicBezTo>
                      <a:cubicBezTo>
                        <a:pt x="4987" y="1447"/>
                        <a:pt x="4971" y="1447"/>
                        <a:pt x="4963" y="1439"/>
                      </a:cubicBezTo>
                      <a:cubicBezTo>
                        <a:pt x="4948" y="1439"/>
                        <a:pt x="4940" y="1439"/>
                        <a:pt x="4940" y="1439"/>
                      </a:cubicBezTo>
                      <a:cubicBezTo>
                        <a:pt x="4940" y="1439"/>
                        <a:pt x="4932" y="1447"/>
                        <a:pt x="4932" y="1455"/>
                      </a:cubicBezTo>
                      <a:cubicBezTo>
                        <a:pt x="4932" y="1463"/>
                        <a:pt x="4924" y="1478"/>
                        <a:pt x="4916" y="1478"/>
                      </a:cubicBezTo>
                      <a:cubicBezTo>
                        <a:pt x="4916" y="1478"/>
                        <a:pt x="4908" y="1471"/>
                        <a:pt x="4900" y="1471"/>
                      </a:cubicBezTo>
                      <a:cubicBezTo>
                        <a:pt x="4892" y="1463"/>
                        <a:pt x="4892" y="1447"/>
                        <a:pt x="4884" y="1431"/>
                      </a:cubicBezTo>
                      <a:cubicBezTo>
                        <a:pt x="4884" y="1415"/>
                        <a:pt x="4884" y="1407"/>
                        <a:pt x="4868" y="1407"/>
                      </a:cubicBezTo>
                      <a:cubicBezTo>
                        <a:pt x="4853" y="1407"/>
                        <a:pt x="4853" y="1407"/>
                        <a:pt x="4845" y="1415"/>
                      </a:cubicBezTo>
                      <a:cubicBezTo>
                        <a:pt x="4837" y="1415"/>
                        <a:pt x="4837" y="1423"/>
                        <a:pt x="4813" y="1423"/>
                      </a:cubicBezTo>
                      <a:cubicBezTo>
                        <a:pt x="4781" y="1423"/>
                        <a:pt x="4758" y="1399"/>
                        <a:pt x="4750" y="1391"/>
                      </a:cubicBezTo>
                      <a:cubicBezTo>
                        <a:pt x="4742" y="1384"/>
                        <a:pt x="4742" y="1384"/>
                        <a:pt x="4734" y="1384"/>
                      </a:cubicBezTo>
                      <a:cubicBezTo>
                        <a:pt x="4718" y="1376"/>
                        <a:pt x="4695" y="1368"/>
                        <a:pt x="4671" y="1336"/>
                      </a:cubicBezTo>
                      <a:cubicBezTo>
                        <a:pt x="4631" y="1289"/>
                        <a:pt x="4608" y="1273"/>
                        <a:pt x="4584" y="1273"/>
                      </a:cubicBezTo>
                      <a:cubicBezTo>
                        <a:pt x="4568" y="1281"/>
                        <a:pt x="4560" y="1289"/>
                        <a:pt x="4552" y="1304"/>
                      </a:cubicBezTo>
                      <a:cubicBezTo>
                        <a:pt x="4544" y="1304"/>
                        <a:pt x="4544" y="1313"/>
                        <a:pt x="4544" y="1313"/>
                      </a:cubicBezTo>
                      <a:cubicBezTo>
                        <a:pt x="4544" y="1313"/>
                        <a:pt x="4544" y="1320"/>
                        <a:pt x="4537" y="1320"/>
                      </a:cubicBezTo>
                      <a:cubicBezTo>
                        <a:pt x="4528" y="1328"/>
                        <a:pt x="4521" y="1344"/>
                        <a:pt x="4505" y="1344"/>
                      </a:cubicBezTo>
                      <a:cubicBezTo>
                        <a:pt x="4497" y="1344"/>
                        <a:pt x="4489" y="1336"/>
                        <a:pt x="4481" y="1328"/>
                      </a:cubicBezTo>
                      <a:cubicBezTo>
                        <a:pt x="4465" y="1320"/>
                        <a:pt x="4457" y="1313"/>
                        <a:pt x="4450" y="1304"/>
                      </a:cubicBezTo>
                      <a:cubicBezTo>
                        <a:pt x="4450" y="1297"/>
                        <a:pt x="4442" y="1289"/>
                        <a:pt x="4434" y="1289"/>
                      </a:cubicBezTo>
                      <a:cubicBezTo>
                        <a:pt x="4418" y="1289"/>
                        <a:pt x="4378" y="1289"/>
                        <a:pt x="4370" y="1313"/>
                      </a:cubicBezTo>
                      <a:cubicBezTo>
                        <a:pt x="4363" y="1336"/>
                        <a:pt x="4355" y="1360"/>
                        <a:pt x="4339" y="1360"/>
                      </a:cubicBezTo>
                      <a:cubicBezTo>
                        <a:pt x="4331" y="1360"/>
                        <a:pt x="4323" y="1360"/>
                        <a:pt x="4315" y="1352"/>
                      </a:cubicBezTo>
                      <a:cubicBezTo>
                        <a:pt x="4307" y="1344"/>
                        <a:pt x="4299" y="1336"/>
                        <a:pt x="4299" y="1328"/>
                      </a:cubicBezTo>
                      <a:cubicBezTo>
                        <a:pt x="4299" y="1320"/>
                        <a:pt x="4291" y="1320"/>
                        <a:pt x="4291" y="1320"/>
                      </a:cubicBezTo>
                      <a:cubicBezTo>
                        <a:pt x="4284" y="1320"/>
                        <a:pt x="4284" y="1320"/>
                        <a:pt x="4276" y="1320"/>
                      </a:cubicBezTo>
                      <a:cubicBezTo>
                        <a:pt x="4236" y="1336"/>
                        <a:pt x="4212" y="1352"/>
                        <a:pt x="4188" y="1376"/>
                      </a:cubicBezTo>
                      <a:cubicBezTo>
                        <a:pt x="4188" y="1384"/>
                        <a:pt x="4188" y="1384"/>
                        <a:pt x="4188" y="1384"/>
                      </a:cubicBezTo>
                      <a:cubicBezTo>
                        <a:pt x="4173" y="1407"/>
                        <a:pt x="4157" y="1423"/>
                        <a:pt x="4141" y="1423"/>
                      </a:cubicBezTo>
                      <a:cubicBezTo>
                        <a:pt x="4133" y="1423"/>
                        <a:pt x="4125" y="1415"/>
                        <a:pt x="4117" y="1415"/>
                      </a:cubicBezTo>
                      <a:cubicBezTo>
                        <a:pt x="4094" y="1391"/>
                        <a:pt x="4078" y="1376"/>
                        <a:pt x="4046" y="1352"/>
                      </a:cubicBezTo>
                      <a:cubicBezTo>
                        <a:pt x="4046" y="1344"/>
                        <a:pt x="4038" y="1344"/>
                        <a:pt x="4038" y="1336"/>
                      </a:cubicBezTo>
                      <a:cubicBezTo>
                        <a:pt x="4023" y="1320"/>
                        <a:pt x="4007" y="1304"/>
                        <a:pt x="4000" y="1304"/>
                      </a:cubicBezTo>
                      <a:cubicBezTo>
                        <a:pt x="4000" y="1304"/>
                        <a:pt x="4000" y="1304"/>
                        <a:pt x="3992" y="1313"/>
                      </a:cubicBezTo>
                      <a:cubicBezTo>
                        <a:pt x="3992" y="1320"/>
                        <a:pt x="3992" y="1320"/>
                        <a:pt x="3992" y="1320"/>
                      </a:cubicBezTo>
                      <a:cubicBezTo>
                        <a:pt x="3984" y="1336"/>
                        <a:pt x="3976" y="1352"/>
                        <a:pt x="3968" y="1352"/>
                      </a:cubicBezTo>
                      <a:cubicBezTo>
                        <a:pt x="3960" y="1352"/>
                        <a:pt x="3960" y="1352"/>
                        <a:pt x="3952" y="1344"/>
                      </a:cubicBezTo>
                      <a:cubicBezTo>
                        <a:pt x="3937" y="1320"/>
                        <a:pt x="3929" y="1313"/>
                        <a:pt x="3913" y="1297"/>
                      </a:cubicBezTo>
                      <a:cubicBezTo>
                        <a:pt x="3905" y="1289"/>
                        <a:pt x="3905" y="1289"/>
                        <a:pt x="3897" y="1281"/>
                      </a:cubicBezTo>
                      <a:cubicBezTo>
                        <a:pt x="3897" y="1273"/>
                        <a:pt x="3897" y="1273"/>
                        <a:pt x="3897" y="1273"/>
                      </a:cubicBezTo>
                      <a:cubicBezTo>
                        <a:pt x="3897" y="1273"/>
                        <a:pt x="3889" y="1273"/>
                        <a:pt x="3889" y="1289"/>
                      </a:cubicBezTo>
                      <a:cubicBezTo>
                        <a:pt x="3881" y="1297"/>
                        <a:pt x="3881" y="1304"/>
                        <a:pt x="3874" y="1313"/>
                      </a:cubicBezTo>
                      <a:cubicBezTo>
                        <a:pt x="3865" y="1320"/>
                        <a:pt x="3865" y="1328"/>
                        <a:pt x="3865" y="1344"/>
                      </a:cubicBezTo>
                      <a:cubicBezTo>
                        <a:pt x="3865" y="1368"/>
                        <a:pt x="3858" y="1407"/>
                        <a:pt x="3842" y="1407"/>
                      </a:cubicBezTo>
                      <a:cubicBezTo>
                        <a:pt x="3842" y="1407"/>
                        <a:pt x="3842" y="1407"/>
                        <a:pt x="3842" y="1399"/>
                      </a:cubicBezTo>
                      <a:cubicBezTo>
                        <a:pt x="3834" y="1399"/>
                        <a:pt x="3834" y="1399"/>
                        <a:pt x="3834" y="1399"/>
                      </a:cubicBezTo>
                      <a:cubicBezTo>
                        <a:pt x="3818" y="1399"/>
                        <a:pt x="3802" y="1391"/>
                        <a:pt x="3802" y="1360"/>
                      </a:cubicBezTo>
                      <a:cubicBezTo>
                        <a:pt x="3810" y="1352"/>
                        <a:pt x="3810" y="1344"/>
                        <a:pt x="3810" y="1336"/>
                      </a:cubicBezTo>
                      <a:cubicBezTo>
                        <a:pt x="3810" y="1328"/>
                        <a:pt x="3818" y="1313"/>
                        <a:pt x="3818" y="1313"/>
                      </a:cubicBezTo>
                      <a:cubicBezTo>
                        <a:pt x="3810" y="1313"/>
                        <a:pt x="3810" y="1313"/>
                        <a:pt x="3810" y="1313"/>
                      </a:cubicBezTo>
                      <a:cubicBezTo>
                        <a:pt x="3810" y="1313"/>
                        <a:pt x="3810" y="1313"/>
                        <a:pt x="3802" y="1313"/>
                      </a:cubicBezTo>
                      <a:cubicBezTo>
                        <a:pt x="3794" y="1313"/>
                        <a:pt x="3786" y="1313"/>
                        <a:pt x="3778" y="1313"/>
                      </a:cubicBezTo>
                      <a:cubicBezTo>
                        <a:pt x="3731" y="1313"/>
                        <a:pt x="3723" y="1320"/>
                        <a:pt x="3723" y="1320"/>
                      </a:cubicBezTo>
                      <a:cubicBezTo>
                        <a:pt x="3723" y="1336"/>
                        <a:pt x="3715" y="1344"/>
                        <a:pt x="3699" y="1344"/>
                      </a:cubicBezTo>
                      <a:cubicBezTo>
                        <a:pt x="3692" y="1344"/>
                        <a:pt x="3684" y="1336"/>
                        <a:pt x="3676" y="1328"/>
                      </a:cubicBezTo>
                      <a:lnTo>
                        <a:pt x="3676" y="1328"/>
                      </a:lnTo>
                      <a:cubicBezTo>
                        <a:pt x="3660" y="1313"/>
                        <a:pt x="3652" y="1297"/>
                        <a:pt x="3628" y="1289"/>
                      </a:cubicBezTo>
                      <a:cubicBezTo>
                        <a:pt x="3597" y="1281"/>
                        <a:pt x="3573" y="1289"/>
                        <a:pt x="3565" y="1304"/>
                      </a:cubicBezTo>
                      <a:cubicBezTo>
                        <a:pt x="3557" y="1320"/>
                        <a:pt x="3534" y="1344"/>
                        <a:pt x="3518" y="1344"/>
                      </a:cubicBezTo>
                      <a:cubicBezTo>
                        <a:pt x="3510" y="1344"/>
                        <a:pt x="3502" y="1344"/>
                        <a:pt x="3502" y="1336"/>
                      </a:cubicBezTo>
                      <a:cubicBezTo>
                        <a:pt x="3502" y="1320"/>
                        <a:pt x="3502" y="1304"/>
                        <a:pt x="3502" y="1297"/>
                      </a:cubicBezTo>
                      <a:cubicBezTo>
                        <a:pt x="3502" y="1281"/>
                        <a:pt x="3502" y="1265"/>
                        <a:pt x="3486" y="1265"/>
                      </a:cubicBezTo>
                      <a:lnTo>
                        <a:pt x="3478" y="1257"/>
                      </a:lnTo>
                      <a:cubicBezTo>
                        <a:pt x="3462" y="1257"/>
                        <a:pt x="3462" y="1257"/>
                        <a:pt x="3462" y="1233"/>
                      </a:cubicBezTo>
                      <a:lnTo>
                        <a:pt x="3462" y="1226"/>
                      </a:lnTo>
                      <a:cubicBezTo>
                        <a:pt x="3462" y="1210"/>
                        <a:pt x="3462" y="1202"/>
                        <a:pt x="3454" y="1202"/>
                      </a:cubicBezTo>
                      <a:lnTo>
                        <a:pt x="3446" y="1194"/>
                      </a:lnTo>
                      <a:cubicBezTo>
                        <a:pt x="3431" y="1194"/>
                        <a:pt x="3423" y="1194"/>
                        <a:pt x="3415" y="1194"/>
                      </a:cubicBezTo>
                      <a:cubicBezTo>
                        <a:pt x="3415" y="1194"/>
                        <a:pt x="3407" y="1194"/>
                        <a:pt x="3399" y="1194"/>
                      </a:cubicBezTo>
                      <a:cubicBezTo>
                        <a:pt x="3391" y="1194"/>
                        <a:pt x="3391" y="1194"/>
                        <a:pt x="3391" y="1202"/>
                      </a:cubicBezTo>
                      <a:lnTo>
                        <a:pt x="3383" y="1210"/>
                      </a:lnTo>
                      <a:cubicBezTo>
                        <a:pt x="3383" y="1210"/>
                        <a:pt x="3375" y="1210"/>
                        <a:pt x="3375" y="1202"/>
                      </a:cubicBezTo>
                      <a:lnTo>
                        <a:pt x="3367" y="1202"/>
                      </a:lnTo>
                      <a:cubicBezTo>
                        <a:pt x="3367" y="1202"/>
                        <a:pt x="3359" y="1202"/>
                        <a:pt x="3359" y="1218"/>
                      </a:cubicBezTo>
                      <a:cubicBezTo>
                        <a:pt x="3352" y="1241"/>
                        <a:pt x="3336" y="1249"/>
                        <a:pt x="3320" y="1249"/>
                      </a:cubicBezTo>
                      <a:cubicBezTo>
                        <a:pt x="3312" y="1249"/>
                        <a:pt x="3304" y="1249"/>
                        <a:pt x="3304" y="1233"/>
                      </a:cubicBezTo>
                      <a:cubicBezTo>
                        <a:pt x="3304" y="1233"/>
                        <a:pt x="3304" y="1233"/>
                        <a:pt x="3304" y="1226"/>
                      </a:cubicBezTo>
                      <a:cubicBezTo>
                        <a:pt x="3304" y="1210"/>
                        <a:pt x="3296" y="1202"/>
                        <a:pt x="3273" y="1202"/>
                      </a:cubicBezTo>
                      <a:lnTo>
                        <a:pt x="3265" y="1202"/>
                      </a:lnTo>
                      <a:cubicBezTo>
                        <a:pt x="3257" y="1202"/>
                        <a:pt x="3241" y="1202"/>
                        <a:pt x="3233" y="1202"/>
                      </a:cubicBezTo>
                      <a:cubicBezTo>
                        <a:pt x="3225" y="1210"/>
                        <a:pt x="3217" y="1210"/>
                        <a:pt x="3209" y="1210"/>
                      </a:cubicBezTo>
                      <a:cubicBezTo>
                        <a:pt x="3194" y="1210"/>
                        <a:pt x="3186" y="1210"/>
                        <a:pt x="3178" y="1202"/>
                      </a:cubicBezTo>
                      <a:lnTo>
                        <a:pt x="3178" y="1202"/>
                      </a:lnTo>
                      <a:lnTo>
                        <a:pt x="3178" y="1202"/>
                      </a:lnTo>
                      <a:cubicBezTo>
                        <a:pt x="3178" y="1202"/>
                        <a:pt x="3170" y="1170"/>
                        <a:pt x="3130" y="1178"/>
                      </a:cubicBezTo>
                      <a:cubicBezTo>
                        <a:pt x="3122" y="1178"/>
                        <a:pt x="3115" y="1178"/>
                        <a:pt x="3115" y="1178"/>
                      </a:cubicBezTo>
                      <a:cubicBezTo>
                        <a:pt x="3091" y="1178"/>
                        <a:pt x="3083" y="1170"/>
                        <a:pt x="3067" y="1162"/>
                      </a:cubicBezTo>
                      <a:cubicBezTo>
                        <a:pt x="3059" y="1162"/>
                        <a:pt x="3051" y="1162"/>
                        <a:pt x="3043" y="1154"/>
                      </a:cubicBezTo>
                      <a:cubicBezTo>
                        <a:pt x="3020" y="1154"/>
                        <a:pt x="3012" y="1131"/>
                        <a:pt x="3012" y="1115"/>
                      </a:cubicBezTo>
                      <a:cubicBezTo>
                        <a:pt x="3012" y="1099"/>
                        <a:pt x="3012" y="1091"/>
                        <a:pt x="3004" y="1083"/>
                      </a:cubicBezTo>
                      <a:cubicBezTo>
                        <a:pt x="3004" y="1075"/>
                        <a:pt x="3004" y="1075"/>
                        <a:pt x="3004" y="1075"/>
                      </a:cubicBezTo>
                      <a:cubicBezTo>
                        <a:pt x="2988" y="1051"/>
                        <a:pt x="2980" y="1028"/>
                        <a:pt x="2964" y="1036"/>
                      </a:cubicBezTo>
                      <a:cubicBezTo>
                        <a:pt x="2956" y="1044"/>
                        <a:pt x="2956" y="1044"/>
                        <a:pt x="2956" y="1051"/>
                      </a:cubicBezTo>
                      <a:cubicBezTo>
                        <a:pt x="2948" y="1067"/>
                        <a:pt x="2948" y="1075"/>
                        <a:pt x="2933" y="1075"/>
                      </a:cubicBezTo>
                      <a:cubicBezTo>
                        <a:pt x="2925" y="1075"/>
                        <a:pt x="2917" y="1075"/>
                        <a:pt x="2917" y="1075"/>
                      </a:cubicBezTo>
                      <a:cubicBezTo>
                        <a:pt x="2909" y="1067"/>
                        <a:pt x="2901" y="1067"/>
                        <a:pt x="2893" y="1067"/>
                      </a:cubicBezTo>
                      <a:cubicBezTo>
                        <a:pt x="2885" y="1067"/>
                        <a:pt x="2885" y="1075"/>
                        <a:pt x="2877" y="1075"/>
                      </a:cubicBezTo>
                      <a:cubicBezTo>
                        <a:pt x="2869" y="1075"/>
                        <a:pt x="2869" y="1075"/>
                        <a:pt x="2862" y="1075"/>
                      </a:cubicBezTo>
                      <a:cubicBezTo>
                        <a:pt x="2854" y="1075"/>
                        <a:pt x="2846" y="1075"/>
                        <a:pt x="2830" y="1060"/>
                      </a:cubicBezTo>
                      <a:cubicBezTo>
                        <a:pt x="2814" y="1051"/>
                        <a:pt x="2798" y="1028"/>
                        <a:pt x="2790" y="1012"/>
                      </a:cubicBezTo>
                      <a:cubicBezTo>
                        <a:pt x="2782" y="996"/>
                        <a:pt x="2775" y="988"/>
                        <a:pt x="2759" y="973"/>
                      </a:cubicBezTo>
                      <a:cubicBezTo>
                        <a:pt x="2719" y="957"/>
                        <a:pt x="2735" y="174"/>
                        <a:pt x="2735" y="71"/>
                      </a:cubicBezTo>
                      <a:cubicBezTo>
                        <a:pt x="1605" y="8"/>
                        <a:pt x="1605" y="8"/>
                        <a:pt x="1605" y="8"/>
                      </a:cubicBezTo>
                      <a:cubicBezTo>
                        <a:pt x="1462" y="2103"/>
                        <a:pt x="1462" y="2103"/>
                        <a:pt x="1462" y="2103"/>
                      </a:cubicBezTo>
                      <a:cubicBezTo>
                        <a:pt x="1462" y="2103"/>
                        <a:pt x="1454" y="2150"/>
                        <a:pt x="1423" y="2150"/>
                      </a:cubicBezTo>
                      <a:cubicBezTo>
                        <a:pt x="1399" y="2150"/>
                        <a:pt x="79" y="2040"/>
                        <a:pt x="23" y="2032"/>
                      </a:cubicBezTo>
                      <a:lnTo>
                        <a:pt x="23" y="2032"/>
                      </a:lnTo>
                      <a:lnTo>
                        <a:pt x="23" y="2032"/>
                      </a:lnTo>
                      <a:lnTo>
                        <a:pt x="16" y="2032"/>
                      </a:lnTo>
                      <a:cubicBezTo>
                        <a:pt x="16" y="2032"/>
                        <a:pt x="8" y="2040"/>
                        <a:pt x="55" y="2135"/>
                      </a:cubicBezTo>
                      <a:cubicBezTo>
                        <a:pt x="79" y="2135"/>
                        <a:pt x="87" y="2135"/>
                        <a:pt x="87" y="2135"/>
                      </a:cubicBezTo>
                      <a:cubicBezTo>
                        <a:pt x="95" y="2135"/>
                        <a:pt x="166" y="2190"/>
                        <a:pt x="166" y="2261"/>
                      </a:cubicBezTo>
                      <a:cubicBezTo>
                        <a:pt x="166" y="2293"/>
                        <a:pt x="174" y="2301"/>
                        <a:pt x="189" y="2301"/>
                      </a:cubicBezTo>
                      <a:cubicBezTo>
                        <a:pt x="197" y="2301"/>
                        <a:pt x="213" y="2301"/>
                        <a:pt x="237" y="2316"/>
                      </a:cubicBezTo>
                      <a:cubicBezTo>
                        <a:pt x="292" y="2356"/>
                        <a:pt x="316" y="2380"/>
                        <a:pt x="355" y="2419"/>
                      </a:cubicBezTo>
                      <a:cubicBezTo>
                        <a:pt x="363" y="2435"/>
                        <a:pt x="371" y="2435"/>
                        <a:pt x="379" y="2443"/>
                      </a:cubicBezTo>
                      <a:cubicBezTo>
                        <a:pt x="403" y="2474"/>
                        <a:pt x="419" y="2482"/>
                        <a:pt x="427" y="2538"/>
                      </a:cubicBezTo>
                      <a:cubicBezTo>
                        <a:pt x="442" y="2569"/>
                        <a:pt x="458" y="2577"/>
                        <a:pt x="482" y="2585"/>
                      </a:cubicBezTo>
                      <a:cubicBezTo>
                        <a:pt x="498" y="2593"/>
                        <a:pt x="513" y="2593"/>
                        <a:pt x="537" y="2609"/>
                      </a:cubicBezTo>
                      <a:cubicBezTo>
                        <a:pt x="545" y="2625"/>
                        <a:pt x="561" y="2633"/>
                        <a:pt x="569" y="2648"/>
                      </a:cubicBezTo>
                      <a:cubicBezTo>
                        <a:pt x="593" y="2672"/>
                        <a:pt x="616" y="2696"/>
                        <a:pt x="656" y="2727"/>
                      </a:cubicBezTo>
                      <a:cubicBezTo>
                        <a:pt x="711" y="2759"/>
                        <a:pt x="711" y="2775"/>
                        <a:pt x="703" y="2791"/>
                      </a:cubicBezTo>
                      <a:cubicBezTo>
                        <a:pt x="703" y="2799"/>
                        <a:pt x="703" y="2807"/>
                        <a:pt x="703" y="2814"/>
                      </a:cubicBezTo>
                      <a:cubicBezTo>
                        <a:pt x="703" y="2822"/>
                        <a:pt x="703" y="2830"/>
                        <a:pt x="703" y="2830"/>
                      </a:cubicBezTo>
                      <a:cubicBezTo>
                        <a:pt x="703" y="2846"/>
                        <a:pt x="695" y="2854"/>
                        <a:pt x="751" y="2917"/>
                      </a:cubicBezTo>
                      <a:cubicBezTo>
                        <a:pt x="775" y="2941"/>
                        <a:pt x="782" y="2957"/>
                        <a:pt x="782" y="2965"/>
                      </a:cubicBezTo>
                      <a:cubicBezTo>
                        <a:pt x="775" y="2980"/>
                        <a:pt x="766" y="2980"/>
                        <a:pt x="759" y="2988"/>
                      </a:cubicBezTo>
                      <a:cubicBezTo>
                        <a:pt x="751" y="2996"/>
                        <a:pt x="735" y="3004"/>
                        <a:pt x="727" y="3020"/>
                      </a:cubicBezTo>
                      <a:cubicBezTo>
                        <a:pt x="719" y="3051"/>
                        <a:pt x="735" y="3091"/>
                        <a:pt x="759" y="3123"/>
                      </a:cubicBezTo>
                      <a:cubicBezTo>
                        <a:pt x="775" y="3147"/>
                        <a:pt x="782" y="3162"/>
                        <a:pt x="790" y="3178"/>
                      </a:cubicBezTo>
                      <a:cubicBezTo>
                        <a:pt x="798" y="3225"/>
                        <a:pt x="822" y="3233"/>
                        <a:pt x="861" y="3241"/>
                      </a:cubicBezTo>
                      <a:cubicBezTo>
                        <a:pt x="869" y="3249"/>
                        <a:pt x="869" y="3249"/>
                        <a:pt x="869" y="3249"/>
                      </a:cubicBezTo>
                      <a:cubicBezTo>
                        <a:pt x="893" y="3257"/>
                        <a:pt x="901" y="3265"/>
                        <a:pt x="901" y="3281"/>
                      </a:cubicBezTo>
                      <a:cubicBezTo>
                        <a:pt x="901" y="3281"/>
                        <a:pt x="909" y="3289"/>
                        <a:pt x="917" y="3304"/>
                      </a:cubicBezTo>
                      <a:cubicBezTo>
                        <a:pt x="941" y="3336"/>
                        <a:pt x="996" y="3368"/>
                        <a:pt x="1028" y="3368"/>
                      </a:cubicBezTo>
                      <a:cubicBezTo>
                        <a:pt x="1051" y="3368"/>
                        <a:pt x="1075" y="3384"/>
                        <a:pt x="1099" y="3407"/>
                      </a:cubicBezTo>
                      <a:cubicBezTo>
                        <a:pt x="1114" y="3423"/>
                        <a:pt x="1130" y="3439"/>
                        <a:pt x="1138" y="3439"/>
                      </a:cubicBezTo>
                      <a:lnTo>
                        <a:pt x="1138" y="3439"/>
                      </a:lnTo>
                      <a:cubicBezTo>
                        <a:pt x="1138" y="3439"/>
                        <a:pt x="1138" y="3431"/>
                        <a:pt x="1146" y="3431"/>
                      </a:cubicBezTo>
                      <a:cubicBezTo>
                        <a:pt x="1162" y="3431"/>
                        <a:pt x="1233" y="3478"/>
                        <a:pt x="1288" y="3518"/>
                      </a:cubicBezTo>
                      <a:cubicBezTo>
                        <a:pt x="1304" y="3534"/>
                        <a:pt x="1320" y="3542"/>
                        <a:pt x="1328" y="3550"/>
                      </a:cubicBezTo>
                      <a:cubicBezTo>
                        <a:pt x="1344" y="3557"/>
                        <a:pt x="1352" y="3557"/>
                        <a:pt x="1359" y="3557"/>
                      </a:cubicBezTo>
                      <a:cubicBezTo>
                        <a:pt x="1367" y="3557"/>
                        <a:pt x="1367" y="3550"/>
                        <a:pt x="1375" y="3534"/>
                      </a:cubicBezTo>
                      <a:cubicBezTo>
                        <a:pt x="1383" y="3518"/>
                        <a:pt x="1391" y="3502"/>
                        <a:pt x="1415" y="3486"/>
                      </a:cubicBezTo>
                      <a:cubicBezTo>
                        <a:pt x="1446" y="3471"/>
                        <a:pt x="1454" y="3439"/>
                        <a:pt x="1462" y="3400"/>
                      </a:cubicBezTo>
                      <a:cubicBezTo>
                        <a:pt x="1462" y="3391"/>
                        <a:pt x="1462" y="3384"/>
                        <a:pt x="1470" y="3368"/>
                      </a:cubicBezTo>
                      <a:cubicBezTo>
                        <a:pt x="1478" y="3344"/>
                        <a:pt x="1494" y="3313"/>
                        <a:pt x="1502" y="3297"/>
                      </a:cubicBezTo>
                      <a:cubicBezTo>
                        <a:pt x="1510" y="3289"/>
                        <a:pt x="1518" y="3281"/>
                        <a:pt x="1518" y="3273"/>
                      </a:cubicBezTo>
                      <a:cubicBezTo>
                        <a:pt x="1518" y="3265"/>
                        <a:pt x="1525" y="3257"/>
                        <a:pt x="1525" y="3249"/>
                      </a:cubicBezTo>
                      <a:cubicBezTo>
                        <a:pt x="1525" y="3225"/>
                        <a:pt x="1533" y="3194"/>
                        <a:pt x="1597" y="3186"/>
                      </a:cubicBezTo>
                      <a:cubicBezTo>
                        <a:pt x="1636" y="3186"/>
                        <a:pt x="1660" y="3170"/>
                        <a:pt x="1676" y="3162"/>
                      </a:cubicBezTo>
                      <a:cubicBezTo>
                        <a:pt x="1692" y="3154"/>
                        <a:pt x="1699" y="3147"/>
                        <a:pt x="1715" y="3147"/>
                      </a:cubicBezTo>
                      <a:cubicBezTo>
                        <a:pt x="1723" y="3147"/>
                        <a:pt x="1723" y="3147"/>
                        <a:pt x="1723" y="3147"/>
                      </a:cubicBezTo>
                      <a:cubicBezTo>
                        <a:pt x="1755" y="3147"/>
                        <a:pt x="1771" y="3162"/>
                        <a:pt x="1778" y="3178"/>
                      </a:cubicBezTo>
                      <a:cubicBezTo>
                        <a:pt x="1794" y="3186"/>
                        <a:pt x="1794" y="3194"/>
                        <a:pt x="1810" y="3194"/>
                      </a:cubicBezTo>
                      <a:cubicBezTo>
                        <a:pt x="1826" y="3194"/>
                        <a:pt x="1834" y="3194"/>
                        <a:pt x="1850" y="3186"/>
                      </a:cubicBezTo>
                      <a:cubicBezTo>
                        <a:pt x="1858" y="3186"/>
                        <a:pt x="1865" y="3186"/>
                        <a:pt x="1873" y="3178"/>
                      </a:cubicBezTo>
                      <a:cubicBezTo>
                        <a:pt x="1881" y="3178"/>
                        <a:pt x="1889" y="3178"/>
                        <a:pt x="1897" y="3178"/>
                      </a:cubicBezTo>
                      <a:cubicBezTo>
                        <a:pt x="1913" y="3178"/>
                        <a:pt x="1921" y="3186"/>
                        <a:pt x="1929" y="3194"/>
                      </a:cubicBezTo>
                      <a:cubicBezTo>
                        <a:pt x="1936" y="3202"/>
                        <a:pt x="1936" y="3202"/>
                        <a:pt x="1936" y="3202"/>
                      </a:cubicBezTo>
                      <a:cubicBezTo>
                        <a:pt x="1945" y="3210"/>
                        <a:pt x="1952" y="3218"/>
                        <a:pt x="1960" y="3218"/>
                      </a:cubicBezTo>
                      <a:cubicBezTo>
                        <a:pt x="1976" y="3218"/>
                        <a:pt x="1992" y="3210"/>
                        <a:pt x="2008" y="3194"/>
                      </a:cubicBezTo>
                      <a:lnTo>
                        <a:pt x="2016" y="3194"/>
                      </a:lnTo>
                      <a:cubicBezTo>
                        <a:pt x="2031" y="3194"/>
                        <a:pt x="2063" y="3233"/>
                        <a:pt x="2111" y="3281"/>
                      </a:cubicBezTo>
                      <a:cubicBezTo>
                        <a:pt x="2126" y="3304"/>
                        <a:pt x="2142" y="3320"/>
                        <a:pt x="2150" y="3336"/>
                      </a:cubicBezTo>
                      <a:cubicBezTo>
                        <a:pt x="2189" y="3376"/>
                        <a:pt x="2269" y="3439"/>
                        <a:pt x="2316" y="3471"/>
                      </a:cubicBezTo>
                      <a:cubicBezTo>
                        <a:pt x="2332" y="3478"/>
                        <a:pt x="2332" y="3494"/>
                        <a:pt x="2340" y="3510"/>
                      </a:cubicBezTo>
                      <a:cubicBezTo>
                        <a:pt x="2340" y="3534"/>
                        <a:pt x="2348" y="3581"/>
                        <a:pt x="2403" y="3668"/>
                      </a:cubicBezTo>
                      <a:cubicBezTo>
                        <a:pt x="2474" y="3763"/>
                        <a:pt x="2482" y="3811"/>
                        <a:pt x="2490" y="3834"/>
                      </a:cubicBezTo>
                      <a:cubicBezTo>
                        <a:pt x="2490" y="3858"/>
                        <a:pt x="2490" y="3866"/>
                        <a:pt x="2506" y="3874"/>
                      </a:cubicBezTo>
                      <a:cubicBezTo>
                        <a:pt x="2522" y="3897"/>
                        <a:pt x="2514" y="3913"/>
                        <a:pt x="2514" y="3921"/>
                      </a:cubicBezTo>
                      <a:cubicBezTo>
                        <a:pt x="2506" y="3929"/>
                        <a:pt x="2506" y="3937"/>
                        <a:pt x="2522" y="3945"/>
                      </a:cubicBezTo>
                      <a:cubicBezTo>
                        <a:pt x="2569" y="3969"/>
                        <a:pt x="2672" y="4103"/>
                        <a:pt x="2695" y="4142"/>
                      </a:cubicBezTo>
                      <a:cubicBezTo>
                        <a:pt x="2703" y="4150"/>
                        <a:pt x="2703" y="4166"/>
                        <a:pt x="2711" y="4174"/>
                      </a:cubicBezTo>
                      <a:cubicBezTo>
                        <a:pt x="2719" y="4198"/>
                        <a:pt x="2727" y="4214"/>
                        <a:pt x="2751" y="4222"/>
                      </a:cubicBezTo>
                      <a:cubicBezTo>
                        <a:pt x="2775" y="4222"/>
                        <a:pt x="2790" y="4237"/>
                        <a:pt x="2806" y="4253"/>
                      </a:cubicBezTo>
                      <a:cubicBezTo>
                        <a:pt x="2814" y="4261"/>
                        <a:pt x="2814" y="4269"/>
                        <a:pt x="2822" y="4277"/>
                      </a:cubicBezTo>
                      <a:cubicBezTo>
                        <a:pt x="2838" y="4293"/>
                        <a:pt x="2838" y="4293"/>
                        <a:pt x="2830" y="4308"/>
                      </a:cubicBezTo>
                      <a:cubicBezTo>
                        <a:pt x="2830" y="4317"/>
                        <a:pt x="2822" y="4324"/>
                        <a:pt x="2822" y="4332"/>
                      </a:cubicBezTo>
                      <a:cubicBezTo>
                        <a:pt x="2822" y="4340"/>
                        <a:pt x="2822" y="4340"/>
                        <a:pt x="2822" y="4348"/>
                      </a:cubicBezTo>
                      <a:cubicBezTo>
                        <a:pt x="2814" y="4372"/>
                        <a:pt x="2806" y="4395"/>
                        <a:pt x="2854" y="4419"/>
                      </a:cubicBezTo>
                      <a:cubicBezTo>
                        <a:pt x="2862" y="4419"/>
                        <a:pt x="2869" y="4427"/>
                        <a:pt x="2869" y="4435"/>
                      </a:cubicBezTo>
                      <a:cubicBezTo>
                        <a:pt x="2869" y="4451"/>
                        <a:pt x="2862" y="4459"/>
                        <a:pt x="2854" y="4475"/>
                      </a:cubicBezTo>
                      <a:cubicBezTo>
                        <a:pt x="2846" y="4490"/>
                        <a:pt x="2838" y="4506"/>
                        <a:pt x="2854" y="4522"/>
                      </a:cubicBezTo>
                      <a:cubicBezTo>
                        <a:pt x="2869" y="4546"/>
                        <a:pt x="2885" y="4577"/>
                        <a:pt x="2909" y="4609"/>
                      </a:cubicBezTo>
                      <a:cubicBezTo>
                        <a:pt x="2925" y="4641"/>
                        <a:pt x="2941" y="4672"/>
                        <a:pt x="2948" y="4680"/>
                      </a:cubicBezTo>
                      <a:cubicBezTo>
                        <a:pt x="2964" y="4696"/>
                        <a:pt x="2956" y="4712"/>
                        <a:pt x="2956" y="4728"/>
                      </a:cubicBezTo>
                      <a:cubicBezTo>
                        <a:pt x="2956" y="4743"/>
                        <a:pt x="2948" y="4759"/>
                        <a:pt x="2964" y="4767"/>
                      </a:cubicBezTo>
                      <a:cubicBezTo>
                        <a:pt x="2972" y="4775"/>
                        <a:pt x="2980" y="4783"/>
                        <a:pt x="2980" y="4799"/>
                      </a:cubicBezTo>
                      <a:cubicBezTo>
                        <a:pt x="2988" y="4807"/>
                        <a:pt x="2988" y="4814"/>
                        <a:pt x="2996" y="4814"/>
                      </a:cubicBezTo>
                      <a:cubicBezTo>
                        <a:pt x="3004" y="4814"/>
                        <a:pt x="3043" y="4822"/>
                        <a:pt x="3106" y="4854"/>
                      </a:cubicBezTo>
                      <a:cubicBezTo>
                        <a:pt x="3122" y="4870"/>
                        <a:pt x="3138" y="4878"/>
                        <a:pt x="3146" y="4886"/>
                      </a:cubicBezTo>
                      <a:cubicBezTo>
                        <a:pt x="3154" y="4894"/>
                        <a:pt x="3154" y="4894"/>
                        <a:pt x="3186" y="4894"/>
                      </a:cubicBezTo>
                      <a:lnTo>
                        <a:pt x="3194" y="4894"/>
                      </a:lnTo>
                      <a:cubicBezTo>
                        <a:pt x="3225" y="4894"/>
                        <a:pt x="3241" y="4901"/>
                        <a:pt x="3265" y="4917"/>
                      </a:cubicBezTo>
                      <a:cubicBezTo>
                        <a:pt x="3273" y="4925"/>
                        <a:pt x="3281" y="4933"/>
                        <a:pt x="3296" y="4941"/>
                      </a:cubicBezTo>
                      <a:cubicBezTo>
                        <a:pt x="3304" y="4949"/>
                        <a:pt x="3312" y="4949"/>
                        <a:pt x="3312" y="4957"/>
                      </a:cubicBezTo>
                      <a:cubicBezTo>
                        <a:pt x="3352" y="4981"/>
                        <a:pt x="3367" y="4988"/>
                        <a:pt x="3407" y="4996"/>
                      </a:cubicBezTo>
                      <a:cubicBezTo>
                        <a:pt x="3423" y="4996"/>
                        <a:pt x="3431" y="4996"/>
                        <a:pt x="3446" y="4996"/>
                      </a:cubicBezTo>
                      <a:cubicBezTo>
                        <a:pt x="3462" y="4996"/>
                        <a:pt x="3470" y="4996"/>
                        <a:pt x="3494" y="4981"/>
                      </a:cubicBezTo>
                      <a:cubicBezTo>
                        <a:pt x="3502" y="4972"/>
                        <a:pt x="3510" y="4972"/>
                        <a:pt x="3518" y="497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79" name="Freeform 24">
                  <a:extLst>
                    <a:ext uri="{FF2B5EF4-FFF2-40B4-BE49-F238E27FC236}">
                      <a16:creationId xmlns:a16="http://schemas.microsoft.com/office/drawing/2014/main" id="{924A10D6-1068-E441-814D-829BC6FEE6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00710" y="6629895"/>
                  <a:ext cx="1704689" cy="876698"/>
                </a:xfrm>
                <a:custGeom>
                  <a:avLst/>
                  <a:gdLst>
                    <a:gd name="T0" fmla="*/ 3233 w 3242"/>
                    <a:gd name="T1" fmla="*/ 751 h 1669"/>
                    <a:gd name="T2" fmla="*/ 3233 w 3242"/>
                    <a:gd name="T3" fmla="*/ 751 h 1669"/>
                    <a:gd name="T4" fmla="*/ 3130 w 3242"/>
                    <a:gd name="T5" fmla="*/ 71 h 1669"/>
                    <a:gd name="T6" fmla="*/ 0 w 3242"/>
                    <a:gd name="T7" fmla="*/ 0 h 1669"/>
                    <a:gd name="T8" fmla="*/ 0 w 3242"/>
                    <a:gd name="T9" fmla="*/ 245 h 1669"/>
                    <a:gd name="T10" fmla="*/ 1123 w 3242"/>
                    <a:gd name="T11" fmla="*/ 300 h 1669"/>
                    <a:gd name="T12" fmla="*/ 1139 w 3242"/>
                    <a:gd name="T13" fmla="*/ 1210 h 1669"/>
                    <a:gd name="T14" fmla="*/ 1218 w 3242"/>
                    <a:gd name="T15" fmla="*/ 1297 h 1669"/>
                    <a:gd name="T16" fmla="*/ 1297 w 3242"/>
                    <a:gd name="T17" fmla="*/ 1304 h 1669"/>
                    <a:gd name="T18" fmla="*/ 1344 w 3242"/>
                    <a:gd name="T19" fmla="*/ 1273 h 1669"/>
                    <a:gd name="T20" fmla="*/ 1392 w 3242"/>
                    <a:gd name="T21" fmla="*/ 1320 h 1669"/>
                    <a:gd name="T22" fmla="*/ 1423 w 3242"/>
                    <a:gd name="T23" fmla="*/ 1391 h 1669"/>
                    <a:gd name="T24" fmla="*/ 1510 w 3242"/>
                    <a:gd name="T25" fmla="*/ 1407 h 1669"/>
                    <a:gd name="T26" fmla="*/ 1566 w 3242"/>
                    <a:gd name="T27" fmla="*/ 1439 h 1669"/>
                    <a:gd name="T28" fmla="*/ 1653 w 3242"/>
                    <a:gd name="T29" fmla="*/ 1431 h 1669"/>
                    <a:gd name="T30" fmla="*/ 1684 w 3242"/>
                    <a:gd name="T31" fmla="*/ 1470 h 1669"/>
                    <a:gd name="T32" fmla="*/ 1732 w 3242"/>
                    <a:gd name="T33" fmla="*/ 1455 h 1669"/>
                    <a:gd name="T34" fmla="*/ 1763 w 3242"/>
                    <a:gd name="T35" fmla="*/ 1439 h 1669"/>
                    <a:gd name="T36" fmla="*/ 1826 w 3242"/>
                    <a:gd name="T37" fmla="*/ 1431 h 1669"/>
                    <a:gd name="T38" fmla="*/ 1842 w 3242"/>
                    <a:gd name="T39" fmla="*/ 1470 h 1669"/>
                    <a:gd name="T40" fmla="*/ 1874 w 3242"/>
                    <a:gd name="T41" fmla="*/ 1494 h 1669"/>
                    <a:gd name="T42" fmla="*/ 1882 w 3242"/>
                    <a:gd name="T43" fmla="*/ 1565 h 1669"/>
                    <a:gd name="T44" fmla="*/ 1945 w 3242"/>
                    <a:gd name="T45" fmla="*/ 1541 h 1669"/>
                    <a:gd name="T46" fmla="*/ 2008 w 3242"/>
                    <a:gd name="T47" fmla="*/ 1526 h 1669"/>
                    <a:gd name="T48" fmla="*/ 2056 w 3242"/>
                    <a:gd name="T49" fmla="*/ 1565 h 1669"/>
                    <a:gd name="T50" fmla="*/ 2103 w 3242"/>
                    <a:gd name="T51" fmla="*/ 1557 h 1669"/>
                    <a:gd name="T52" fmla="*/ 2190 w 3242"/>
                    <a:gd name="T53" fmla="*/ 1550 h 1669"/>
                    <a:gd name="T54" fmla="*/ 2190 w 3242"/>
                    <a:gd name="T55" fmla="*/ 1597 h 1669"/>
                    <a:gd name="T56" fmla="*/ 2222 w 3242"/>
                    <a:gd name="T57" fmla="*/ 1636 h 1669"/>
                    <a:gd name="T58" fmla="*/ 2245 w 3242"/>
                    <a:gd name="T59" fmla="*/ 1581 h 1669"/>
                    <a:gd name="T60" fmla="*/ 2261 w 3242"/>
                    <a:gd name="T61" fmla="*/ 1518 h 1669"/>
                    <a:gd name="T62" fmla="*/ 2293 w 3242"/>
                    <a:gd name="T63" fmla="*/ 1526 h 1669"/>
                    <a:gd name="T64" fmla="*/ 2340 w 3242"/>
                    <a:gd name="T65" fmla="*/ 1581 h 1669"/>
                    <a:gd name="T66" fmla="*/ 2372 w 3242"/>
                    <a:gd name="T67" fmla="*/ 1550 h 1669"/>
                    <a:gd name="T68" fmla="*/ 2426 w 3242"/>
                    <a:gd name="T69" fmla="*/ 1581 h 1669"/>
                    <a:gd name="T70" fmla="*/ 2505 w 3242"/>
                    <a:gd name="T71" fmla="*/ 1644 h 1669"/>
                    <a:gd name="T72" fmla="*/ 2568 w 3242"/>
                    <a:gd name="T73" fmla="*/ 1613 h 1669"/>
                    <a:gd name="T74" fmla="*/ 2656 w 3242"/>
                    <a:gd name="T75" fmla="*/ 1557 h 1669"/>
                    <a:gd name="T76" fmla="*/ 2695 w 3242"/>
                    <a:gd name="T77" fmla="*/ 1589 h 1669"/>
                    <a:gd name="T78" fmla="*/ 2750 w 3242"/>
                    <a:gd name="T79" fmla="*/ 1550 h 1669"/>
                    <a:gd name="T80" fmla="*/ 2814 w 3242"/>
                    <a:gd name="T81" fmla="*/ 1526 h 1669"/>
                    <a:gd name="T82" fmla="*/ 2861 w 3242"/>
                    <a:gd name="T83" fmla="*/ 1565 h 1669"/>
                    <a:gd name="T84" fmla="*/ 2917 w 3242"/>
                    <a:gd name="T85" fmla="*/ 1550 h 1669"/>
                    <a:gd name="T86" fmla="*/ 2964 w 3242"/>
                    <a:gd name="T87" fmla="*/ 1510 h 1669"/>
                    <a:gd name="T88" fmla="*/ 3051 w 3242"/>
                    <a:gd name="T89" fmla="*/ 1573 h 1669"/>
                    <a:gd name="T90" fmla="*/ 3130 w 3242"/>
                    <a:gd name="T91" fmla="*/ 1621 h 1669"/>
                    <a:gd name="T92" fmla="*/ 3193 w 3242"/>
                    <a:gd name="T93" fmla="*/ 1652 h 1669"/>
                    <a:gd name="T94" fmla="*/ 3241 w 3242"/>
                    <a:gd name="T95" fmla="*/ 1644 h 1669"/>
                    <a:gd name="T96" fmla="*/ 3233 w 3242"/>
                    <a:gd name="T97" fmla="*/ 751 h 16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242" h="1669">
                      <a:moveTo>
                        <a:pt x="3233" y="751"/>
                      </a:moveTo>
                      <a:lnTo>
                        <a:pt x="3233" y="751"/>
                      </a:lnTo>
                      <a:cubicBezTo>
                        <a:pt x="3138" y="380"/>
                        <a:pt x="3130" y="71"/>
                        <a:pt x="3130" y="71"/>
                      </a:cubicBezTo>
                      <a:cubicBezTo>
                        <a:pt x="1953" y="87"/>
                        <a:pt x="909" y="55"/>
                        <a:pt x="0" y="0"/>
                      </a:cubicBezTo>
                      <a:cubicBezTo>
                        <a:pt x="0" y="245"/>
                        <a:pt x="0" y="245"/>
                        <a:pt x="0" y="245"/>
                      </a:cubicBezTo>
                      <a:cubicBezTo>
                        <a:pt x="1123" y="300"/>
                        <a:pt x="1123" y="300"/>
                        <a:pt x="1123" y="300"/>
                      </a:cubicBezTo>
                      <a:cubicBezTo>
                        <a:pt x="1123" y="300"/>
                        <a:pt x="1107" y="1186"/>
                        <a:pt x="1139" y="1210"/>
                      </a:cubicBezTo>
                      <a:cubicBezTo>
                        <a:pt x="1170" y="1233"/>
                        <a:pt x="1178" y="1265"/>
                        <a:pt x="1218" y="1297"/>
                      </a:cubicBezTo>
                      <a:cubicBezTo>
                        <a:pt x="1249" y="1328"/>
                        <a:pt x="1249" y="1297"/>
                        <a:pt x="1297" y="1304"/>
                      </a:cubicBezTo>
                      <a:cubicBezTo>
                        <a:pt x="1336" y="1320"/>
                        <a:pt x="1321" y="1281"/>
                        <a:pt x="1344" y="1273"/>
                      </a:cubicBezTo>
                      <a:cubicBezTo>
                        <a:pt x="1360" y="1265"/>
                        <a:pt x="1376" y="1297"/>
                        <a:pt x="1392" y="1320"/>
                      </a:cubicBezTo>
                      <a:cubicBezTo>
                        <a:pt x="1400" y="1344"/>
                        <a:pt x="1392" y="1383"/>
                        <a:pt x="1423" y="1391"/>
                      </a:cubicBezTo>
                      <a:cubicBezTo>
                        <a:pt x="1455" y="1399"/>
                        <a:pt x="1463" y="1415"/>
                        <a:pt x="1510" y="1407"/>
                      </a:cubicBezTo>
                      <a:cubicBezTo>
                        <a:pt x="1550" y="1407"/>
                        <a:pt x="1566" y="1439"/>
                        <a:pt x="1566" y="1439"/>
                      </a:cubicBezTo>
                      <a:cubicBezTo>
                        <a:pt x="1589" y="1455"/>
                        <a:pt x="1621" y="1431"/>
                        <a:pt x="1653" y="1431"/>
                      </a:cubicBezTo>
                      <a:cubicBezTo>
                        <a:pt x="1684" y="1439"/>
                        <a:pt x="1684" y="1447"/>
                        <a:pt x="1684" y="1470"/>
                      </a:cubicBezTo>
                      <a:cubicBezTo>
                        <a:pt x="1692" y="1494"/>
                        <a:pt x="1724" y="1486"/>
                        <a:pt x="1732" y="1455"/>
                      </a:cubicBezTo>
                      <a:cubicBezTo>
                        <a:pt x="1739" y="1423"/>
                        <a:pt x="1763" y="1447"/>
                        <a:pt x="1763" y="1439"/>
                      </a:cubicBezTo>
                      <a:cubicBezTo>
                        <a:pt x="1771" y="1423"/>
                        <a:pt x="1795" y="1431"/>
                        <a:pt x="1826" y="1431"/>
                      </a:cubicBezTo>
                      <a:cubicBezTo>
                        <a:pt x="1850" y="1431"/>
                        <a:pt x="1842" y="1447"/>
                        <a:pt x="1842" y="1470"/>
                      </a:cubicBezTo>
                      <a:cubicBezTo>
                        <a:pt x="1842" y="1494"/>
                        <a:pt x="1850" y="1486"/>
                        <a:pt x="1874" y="1494"/>
                      </a:cubicBezTo>
                      <a:cubicBezTo>
                        <a:pt x="1890" y="1510"/>
                        <a:pt x="1874" y="1541"/>
                        <a:pt x="1882" y="1565"/>
                      </a:cubicBezTo>
                      <a:cubicBezTo>
                        <a:pt x="1898" y="1597"/>
                        <a:pt x="1929" y="1557"/>
                        <a:pt x="1945" y="1541"/>
                      </a:cubicBezTo>
                      <a:cubicBezTo>
                        <a:pt x="1953" y="1518"/>
                        <a:pt x="1977" y="1518"/>
                        <a:pt x="2008" y="1526"/>
                      </a:cubicBezTo>
                      <a:cubicBezTo>
                        <a:pt x="2040" y="1534"/>
                        <a:pt x="2048" y="1550"/>
                        <a:pt x="2056" y="1565"/>
                      </a:cubicBezTo>
                      <a:cubicBezTo>
                        <a:pt x="2072" y="1581"/>
                        <a:pt x="2103" y="1581"/>
                        <a:pt x="2103" y="1557"/>
                      </a:cubicBezTo>
                      <a:cubicBezTo>
                        <a:pt x="2103" y="1541"/>
                        <a:pt x="2174" y="1550"/>
                        <a:pt x="2190" y="1550"/>
                      </a:cubicBezTo>
                      <a:cubicBezTo>
                        <a:pt x="2206" y="1550"/>
                        <a:pt x="2198" y="1565"/>
                        <a:pt x="2190" y="1597"/>
                      </a:cubicBezTo>
                      <a:cubicBezTo>
                        <a:pt x="2182" y="1628"/>
                        <a:pt x="2206" y="1628"/>
                        <a:pt x="2222" y="1636"/>
                      </a:cubicBezTo>
                      <a:cubicBezTo>
                        <a:pt x="2238" y="1644"/>
                        <a:pt x="2245" y="1605"/>
                        <a:pt x="2245" y="1581"/>
                      </a:cubicBezTo>
                      <a:cubicBezTo>
                        <a:pt x="2245" y="1550"/>
                        <a:pt x="2245" y="1557"/>
                        <a:pt x="2261" y="1518"/>
                      </a:cubicBezTo>
                      <a:cubicBezTo>
                        <a:pt x="2277" y="1486"/>
                        <a:pt x="2277" y="1518"/>
                        <a:pt x="2293" y="1526"/>
                      </a:cubicBezTo>
                      <a:cubicBezTo>
                        <a:pt x="2309" y="1541"/>
                        <a:pt x="2317" y="1557"/>
                        <a:pt x="2340" y="1581"/>
                      </a:cubicBezTo>
                      <a:cubicBezTo>
                        <a:pt x="2356" y="1597"/>
                        <a:pt x="2364" y="1573"/>
                        <a:pt x="2372" y="1550"/>
                      </a:cubicBezTo>
                      <a:cubicBezTo>
                        <a:pt x="2380" y="1526"/>
                        <a:pt x="2403" y="1557"/>
                        <a:pt x="2426" y="1581"/>
                      </a:cubicBezTo>
                      <a:cubicBezTo>
                        <a:pt x="2458" y="1613"/>
                        <a:pt x="2474" y="1628"/>
                        <a:pt x="2505" y="1644"/>
                      </a:cubicBezTo>
                      <a:cubicBezTo>
                        <a:pt x="2529" y="1668"/>
                        <a:pt x="2545" y="1636"/>
                        <a:pt x="2568" y="1613"/>
                      </a:cubicBezTo>
                      <a:cubicBezTo>
                        <a:pt x="2584" y="1589"/>
                        <a:pt x="2616" y="1565"/>
                        <a:pt x="2656" y="1557"/>
                      </a:cubicBezTo>
                      <a:cubicBezTo>
                        <a:pt x="2687" y="1550"/>
                        <a:pt x="2671" y="1565"/>
                        <a:pt x="2695" y="1589"/>
                      </a:cubicBezTo>
                      <a:cubicBezTo>
                        <a:pt x="2727" y="1605"/>
                        <a:pt x="2743" y="1581"/>
                        <a:pt x="2750" y="1550"/>
                      </a:cubicBezTo>
                      <a:cubicBezTo>
                        <a:pt x="2750" y="1526"/>
                        <a:pt x="2798" y="1526"/>
                        <a:pt x="2814" y="1526"/>
                      </a:cubicBezTo>
                      <a:cubicBezTo>
                        <a:pt x="2837" y="1526"/>
                        <a:pt x="2830" y="1541"/>
                        <a:pt x="2861" y="1565"/>
                      </a:cubicBezTo>
                      <a:cubicBezTo>
                        <a:pt x="2893" y="1589"/>
                        <a:pt x="2908" y="1565"/>
                        <a:pt x="2917" y="1550"/>
                      </a:cubicBezTo>
                      <a:cubicBezTo>
                        <a:pt x="2932" y="1534"/>
                        <a:pt x="2940" y="1510"/>
                        <a:pt x="2964" y="1510"/>
                      </a:cubicBezTo>
                      <a:cubicBezTo>
                        <a:pt x="2988" y="1510"/>
                        <a:pt x="3011" y="1526"/>
                        <a:pt x="3051" y="1573"/>
                      </a:cubicBezTo>
                      <a:cubicBezTo>
                        <a:pt x="3090" y="1621"/>
                        <a:pt x="3122" y="1613"/>
                        <a:pt x="3130" y="1621"/>
                      </a:cubicBezTo>
                      <a:cubicBezTo>
                        <a:pt x="3138" y="1636"/>
                        <a:pt x="3161" y="1652"/>
                        <a:pt x="3193" y="1652"/>
                      </a:cubicBezTo>
                      <a:cubicBezTo>
                        <a:pt x="3225" y="1652"/>
                        <a:pt x="3225" y="1644"/>
                        <a:pt x="3241" y="1644"/>
                      </a:cubicBezTo>
                      <a:lnTo>
                        <a:pt x="3233" y="751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0" name="Freeform 25">
                  <a:extLst>
                    <a:ext uri="{FF2B5EF4-FFF2-40B4-BE49-F238E27FC236}">
                      <a16:creationId xmlns:a16="http://schemas.microsoft.com/office/drawing/2014/main" id="{33F62F60-0A78-2448-98D7-10982C067F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96071" y="6629895"/>
                  <a:ext cx="1709328" cy="874378"/>
                </a:xfrm>
                <a:custGeom>
                  <a:avLst/>
                  <a:gdLst>
                    <a:gd name="T0" fmla="*/ 2434 w 3250"/>
                    <a:gd name="T1" fmla="*/ 1589 h 1661"/>
                    <a:gd name="T2" fmla="*/ 2380 w 3250"/>
                    <a:gd name="T3" fmla="*/ 1557 h 1661"/>
                    <a:gd name="T4" fmla="*/ 2285 w 3250"/>
                    <a:gd name="T5" fmla="*/ 1518 h 1661"/>
                    <a:gd name="T6" fmla="*/ 2253 w 3250"/>
                    <a:gd name="T7" fmla="*/ 1581 h 1661"/>
                    <a:gd name="T8" fmla="*/ 2190 w 3250"/>
                    <a:gd name="T9" fmla="*/ 1597 h 1661"/>
                    <a:gd name="T10" fmla="*/ 2190 w 3250"/>
                    <a:gd name="T11" fmla="*/ 1550 h 1661"/>
                    <a:gd name="T12" fmla="*/ 2064 w 3250"/>
                    <a:gd name="T13" fmla="*/ 1565 h 1661"/>
                    <a:gd name="T14" fmla="*/ 1906 w 3250"/>
                    <a:gd name="T15" fmla="*/ 1581 h 1661"/>
                    <a:gd name="T16" fmla="*/ 1866 w 3250"/>
                    <a:gd name="T17" fmla="*/ 1494 h 1661"/>
                    <a:gd name="T18" fmla="*/ 1834 w 3250"/>
                    <a:gd name="T19" fmla="*/ 1431 h 1661"/>
                    <a:gd name="T20" fmla="*/ 1771 w 3250"/>
                    <a:gd name="T21" fmla="*/ 1447 h 1661"/>
                    <a:gd name="T22" fmla="*/ 1708 w 3250"/>
                    <a:gd name="T23" fmla="*/ 1486 h 1661"/>
                    <a:gd name="T24" fmla="*/ 1621 w 3250"/>
                    <a:gd name="T25" fmla="*/ 1439 h 1661"/>
                    <a:gd name="T26" fmla="*/ 1566 w 3250"/>
                    <a:gd name="T27" fmla="*/ 1439 h 1661"/>
                    <a:gd name="T28" fmla="*/ 1431 w 3250"/>
                    <a:gd name="T29" fmla="*/ 1391 h 1661"/>
                    <a:gd name="T30" fmla="*/ 1360 w 3250"/>
                    <a:gd name="T31" fmla="*/ 1273 h 1661"/>
                    <a:gd name="T32" fmla="*/ 1305 w 3250"/>
                    <a:gd name="T33" fmla="*/ 1312 h 1661"/>
                    <a:gd name="T34" fmla="*/ 1218 w 3250"/>
                    <a:gd name="T35" fmla="*/ 1297 h 1661"/>
                    <a:gd name="T36" fmla="*/ 0 w 3250"/>
                    <a:gd name="T37" fmla="*/ 245 h 1661"/>
                    <a:gd name="T38" fmla="*/ 3138 w 3250"/>
                    <a:gd name="T39" fmla="*/ 71 h 1661"/>
                    <a:gd name="T40" fmla="*/ 3249 w 3250"/>
                    <a:gd name="T41" fmla="*/ 751 h 1661"/>
                    <a:gd name="T42" fmla="*/ 3201 w 3250"/>
                    <a:gd name="T43" fmla="*/ 1660 h 1661"/>
                    <a:gd name="T44" fmla="*/ 2972 w 3250"/>
                    <a:gd name="T45" fmla="*/ 1510 h 1661"/>
                    <a:gd name="T46" fmla="*/ 2893 w 3250"/>
                    <a:gd name="T47" fmla="*/ 1581 h 1661"/>
                    <a:gd name="T48" fmla="*/ 2758 w 3250"/>
                    <a:gd name="T49" fmla="*/ 1550 h 1661"/>
                    <a:gd name="T50" fmla="*/ 2679 w 3250"/>
                    <a:gd name="T51" fmla="*/ 1557 h 1661"/>
                    <a:gd name="T52" fmla="*/ 2529 w 3250"/>
                    <a:gd name="T53" fmla="*/ 1660 h 1661"/>
                    <a:gd name="T54" fmla="*/ 2442 w 3250"/>
                    <a:gd name="T55" fmla="*/ 1581 h 1661"/>
                    <a:gd name="T56" fmla="*/ 2576 w 3250"/>
                    <a:gd name="T57" fmla="*/ 1613 h 1661"/>
                    <a:gd name="T58" fmla="*/ 2711 w 3250"/>
                    <a:gd name="T59" fmla="*/ 1581 h 1661"/>
                    <a:gd name="T60" fmla="*/ 2845 w 3250"/>
                    <a:gd name="T61" fmla="*/ 1534 h 1661"/>
                    <a:gd name="T62" fmla="*/ 2925 w 3250"/>
                    <a:gd name="T63" fmla="*/ 1550 h 1661"/>
                    <a:gd name="T64" fmla="*/ 3122 w 3250"/>
                    <a:gd name="T65" fmla="*/ 1613 h 1661"/>
                    <a:gd name="T66" fmla="*/ 3241 w 3250"/>
                    <a:gd name="T67" fmla="*/ 1636 h 1661"/>
                    <a:gd name="T68" fmla="*/ 16 w 3250"/>
                    <a:gd name="T69" fmla="*/ 8 h 1661"/>
                    <a:gd name="T70" fmla="*/ 1147 w 3250"/>
                    <a:gd name="T71" fmla="*/ 1202 h 1661"/>
                    <a:gd name="T72" fmla="*/ 1265 w 3250"/>
                    <a:gd name="T73" fmla="*/ 1304 h 1661"/>
                    <a:gd name="T74" fmla="*/ 1336 w 3250"/>
                    <a:gd name="T75" fmla="*/ 1288 h 1661"/>
                    <a:gd name="T76" fmla="*/ 1400 w 3250"/>
                    <a:gd name="T77" fmla="*/ 1320 h 1661"/>
                    <a:gd name="T78" fmla="*/ 1503 w 3250"/>
                    <a:gd name="T79" fmla="*/ 1407 h 1661"/>
                    <a:gd name="T80" fmla="*/ 1621 w 3250"/>
                    <a:gd name="T81" fmla="*/ 1439 h 1661"/>
                    <a:gd name="T82" fmla="*/ 1700 w 3250"/>
                    <a:gd name="T83" fmla="*/ 1470 h 1661"/>
                    <a:gd name="T84" fmla="*/ 1763 w 3250"/>
                    <a:gd name="T85" fmla="*/ 1439 h 1661"/>
                    <a:gd name="T86" fmla="*/ 1811 w 3250"/>
                    <a:gd name="T87" fmla="*/ 1423 h 1661"/>
                    <a:gd name="T88" fmla="*/ 1858 w 3250"/>
                    <a:gd name="T89" fmla="*/ 1470 h 1661"/>
                    <a:gd name="T90" fmla="*/ 1898 w 3250"/>
                    <a:gd name="T91" fmla="*/ 1565 h 1661"/>
                    <a:gd name="T92" fmla="*/ 2064 w 3250"/>
                    <a:gd name="T93" fmla="*/ 1557 h 1661"/>
                    <a:gd name="T94" fmla="*/ 2166 w 3250"/>
                    <a:gd name="T95" fmla="*/ 1541 h 1661"/>
                    <a:gd name="T96" fmla="*/ 2206 w 3250"/>
                    <a:gd name="T97" fmla="*/ 1573 h 1661"/>
                    <a:gd name="T98" fmla="*/ 2230 w 3250"/>
                    <a:gd name="T99" fmla="*/ 1636 h 1661"/>
                    <a:gd name="T100" fmla="*/ 2285 w 3250"/>
                    <a:gd name="T101" fmla="*/ 1502 h 1661"/>
                    <a:gd name="T102" fmla="*/ 2356 w 3250"/>
                    <a:gd name="T103" fmla="*/ 1581 h 1661"/>
                    <a:gd name="T104" fmla="*/ 2529 w 3250"/>
                    <a:gd name="T105" fmla="*/ 1660 h 16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250" h="1661">
                      <a:moveTo>
                        <a:pt x="2529" y="1660"/>
                      </a:moveTo>
                      <a:lnTo>
                        <a:pt x="2529" y="1660"/>
                      </a:lnTo>
                      <a:cubicBezTo>
                        <a:pt x="2521" y="1660"/>
                        <a:pt x="2513" y="1652"/>
                        <a:pt x="2505" y="1652"/>
                      </a:cubicBezTo>
                      <a:cubicBezTo>
                        <a:pt x="2482" y="1628"/>
                        <a:pt x="2466" y="1613"/>
                        <a:pt x="2434" y="1589"/>
                      </a:cubicBezTo>
                      <a:cubicBezTo>
                        <a:pt x="2434" y="1581"/>
                        <a:pt x="2426" y="1581"/>
                        <a:pt x="2426" y="1573"/>
                      </a:cubicBezTo>
                      <a:cubicBezTo>
                        <a:pt x="2411" y="1557"/>
                        <a:pt x="2395" y="1541"/>
                        <a:pt x="2388" y="1541"/>
                      </a:cubicBezTo>
                      <a:cubicBezTo>
                        <a:pt x="2388" y="1541"/>
                        <a:pt x="2388" y="1541"/>
                        <a:pt x="2380" y="1550"/>
                      </a:cubicBezTo>
                      <a:cubicBezTo>
                        <a:pt x="2380" y="1557"/>
                        <a:pt x="2380" y="1557"/>
                        <a:pt x="2380" y="1557"/>
                      </a:cubicBezTo>
                      <a:cubicBezTo>
                        <a:pt x="2372" y="1573"/>
                        <a:pt x="2364" y="1589"/>
                        <a:pt x="2356" y="1589"/>
                      </a:cubicBezTo>
                      <a:cubicBezTo>
                        <a:pt x="2348" y="1589"/>
                        <a:pt x="2348" y="1589"/>
                        <a:pt x="2340" y="1581"/>
                      </a:cubicBezTo>
                      <a:cubicBezTo>
                        <a:pt x="2325" y="1557"/>
                        <a:pt x="2317" y="1550"/>
                        <a:pt x="2301" y="1534"/>
                      </a:cubicBezTo>
                      <a:cubicBezTo>
                        <a:pt x="2293" y="1526"/>
                        <a:pt x="2293" y="1526"/>
                        <a:pt x="2285" y="1518"/>
                      </a:cubicBezTo>
                      <a:cubicBezTo>
                        <a:pt x="2285" y="1510"/>
                        <a:pt x="2285" y="1510"/>
                        <a:pt x="2285" y="1510"/>
                      </a:cubicBezTo>
                      <a:cubicBezTo>
                        <a:pt x="2285" y="1510"/>
                        <a:pt x="2277" y="1510"/>
                        <a:pt x="2277" y="1526"/>
                      </a:cubicBezTo>
                      <a:cubicBezTo>
                        <a:pt x="2269" y="1534"/>
                        <a:pt x="2269" y="1541"/>
                        <a:pt x="2262" y="1550"/>
                      </a:cubicBezTo>
                      <a:cubicBezTo>
                        <a:pt x="2253" y="1557"/>
                        <a:pt x="2253" y="1565"/>
                        <a:pt x="2253" y="1581"/>
                      </a:cubicBezTo>
                      <a:cubicBezTo>
                        <a:pt x="2253" y="1605"/>
                        <a:pt x="2246" y="1644"/>
                        <a:pt x="2230" y="1644"/>
                      </a:cubicBezTo>
                      <a:cubicBezTo>
                        <a:pt x="2230" y="1644"/>
                        <a:pt x="2230" y="1644"/>
                        <a:pt x="2230" y="1636"/>
                      </a:cubicBezTo>
                      <a:cubicBezTo>
                        <a:pt x="2222" y="1636"/>
                        <a:pt x="2222" y="1636"/>
                        <a:pt x="2222" y="1636"/>
                      </a:cubicBezTo>
                      <a:cubicBezTo>
                        <a:pt x="2206" y="1636"/>
                        <a:pt x="2190" y="1628"/>
                        <a:pt x="2190" y="1597"/>
                      </a:cubicBezTo>
                      <a:cubicBezTo>
                        <a:pt x="2198" y="1589"/>
                        <a:pt x="2198" y="1581"/>
                        <a:pt x="2198" y="1573"/>
                      </a:cubicBezTo>
                      <a:cubicBezTo>
                        <a:pt x="2198" y="1565"/>
                        <a:pt x="2206" y="1550"/>
                        <a:pt x="2206" y="1550"/>
                      </a:cubicBezTo>
                      <a:cubicBezTo>
                        <a:pt x="2198" y="1550"/>
                        <a:pt x="2198" y="1550"/>
                        <a:pt x="2198" y="1550"/>
                      </a:cubicBezTo>
                      <a:cubicBezTo>
                        <a:pt x="2198" y="1550"/>
                        <a:pt x="2198" y="1550"/>
                        <a:pt x="2190" y="1550"/>
                      </a:cubicBezTo>
                      <a:cubicBezTo>
                        <a:pt x="2182" y="1550"/>
                        <a:pt x="2174" y="1550"/>
                        <a:pt x="2166" y="1550"/>
                      </a:cubicBezTo>
                      <a:cubicBezTo>
                        <a:pt x="2119" y="1550"/>
                        <a:pt x="2111" y="1557"/>
                        <a:pt x="2111" y="1557"/>
                      </a:cubicBezTo>
                      <a:cubicBezTo>
                        <a:pt x="2111" y="1573"/>
                        <a:pt x="2103" y="1581"/>
                        <a:pt x="2087" y="1581"/>
                      </a:cubicBezTo>
                      <a:cubicBezTo>
                        <a:pt x="2080" y="1581"/>
                        <a:pt x="2072" y="1573"/>
                        <a:pt x="2064" y="1565"/>
                      </a:cubicBezTo>
                      <a:lnTo>
                        <a:pt x="2064" y="1565"/>
                      </a:lnTo>
                      <a:cubicBezTo>
                        <a:pt x="2048" y="1550"/>
                        <a:pt x="2040" y="1534"/>
                        <a:pt x="2016" y="1526"/>
                      </a:cubicBezTo>
                      <a:cubicBezTo>
                        <a:pt x="1985" y="1518"/>
                        <a:pt x="1961" y="1526"/>
                        <a:pt x="1953" y="1541"/>
                      </a:cubicBezTo>
                      <a:cubicBezTo>
                        <a:pt x="1945" y="1557"/>
                        <a:pt x="1922" y="1581"/>
                        <a:pt x="1906" y="1581"/>
                      </a:cubicBezTo>
                      <a:cubicBezTo>
                        <a:pt x="1898" y="1581"/>
                        <a:pt x="1890" y="1581"/>
                        <a:pt x="1890" y="1573"/>
                      </a:cubicBezTo>
                      <a:cubicBezTo>
                        <a:pt x="1890" y="1557"/>
                        <a:pt x="1890" y="1541"/>
                        <a:pt x="1890" y="1534"/>
                      </a:cubicBezTo>
                      <a:cubicBezTo>
                        <a:pt x="1890" y="1518"/>
                        <a:pt x="1890" y="1502"/>
                        <a:pt x="1874" y="1502"/>
                      </a:cubicBezTo>
                      <a:lnTo>
                        <a:pt x="1866" y="1494"/>
                      </a:lnTo>
                      <a:cubicBezTo>
                        <a:pt x="1850" y="1494"/>
                        <a:pt x="1850" y="1494"/>
                        <a:pt x="1850" y="1470"/>
                      </a:cubicBezTo>
                      <a:lnTo>
                        <a:pt x="1850" y="1463"/>
                      </a:lnTo>
                      <a:cubicBezTo>
                        <a:pt x="1850" y="1447"/>
                        <a:pt x="1850" y="1439"/>
                        <a:pt x="1842" y="1439"/>
                      </a:cubicBezTo>
                      <a:lnTo>
                        <a:pt x="1834" y="1431"/>
                      </a:lnTo>
                      <a:cubicBezTo>
                        <a:pt x="1819" y="1431"/>
                        <a:pt x="1811" y="1431"/>
                        <a:pt x="1803" y="1431"/>
                      </a:cubicBezTo>
                      <a:cubicBezTo>
                        <a:pt x="1803" y="1431"/>
                        <a:pt x="1795" y="1431"/>
                        <a:pt x="1787" y="1431"/>
                      </a:cubicBezTo>
                      <a:cubicBezTo>
                        <a:pt x="1779" y="1431"/>
                        <a:pt x="1779" y="1431"/>
                        <a:pt x="1779" y="1439"/>
                      </a:cubicBezTo>
                      <a:lnTo>
                        <a:pt x="1771" y="1447"/>
                      </a:lnTo>
                      <a:cubicBezTo>
                        <a:pt x="1771" y="1447"/>
                        <a:pt x="1763" y="1447"/>
                        <a:pt x="1763" y="1439"/>
                      </a:cubicBezTo>
                      <a:lnTo>
                        <a:pt x="1755" y="1439"/>
                      </a:lnTo>
                      <a:cubicBezTo>
                        <a:pt x="1755" y="1439"/>
                        <a:pt x="1747" y="1439"/>
                        <a:pt x="1747" y="1455"/>
                      </a:cubicBezTo>
                      <a:cubicBezTo>
                        <a:pt x="1740" y="1478"/>
                        <a:pt x="1724" y="1486"/>
                        <a:pt x="1708" y="1486"/>
                      </a:cubicBezTo>
                      <a:cubicBezTo>
                        <a:pt x="1700" y="1486"/>
                        <a:pt x="1692" y="1486"/>
                        <a:pt x="1692" y="1470"/>
                      </a:cubicBezTo>
                      <a:cubicBezTo>
                        <a:pt x="1692" y="1470"/>
                        <a:pt x="1692" y="1470"/>
                        <a:pt x="1692" y="1463"/>
                      </a:cubicBezTo>
                      <a:cubicBezTo>
                        <a:pt x="1692" y="1447"/>
                        <a:pt x="1684" y="1439"/>
                        <a:pt x="1661" y="1439"/>
                      </a:cubicBezTo>
                      <a:cubicBezTo>
                        <a:pt x="1645" y="1431"/>
                        <a:pt x="1637" y="1439"/>
                        <a:pt x="1621" y="1439"/>
                      </a:cubicBezTo>
                      <a:cubicBezTo>
                        <a:pt x="1613" y="1447"/>
                        <a:pt x="1605" y="1447"/>
                        <a:pt x="1597" y="1447"/>
                      </a:cubicBezTo>
                      <a:cubicBezTo>
                        <a:pt x="1582" y="1447"/>
                        <a:pt x="1574" y="1447"/>
                        <a:pt x="1566" y="1439"/>
                      </a:cubicBezTo>
                      <a:lnTo>
                        <a:pt x="1566" y="1439"/>
                      </a:lnTo>
                      <a:lnTo>
                        <a:pt x="1566" y="1439"/>
                      </a:lnTo>
                      <a:cubicBezTo>
                        <a:pt x="1566" y="1439"/>
                        <a:pt x="1558" y="1407"/>
                        <a:pt x="1518" y="1415"/>
                      </a:cubicBezTo>
                      <a:cubicBezTo>
                        <a:pt x="1510" y="1415"/>
                        <a:pt x="1503" y="1415"/>
                        <a:pt x="1503" y="1415"/>
                      </a:cubicBezTo>
                      <a:cubicBezTo>
                        <a:pt x="1479" y="1415"/>
                        <a:pt x="1471" y="1407"/>
                        <a:pt x="1455" y="1399"/>
                      </a:cubicBezTo>
                      <a:cubicBezTo>
                        <a:pt x="1447" y="1399"/>
                        <a:pt x="1439" y="1399"/>
                        <a:pt x="1431" y="1391"/>
                      </a:cubicBezTo>
                      <a:cubicBezTo>
                        <a:pt x="1408" y="1391"/>
                        <a:pt x="1400" y="1368"/>
                        <a:pt x="1400" y="1352"/>
                      </a:cubicBezTo>
                      <a:cubicBezTo>
                        <a:pt x="1400" y="1336"/>
                        <a:pt x="1400" y="1328"/>
                        <a:pt x="1392" y="1320"/>
                      </a:cubicBezTo>
                      <a:cubicBezTo>
                        <a:pt x="1392" y="1312"/>
                        <a:pt x="1392" y="1312"/>
                        <a:pt x="1392" y="1312"/>
                      </a:cubicBezTo>
                      <a:cubicBezTo>
                        <a:pt x="1384" y="1297"/>
                        <a:pt x="1368" y="1273"/>
                        <a:pt x="1360" y="1273"/>
                      </a:cubicBezTo>
                      <a:cubicBezTo>
                        <a:pt x="1352" y="1273"/>
                        <a:pt x="1352" y="1273"/>
                        <a:pt x="1352" y="1273"/>
                      </a:cubicBezTo>
                      <a:cubicBezTo>
                        <a:pt x="1344" y="1281"/>
                        <a:pt x="1344" y="1281"/>
                        <a:pt x="1344" y="1288"/>
                      </a:cubicBezTo>
                      <a:cubicBezTo>
                        <a:pt x="1336" y="1304"/>
                        <a:pt x="1336" y="1312"/>
                        <a:pt x="1321" y="1312"/>
                      </a:cubicBezTo>
                      <a:cubicBezTo>
                        <a:pt x="1313" y="1312"/>
                        <a:pt x="1305" y="1312"/>
                        <a:pt x="1305" y="1312"/>
                      </a:cubicBezTo>
                      <a:cubicBezTo>
                        <a:pt x="1297" y="1304"/>
                        <a:pt x="1289" y="1304"/>
                        <a:pt x="1281" y="1304"/>
                      </a:cubicBezTo>
                      <a:cubicBezTo>
                        <a:pt x="1273" y="1304"/>
                        <a:pt x="1273" y="1312"/>
                        <a:pt x="1265" y="1312"/>
                      </a:cubicBezTo>
                      <a:cubicBezTo>
                        <a:pt x="1257" y="1312"/>
                        <a:pt x="1257" y="1312"/>
                        <a:pt x="1250" y="1312"/>
                      </a:cubicBezTo>
                      <a:cubicBezTo>
                        <a:pt x="1242" y="1312"/>
                        <a:pt x="1234" y="1312"/>
                        <a:pt x="1218" y="1297"/>
                      </a:cubicBezTo>
                      <a:cubicBezTo>
                        <a:pt x="1202" y="1288"/>
                        <a:pt x="1186" y="1265"/>
                        <a:pt x="1178" y="1249"/>
                      </a:cubicBezTo>
                      <a:cubicBezTo>
                        <a:pt x="1170" y="1233"/>
                        <a:pt x="1163" y="1225"/>
                        <a:pt x="1147" y="1210"/>
                      </a:cubicBezTo>
                      <a:cubicBezTo>
                        <a:pt x="1107" y="1194"/>
                        <a:pt x="1123" y="411"/>
                        <a:pt x="1123" y="308"/>
                      </a:cubicBezTo>
                      <a:cubicBezTo>
                        <a:pt x="0" y="245"/>
                        <a:pt x="0" y="245"/>
                        <a:pt x="0" y="245"/>
                      </a:cubicBezTo>
                      <a:cubicBezTo>
                        <a:pt x="8" y="0"/>
                        <a:pt x="8" y="0"/>
                        <a:pt x="8" y="0"/>
                      </a:cubicBezTo>
                      <a:lnTo>
                        <a:pt x="8" y="0"/>
                      </a:lnTo>
                      <a:cubicBezTo>
                        <a:pt x="839" y="47"/>
                        <a:pt x="1692" y="71"/>
                        <a:pt x="2569" y="71"/>
                      </a:cubicBezTo>
                      <a:cubicBezTo>
                        <a:pt x="2758" y="71"/>
                        <a:pt x="2948" y="71"/>
                        <a:pt x="3138" y="71"/>
                      </a:cubicBezTo>
                      <a:cubicBezTo>
                        <a:pt x="3146" y="71"/>
                        <a:pt x="3146" y="71"/>
                        <a:pt x="3146" y="71"/>
                      </a:cubicBezTo>
                      <a:lnTo>
                        <a:pt x="3146" y="71"/>
                      </a:lnTo>
                      <a:cubicBezTo>
                        <a:pt x="3146" y="71"/>
                        <a:pt x="3154" y="380"/>
                        <a:pt x="3249" y="751"/>
                      </a:cubicBezTo>
                      <a:lnTo>
                        <a:pt x="3249" y="751"/>
                      </a:lnTo>
                      <a:cubicBezTo>
                        <a:pt x="3249" y="1644"/>
                        <a:pt x="3249" y="1644"/>
                        <a:pt x="3249" y="1644"/>
                      </a:cubicBezTo>
                      <a:lnTo>
                        <a:pt x="3249" y="1644"/>
                      </a:lnTo>
                      <a:cubicBezTo>
                        <a:pt x="3241" y="1644"/>
                        <a:pt x="3241" y="1644"/>
                        <a:pt x="3233" y="1652"/>
                      </a:cubicBezTo>
                      <a:cubicBezTo>
                        <a:pt x="3225" y="1652"/>
                        <a:pt x="3225" y="1660"/>
                        <a:pt x="3201" y="1660"/>
                      </a:cubicBezTo>
                      <a:cubicBezTo>
                        <a:pt x="3169" y="1660"/>
                        <a:pt x="3146" y="1636"/>
                        <a:pt x="3138" y="1628"/>
                      </a:cubicBezTo>
                      <a:cubicBezTo>
                        <a:pt x="3130" y="1621"/>
                        <a:pt x="3130" y="1621"/>
                        <a:pt x="3122" y="1621"/>
                      </a:cubicBezTo>
                      <a:cubicBezTo>
                        <a:pt x="3106" y="1613"/>
                        <a:pt x="3083" y="1605"/>
                        <a:pt x="3059" y="1573"/>
                      </a:cubicBezTo>
                      <a:cubicBezTo>
                        <a:pt x="3019" y="1526"/>
                        <a:pt x="2996" y="1510"/>
                        <a:pt x="2972" y="1510"/>
                      </a:cubicBezTo>
                      <a:cubicBezTo>
                        <a:pt x="2956" y="1518"/>
                        <a:pt x="2948" y="1526"/>
                        <a:pt x="2940" y="1541"/>
                      </a:cubicBezTo>
                      <a:cubicBezTo>
                        <a:pt x="2932" y="1541"/>
                        <a:pt x="2932" y="1550"/>
                        <a:pt x="2932" y="1550"/>
                      </a:cubicBezTo>
                      <a:cubicBezTo>
                        <a:pt x="2932" y="1550"/>
                        <a:pt x="2932" y="1557"/>
                        <a:pt x="2925" y="1557"/>
                      </a:cubicBezTo>
                      <a:cubicBezTo>
                        <a:pt x="2916" y="1565"/>
                        <a:pt x="2909" y="1581"/>
                        <a:pt x="2893" y="1581"/>
                      </a:cubicBezTo>
                      <a:cubicBezTo>
                        <a:pt x="2885" y="1581"/>
                        <a:pt x="2877" y="1573"/>
                        <a:pt x="2869" y="1565"/>
                      </a:cubicBezTo>
                      <a:cubicBezTo>
                        <a:pt x="2853" y="1557"/>
                        <a:pt x="2845" y="1550"/>
                        <a:pt x="2838" y="1541"/>
                      </a:cubicBezTo>
                      <a:cubicBezTo>
                        <a:pt x="2838" y="1534"/>
                        <a:pt x="2830" y="1526"/>
                        <a:pt x="2822" y="1526"/>
                      </a:cubicBezTo>
                      <a:cubicBezTo>
                        <a:pt x="2806" y="1526"/>
                        <a:pt x="2766" y="1526"/>
                        <a:pt x="2758" y="1550"/>
                      </a:cubicBezTo>
                      <a:cubicBezTo>
                        <a:pt x="2751" y="1573"/>
                        <a:pt x="2743" y="1597"/>
                        <a:pt x="2727" y="1597"/>
                      </a:cubicBezTo>
                      <a:cubicBezTo>
                        <a:pt x="2719" y="1597"/>
                        <a:pt x="2711" y="1597"/>
                        <a:pt x="2703" y="1589"/>
                      </a:cubicBezTo>
                      <a:cubicBezTo>
                        <a:pt x="2695" y="1581"/>
                        <a:pt x="2687" y="1573"/>
                        <a:pt x="2687" y="1565"/>
                      </a:cubicBezTo>
                      <a:cubicBezTo>
                        <a:pt x="2687" y="1557"/>
                        <a:pt x="2679" y="1557"/>
                        <a:pt x="2679" y="1557"/>
                      </a:cubicBezTo>
                      <a:cubicBezTo>
                        <a:pt x="2672" y="1557"/>
                        <a:pt x="2672" y="1557"/>
                        <a:pt x="2664" y="1557"/>
                      </a:cubicBezTo>
                      <a:cubicBezTo>
                        <a:pt x="2624" y="1573"/>
                        <a:pt x="2600" y="1589"/>
                        <a:pt x="2576" y="1613"/>
                      </a:cubicBezTo>
                      <a:cubicBezTo>
                        <a:pt x="2576" y="1621"/>
                        <a:pt x="2576" y="1621"/>
                        <a:pt x="2576" y="1621"/>
                      </a:cubicBezTo>
                      <a:cubicBezTo>
                        <a:pt x="2561" y="1644"/>
                        <a:pt x="2545" y="1660"/>
                        <a:pt x="2529" y="1660"/>
                      </a:cubicBezTo>
                      <a:lnTo>
                        <a:pt x="2388" y="1534"/>
                      </a:lnTo>
                      <a:lnTo>
                        <a:pt x="2388" y="1534"/>
                      </a:lnTo>
                      <a:cubicBezTo>
                        <a:pt x="2395" y="1534"/>
                        <a:pt x="2411" y="1550"/>
                        <a:pt x="2426" y="1565"/>
                      </a:cubicBezTo>
                      <a:cubicBezTo>
                        <a:pt x="2434" y="1573"/>
                        <a:pt x="2434" y="1573"/>
                        <a:pt x="2442" y="1581"/>
                      </a:cubicBezTo>
                      <a:cubicBezTo>
                        <a:pt x="2466" y="1605"/>
                        <a:pt x="2482" y="1628"/>
                        <a:pt x="2513" y="1644"/>
                      </a:cubicBezTo>
                      <a:cubicBezTo>
                        <a:pt x="2521" y="1652"/>
                        <a:pt x="2521" y="1652"/>
                        <a:pt x="2529" y="1652"/>
                      </a:cubicBezTo>
                      <a:cubicBezTo>
                        <a:pt x="2545" y="1652"/>
                        <a:pt x="2553" y="1636"/>
                        <a:pt x="2569" y="1621"/>
                      </a:cubicBezTo>
                      <a:cubicBezTo>
                        <a:pt x="2569" y="1613"/>
                        <a:pt x="2569" y="1613"/>
                        <a:pt x="2576" y="1613"/>
                      </a:cubicBezTo>
                      <a:cubicBezTo>
                        <a:pt x="2592" y="1589"/>
                        <a:pt x="2624" y="1565"/>
                        <a:pt x="2664" y="1557"/>
                      </a:cubicBezTo>
                      <a:cubicBezTo>
                        <a:pt x="2664" y="1550"/>
                        <a:pt x="2672" y="1550"/>
                        <a:pt x="2679" y="1550"/>
                      </a:cubicBezTo>
                      <a:cubicBezTo>
                        <a:pt x="2687" y="1550"/>
                        <a:pt x="2687" y="1557"/>
                        <a:pt x="2695" y="1565"/>
                      </a:cubicBezTo>
                      <a:cubicBezTo>
                        <a:pt x="2695" y="1565"/>
                        <a:pt x="2703" y="1573"/>
                        <a:pt x="2711" y="1581"/>
                      </a:cubicBezTo>
                      <a:cubicBezTo>
                        <a:pt x="2711" y="1589"/>
                        <a:pt x="2719" y="1589"/>
                        <a:pt x="2727" y="1589"/>
                      </a:cubicBezTo>
                      <a:cubicBezTo>
                        <a:pt x="2735" y="1589"/>
                        <a:pt x="2751" y="1565"/>
                        <a:pt x="2751" y="1550"/>
                      </a:cubicBezTo>
                      <a:cubicBezTo>
                        <a:pt x="2758" y="1518"/>
                        <a:pt x="2798" y="1518"/>
                        <a:pt x="2822" y="1518"/>
                      </a:cubicBezTo>
                      <a:cubicBezTo>
                        <a:pt x="2838" y="1518"/>
                        <a:pt x="2838" y="1526"/>
                        <a:pt x="2845" y="1534"/>
                      </a:cubicBezTo>
                      <a:cubicBezTo>
                        <a:pt x="2853" y="1541"/>
                        <a:pt x="2853" y="1550"/>
                        <a:pt x="2869" y="1565"/>
                      </a:cubicBezTo>
                      <a:cubicBezTo>
                        <a:pt x="2877" y="1573"/>
                        <a:pt x="2885" y="1573"/>
                        <a:pt x="2893" y="1573"/>
                      </a:cubicBezTo>
                      <a:cubicBezTo>
                        <a:pt x="2909" y="1573"/>
                        <a:pt x="2916" y="1557"/>
                        <a:pt x="2925" y="1550"/>
                      </a:cubicBezTo>
                      <a:lnTo>
                        <a:pt x="2925" y="1550"/>
                      </a:lnTo>
                      <a:cubicBezTo>
                        <a:pt x="2925" y="1541"/>
                        <a:pt x="2932" y="1541"/>
                        <a:pt x="2932" y="1541"/>
                      </a:cubicBezTo>
                      <a:cubicBezTo>
                        <a:pt x="2940" y="1526"/>
                        <a:pt x="2956" y="1510"/>
                        <a:pt x="2972" y="1502"/>
                      </a:cubicBezTo>
                      <a:cubicBezTo>
                        <a:pt x="2996" y="1502"/>
                        <a:pt x="3019" y="1518"/>
                        <a:pt x="3059" y="1565"/>
                      </a:cubicBezTo>
                      <a:cubicBezTo>
                        <a:pt x="3091" y="1605"/>
                        <a:pt x="3106" y="1605"/>
                        <a:pt x="3122" y="1613"/>
                      </a:cubicBezTo>
                      <a:cubicBezTo>
                        <a:pt x="3130" y="1613"/>
                        <a:pt x="3138" y="1613"/>
                        <a:pt x="3138" y="1621"/>
                      </a:cubicBezTo>
                      <a:cubicBezTo>
                        <a:pt x="3154" y="1628"/>
                        <a:pt x="3169" y="1652"/>
                        <a:pt x="3201" y="1652"/>
                      </a:cubicBezTo>
                      <a:cubicBezTo>
                        <a:pt x="3217" y="1652"/>
                        <a:pt x="3225" y="1644"/>
                        <a:pt x="3233" y="1644"/>
                      </a:cubicBezTo>
                      <a:lnTo>
                        <a:pt x="3241" y="1636"/>
                      </a:lnTo>
                      <a:cubicBezTo>
                        <a:pt x="3241" y="751"/>
                        <a:pt x="3241" y="751"/>
                        <a:pt x="3241" y="751"/>
                      </a:cubicBezTo>
                      <a:cubicBezTo>
                        <a:pt x="3154" y="403"/>
                        <a:pt x="3138" y="111"/>
                        <a:pt x="3138" y="71"/>
                      </a:cubicBezTo>
                      <a:cubicBezTo>
                        <a:pt x="2948" y="79"/>
                        <a:pt x="2751" y="79"/>
                        <a:pt x="2569" y="79"/>
                      </a:cubicBezTo>
                      <a:cubicBezTo>
                        <a:pt x="1700" y="79"/>
                        <a:pt x="839" y="55"/>
                        <a:pt x="16" y="8"/>
                      </a:cubicBezTo>
                      <a:cubicBezTo>
                        <a:pt x="8" y="245"/>
                        <a:pt x="8" y="245"/>
                        <a:pt x="8" y="245"/>
                      </a:cubicBezTo>
                      <a:cubicBezTo>
                        <a:pt x="1131" y="300"/>
                        <a:pt x="1131" y="300"/>
                        <a:pt x="1131" y="300"/>
                      </a:cubicBezTo>
                      <a:lnTo>
                        <a:pt x="1131" y="300"/>
                      </a:lnTo>
                      <a:cubicBezTo>
                        <a:pt x="1123" y="656"/>
                        <a:pt x="1123" y="1186"/>
                        <a:pt x="1147" y="1202"/>
                      </a:cubicBezTo>
                      <a:cubicBezTo>
                        <a:pt x="1163" y="1217"/>
                        <a:pt x="1178" y="1233"/>
                        <a:pt x="1186" y="1249"/>
                      </a:cubicBezTo>
                      <a:cubicBezTo>
                        <a:pt x="1194" y="1265"/>
                        <a:pt x="1210" y="1281"/>
                        <a:pt x="1226" y="1297"/>
                      </a:cubicBezTo>
                      <a:cubicBezTo>
                        <a:pt x="1234" y="1304"/>
                        <a:pt x="1242" y="1304"/>
                        <a:pt x="1250" y="1304"/>
                      </a:cubicBezTo>
                      <a:cubicBezTo>
                        <a:pt x="1257" y="1304"/>
                        <a:pt x="1257" y="1304"/>
                        <a:pt x="1265" y="1304"/>
                      </a:cubicBezTo>
                      <a:cubicBezTo>
                        <a:pt x="1273" y="1304"/>
                        <a:pt x="1273" y="1297"/>
                        <a:pt x="1281" y="1297"/>
                      </a:cubicBezTo>
                      <a:cubicBezTo>
                        <a:pt x="1289" y="1297"/>
                        <a:pt x="1297" y="1297"/>
                        <a:pt x="1305" y="1304"/>
                      </a:cubicBezTo>
                      <a:cubicBezTo>
                        <a:pt x="1313" y="1304"/>
                        <a:pt x="1313" y="1304"/>
                        <a:pt x="1321" y="1304"/>
                      </a:cubicBezTo>
                      <a:cubicBezTo>
                        <a:pt x="1329" y="1304"/>
                        <a:pt x="1329" y="1297"/>
                        <a:pt x="1336" y="1288"/>
                      </a:cubicBezTo>
                      <a:cubicBezTo>
                        <a:pt x="1336" y="1281"/>
                        <a:pt x="1336" y="1273"/>
                        <a:pt x="1352" y="1265"/>
                      </a:cubicBezTo>
                      <a:cubicBezTo>
                        <a:pt x="1352" y="1265"/>
                        <a:pt x="1352" y="1265"/>
                        <a:pt x="1360" y="1265"/>
                      </a:cubicBezTo>
                      <a:cubicBezTo>
                        <a:pt x="1376" y="1265"/>
                        <a:pt x="1384" y="1288"/>
                        <a:pt x="1400" y="1312"/>
                      </a:cubicBezTo>
                      <a:cubicBezTo>
                        <a:pt x="1400" y="1320"/>
                        <a:pt x="1400" y="1320"/>
                        <a:pt x="1400" y="1320"/>
                      </a:cubicBezTo>
                      <a:cubicBezTo>
                        <a:pt x="1408" y="1328"/>
                        <a:pt x="1408" y="1336"/>
                        <a:pt x="1408" y="1344"/>
                      </a:cubicBezTo>
                      <a:cubicBezTo>
                        <a:pt x="1408" y="1368"/>
                        <a:pt x="1416" y="1383"/>
                        <a:pt x="1431" y="1383"/>
                      </a:cubicBezTo>
                      <a:cubicBezTo>
                        <a:pt x="1439" y="1391"/>
                        <a:pt x="1455" y="1391"/>
                        <a:pt x="1455" y="1399"/>
                      </a:cubicBezTo>
                      <a:cubicBezTo>
                        <a:pt x="1471" y="1399"/>
                        <a:pt x="1479" y="1407"/>
                        <a:pt x="1503" y="1407"/>
                      </a:cubicBezTo>
                      <a:cubicBezTo>
                        <a:pt x="1503" y="1407"/>
                        <a:pt x="1510" y="1407"/>
                        <a:pt x="1518" y="1407"/>
                      </a:cubicBezTo>
                      <a:cubicBezTo>
                        <a:pt x="1558" y="1399"/>
                        <a:pt x="1574" y="1431"/>
                        <a:pt x="1574" y="1431"/>
                      </a:cubicBezTo>
                      <a:cubicBezTo>
                        <a:pt x="1582" y="1439"/>
                        <a:pt x="1589" y="1439"/>
                        <a:pt x="1597" y="1439"/>
                      </a:cubicBezTo>
                      <a:cubicBezTo>
                        <a:pt x="1605" y="1439"/>
                        <a:pt x="1613" y="1439"/>
                        <a:pt x="1621" y="1439"/>
                      </a:cubicBezTo>
                      <a:cubicBezTo>
                        <a:pt x="1629" y="1431"/>
                        <a:pt x="1637" y="1431"/>
                        <a:pt x="1653" y="1431"/>
                      </a:cubicBezTo>
                      <a:lnTo>
                        <a:pt x="1661" y="1431"/>
                      </a:lnTo>
                      <a:cubicBezTo>
                        <a:pt x="1692" y="1431"/>
                        <a:pt x="1692" y="1447"/>
                        <a:pt x="1700" y="1463"/>
                      </a:cubicBezTo>
                      <a:cubicBezTo>
                        <a:pt x="1700" y="1470"/>
                        <a:pt x="1700" y="1470"/>
                        <a:pt x="1700" y="1470"/>
                      </a:cubicBezTo>
                      <a:cubicBezTo>
                        <a:pt x="1700" y="1478"/>
                        <a:pt x="1700" y="1478"/>
                        <a:pt x="1708" y="1478"/>
                      </a:cubicBezTo>
                      <a:cubicBezTo>
                        <a:pt x="1716" y="1478"/>
                        <a:pt x="1732" y="1470"/>
                        <a:pt x="1740" y="1455"/>
                      </a:cubicBezTo>
                      <a:cubicBezTo>
                        <a:pt x="1740" y="1439"/>
                        <a:pt x="1747" y="1431"/>
                        <a:pt x="1755" y="1431"/>
                      </a:cubicBezTo>
                      <a:cubicBezTo>
                        <a:pt x="1755" y="1431"/>
                        <a:pt x="1763" y="1431"/>
                        <a:pt x="1763" y="1439"/>
                      </a:cubicBezTo>
                      <a:lnTo>
                        <a:pt x="1771" y="1439"/>
                      </a:lnTo>
                      <a:lnTo>
                        <a:pt x="1771" y="1439"/>
                      </a:lnTo>
                      <a:cubicBezTo>
                        <a:pt x="1771" y="1423"/>
                        <a:pt x="1787" y="1423"/>
                        <a:pt x="1787" y="1423"/>
                      </a:cubicBezTo>
                      <a:cubicBezTo>
                        <a:pt x="1795" y="1423"/>
                        <a:pt x="1803" y="1423"/>
                        <a:pt x="1811" y="1423"/>
                      </a:cubicBezTo>
                      <a:cubicBezTo>
                        <a:pt x="1811" y="1423"/>
                        <a:pt x="1827" y="1423"/>
                        <a:pt x="1834" y="1423"/>
                      </a:cubicBezTo>
                      <a:cubicBezTo>
                        <a:pt x="1842" y="1423"/>
                        <a:pt x="1850" y="1431"/>
                        <a:pt x="1850" y="1431"/>
                      </a:cubicBezTo>
                      <a:cubicBezTo>
                        <a:pt x="1858" y="1439"/>
                        <a:pt x="1858" y="1447"/>
                        <a:pt x="1858" y="1463"/>
                      </a:cubicBezTo>
                      <a:lnTo>
                        <a:pt x="1858" y="1470"/>
                      </a:lnTo>
                      <a:cubicBezTo>
                        <a:pt x="1858" y="1486"/>
                        <a:pt x="1858" y="1486"/>
                        <a:pt x="1866" y="1486"/>
                      </a:cubicBezTo>
                      <a:cubicBezTo>
                        <a:pt x="1874" y="1494"/>
                        <a:pt x="1874" y="1494"/>
                        <a:pt x="1882" y="1494"/>
                      </a:cubicBezTo>
                      <a:cubicBezTo>
                        <a:pt x="1898" y="1502"/>
                        <a:pt x="1898" y="1518"/>
                        <a:pt x="1898" y="1534"/>
                      </a:cubicBezTo>
                      <a:cubicBezTo>
                        <a:pt x="1898" y="1541"/>
                        <a:pt x="1890" y="1557"/>
                        <a:pt x="1898" y="1565"/>
                      </a:cubicBezTo>
                      <a:cubicBezTo>
                        <a:pt x="1898" y="1573"/>
                        <a:pt x="1906" y="1573"/>
                        <a:pt x="1906" y="1573"/>
                      </a:cubicBezTo>
                      <a:cubicBezTo>
                        <a:pt x="1914" y="1573"/>
                        <a:pt x="1937" y="1557"/>
                        <a:pt x="1945" y="1541"/>
                      </a:cubicBezTo>
                      <a:cubicBezTo>
                        <a:pt x="1961" y="1518"/>
                        <a:pt x="1985" y="1510"/>
                        <a:pt x="2016" y="1518"/>
                      </a:cubicBezTo>
                      <a:cubicBezTo>
                        <a:pt x="2048" y="1526"/>
                        <a:pt x="2056" y="1541"/>
                        <a:pt x="2064" y="1557"/>
                      </a:cubicBezTo>
                      <a:cubicBezTo>
                        <a:pt x="2072" y="1565"/>
                        <a:pt x="2072" y="1565"/>
                        <a:pt x="2072" y="1565"/>
                      </a:cubicBezTo>
                      <a:cubicBezTo>
                        <a:pt x="2072" y="1573"/>
                        <a:pt x="2080" y="1573"/>
                        <a:pt x="2087" y="1573"/>
                      </a:cubicBezTo>
                      <a:cubicBezTo>
                        <a:pt x="2095" y="1573"/>
                        <a:pt x="2103" y="1573"/>
                        <a:pt x="2103" y="1557"/>
                      </a:cubicBezTo>
                      <a:cubicBezTo>
                        <a:pt x="2103" y="1550"/>
                        <a:pt x="2127" y="1541"/>
                        <a:pt x="2166" y="1541"/>
                      </a:cubicBezTo>
                      <a:cubicBezTo>
                        <a:pt x="2174" y="1541"/>
                        <a:pt x="2182" y="1541"/>
                        <a:pt x="2190" y="1541"/>
                      </a:cubicBezTo>
                      <a:cubicBezTo>
                        <a:pt x="2198" y="1541"/>
                        <a:pt x="2198" y="1541"/>
                        <a:pt x="2198" y="1541"/>
                      </a:cubicBezTo>
                      <a:cubicBezTo>
                        <a:pt x="2206" y="1541"/>
                        <a:pt x="2206" y="1541"/>
                        <a:pt x="2206" y="1550"/>
                      </a:cubicBezTo>
                      <a:cubicBezTo>
                        <a:pt x="2214" y="1550"/>
                        <a:pt x="2206" y="1557"/>
                        <a:pt x="2206" y="1573"/>
                      </a:cubicBezTo>
                      <a:cubicBezTo>
                        <a:pt x="2206" y="1581"/>
                        <a:pt x="2206" y="1589"/>
                        <a:pt x="2198" y="1597"/>
                      </a:cubicBezTo>
                      <a:cubicBezTo>
                        <a:pt x="2198" y="1621"/>
                        <a:pt x="2206" y="1628"/>
                        <a:pt x="2222" y="1628"/>
                      </a:cubicBezTo>
                      <a:cubicBezTo>
                        <a:pt x="2222" y="1628"/>
                        <a:pt x="2230" y="1628"/>
                        <a:pt x="2230" y="1636"/>
                      </a:cubicBezTo>
                      <a:lnTo>
                        <a:pt x="2230" y="1636"/>
                      </a:lnTo>
                      <a:cubicBezTo>
                        <a:pt x="2238" y="1636"/>
                        <a:pt x="2246" y="1605"/>
                        <a:pt x="2246" y="1581"/>
                      </a:cubicBezTo>
                      <a:cubicBezTo>
                        <a:pt x="2246" y="1557"/>
                        <a:pt x="2253" y="1557"/>
                        <a:pt x="2253" y="1541"/>
                      </a:cubicBezTo>
                      <a:cubicBezTo>
                        <a:pt x="2262" y="1534"/>
                        <a:pt x="2262" y="1534"/>
                        <a:pt x="2269" y="1518"/>
                      </a:cubicBezTo>
                      <a:cubicBezTo>
                        <a:pt x="2269" y="1510"/>
                        <a:pt x="2277" y="1502"/>
                        <a:pt x="2285" y="1502"/>
                      </a:cubicBezTo>
                      <a:lnTo>
                        <a:pt x="2293" y="1510"/>
                      </a:lnTo>
                      <a:cubicBezTo>
                        <a:pt x="2301" y="1518"/>
                        <a:pt x="2301" y="1526"/>
                        <a:pt x="2301" y="1526"/>
                      </a:cubicBezTo>
                      <a:cubicBezTo>
                        <a:pt x="2317" y="1541"/>
                        <a:pt x="2333" y="1550"/>
                        <a:pt x="2348" y="1573"/>
                      </a:cubicBezTo>
                      <a:cubicBezTo>
                        <a:pt x="2348" y="1581"/>
                        <a:pt x="2356" y="1581"/>
                        <a:pt x="2356" y="1581"/>
                      </a:cubicBezTo>
                      <a:cubicBezTo>
                        <a:pt x="2364" y="1581"/>
                        <a:pt x="2372" y="1565"/>
                        <a:pt x="2372" y="1550"/>
                      </a:cubicBezTo>
                      <a:lnTo>
                        <a:pt x="2372" y="1550"/>
                      </a:lnTo>
                      <a:cubicBezTo>
                        <a:pt x="2380" y="1541"/>
                        <a:pt x="2380" y="1534"/>
                        <a:pt x="2388" y="1534"/>
                      </a:cubicBezTo>
                      <a:lnTo>
                        <a:pt x="2529" y="1660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1" name="Freeform 280">
                  <a:extLst>
                    <a:ext uri="{FF2B5EF4-FFF2-40B4-BE49-F238E27FC236}">
                      <a16:creationId xmlns:a16="http://schemas.microsoft.com/office/drawing/2014/main" id="{A85DBE2A-DBF0-2244-BBAC-6E27FFD283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36958" y="6520887"/>
                  <a:ext cx="1363752" cy="1435651"/>
                </a:xfrm>
                <a:custGeom>
                  <a:avLst/>
                  <a:gdLst>
                    <a:gd name="T0" fmla="*/ 2230 w 2594"/>
                    <a:gd name="T1" fmla="*/ 182 h 2729"/>
                    <a:gd name="T2" fmla="*/ 2230 w 2594"/>
                    <a:gd name="T3" fmla="*/ 182 h 2729"/>
                    <a:gd name="T4" fmla="*/ 340 w 2594"/>
                    <a:gd name="T5" fmla="*/ 0 h 2729"/>
                    <a:gd name="T6" fmla="*/ 0 w 2594"/>
                    <a:gd name="T7" fmla="*/ 2664 h 2729"/>
                    <a:gd name="T8" fmla="*/ 293 w 2594"/>
                    <a:gd name="T9" fmla="*/ 2704 h 2729"/>
                    <a:gd name="T10" fmla="*/ 356 w 2594"/>
                    <a:gd name="T11" fmla="*/ 2672 h 2729"/>
                    <a:gd name="T12" fmla="*/ 372 w 2594"/>
                    <a:gd name="T13" fmla="*/ 2546 h 2729"/>
                    <a:gd name="T14" fmla="*/ 443 w 2594"/>
                    <a:gd name="T15" fmla="*/ 2506 h 2729"/>
                    <a:gd name="T16" fmla="*/ 1028 w 2594"/>
                    <a:gd name="T17" fmla="*/ 2578 h 2729"/>
                    <a:gd name="T18" fmla="*/ 996 w 2594"/>
                    <a:gd name="T19" fmla="*/ 2475 h 2729"/>
                    <a:gd name="T20" fmla="*/ 2396 w 2594"/>
                    <a:gd name="T21" fmla="*/ 2593 h 2729"/>
                    <a:gd name="T22" fmla="*/ 2427 w 2594"/>
                    <a:gd name="T23" fmla="*/ 2546 h 2729"/>
                    <a:gd name="T24" fmla="*/ 2570 w 2594"/>
                    <a:gd name="T25" fmla="*/ 451 h 2729"/>
                    <a:gd name="T26" fmla="*/ 2593 w 2594"/>
                    <a:gd name="T27" fmla="*/ 451 h 2729"/>
                    <a:gd name="T28" fmla="*/ 2593 w 2594"/>
                    <a:gd name="T29" fmla="*/ 206 h 2729"/>
                    <a:gd name="T30" fmla="*/ 2238 w 2594"/>
                    <a:gd name="T31" fmla="*/ 182 h 2729"/>
                    <a:gd name="T32" fmla="*/ 2230 w 2594"/>
                    <a:gd name="T33" fmla="*/ 182 h 27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94" h="2729">
                      <a:moveTo>
                        <a:pt x="2230" y="182"/>
                      </a:moveTo>
                      <a:lnTo>
                        <a:pt x="2230" y="182"/>
                      </a:lnTo>
                      <a:cubicBezTo>
                        <a:pt x="1495" y="135"/>
                        <a:pt x="862" y="72"/>
                        <a:pt x="340" y="0"/>
                      </a:cubicBezTo>
                      <a:cubicBezTo>
                        <a:pt x="0" y="2664"/>
                        <a:pt x="0" y="2664"/>
                        <a:pt x="0" y="2664"/>
                      </a:cubicBezTo>
                      <a:cubicBezTo>
                        <a:pt x="143" y="2672"/>
                        <a:pt x="277" y="2688"/>
                        <a:pt x="293" y="2704"/>
                      </a:cubicBezTo>
                      <a:cubicBezTo>
                        <a:pt x="348" y="2728"/>
                        <a:pt x="356" y="2672"/>
                        <a:pt x="356" y="2672"/>
                      </a:cubicBezTo>
                      <a:cubicBezTo>
                        <a:pt x="356" y="2672"/>
                        <a:pt x="364" y="2601"/>
                        <a:pt x="372" y="2546"/>
                      </a:cubicBezTo>
                      <a:cubicBezTo>
                        <a:pt x="388" y="2483"/>
                        <a:pt x="443" y="2506"/>
                        <a:pt x="443" y="2506"/>
                      </a:cubicBezTo>
                      <a:cubicBezTo>
                        <a:pt x="443" y="2506"/>
                        <a:pt x="894" y="2562"/>
                        <a:pt x="1028" y="2578"/>
                      </a:cubicBezTo>
                      <a:cubicBezTo>
                        <a:pt x="957" y="2435"/>
                        <a:pt x="996" y="2475"/>
                        <a:pt x="996" y="2475"/>
                      </a:cubicBezTo>
                      <a:cubicBezTo>
                        <a:pt x="996" y="2475"/>
                        <a:pt x="2372" y="2593"/>
                        <a:pt x="2396" y="2593"/>
                      </a:cubicBezTo>
                      <a:cubicBezTo>
                        <a:pt x="2427" y="2593"/>
                        <a:pt x="2427" y="2546"/>
                        <a:pt x="2427" y="2546"/>
                      </a:cubicBezTo>
                      <a:cubicBezTo>
                        <a:pt x="2570" y="451"/>
                        <a:pt x="2570" y="451"/>
                        <a:pt x="2570" y="451"/>
                      </a:cubicBezTo>
                      <a:cubicBezTo>
                        <a:pt x="2593" y="451"/>
                        <a:pt x="2593" y="451"/>
                        <a:pt x="2593" y="451"/>
                      </a:cubicBezTo>
                      <a:cubicBezTo>
                        <a:pt x="2593" y="206"/>
                        <a:pt x="2593" y="206"/>
                        <a:pt x="2593" y="206"/>
                      </a:cubicBezTo>
                      <a:cubicBezTo>
                        <a:pt x="2475" y="198"/>
                        <a:pt x="2356" y="190"/>
                        <a:pt x="2238" y="182"/>
                      </a:cubicBezTo>
                      <a:lnTo>
                        <a:pt x="2230" y="182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2" name="Freeform 281">
                  <a:extLst>
                    <a:ext uri="{FF2B5EF4-FFF2-40B4-BE49-F238E27FC236}">
                      <a16:creationId xmlns:a16="http://schemas.microsoft.com/office/drawing/2014/main" id="{A6080023-2D8A-FF4F-99C2-45124CDD7D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4999" y="4725744"/>
                  <a:ext cx="1618875" cy="2681118"/>
                </a:xfrm>
                <a:custGeom>
                  <a:avLst/>
                  <a:gdLst>
                    <a:gd name="T0" fmla="*/ 1692 w 3076"/>
                    <a:gd name="T1" fmla="*/ 364 h 5099"/>
                    <a:gd name="T2" fmla="*/ 277 w 3076"/>
                    <a:gd name="T3" fmla="*/ 40 h 5099"/>
                    <a:gd name="T4" fmla="*/ 293 w 3076"/>
                    <a:gd name="T5" fmla="*/ 182 h 5099"/>
                    <a:gd name="T6" fmla="*/ 253 w 3076"/>
                    <a:gd name="T7" fmla="*/ 301 h 5099"/>
                    <a:gd name="T8" fmla="*/ 198 w 3076"/>
                    <a:gd name="T9" fmla="*/ 435 h 5099"/>
                    <a:gd name="T10" fmla="*/ 142 w 3076"/>
                    <a:gd name="T11" fmla="*/ 546 h 5099"/>
                    <a:gd name="T12" fmla="*/ 24 w 3076"/>
                    <a:gd name="T13" fmla="*/ 696 h 5099"/>
                    <a:gd name="T14" fmla="*/ 79 w 3076"/>
                    <a:gd name="T15" fmla="*/ 878 h 5099"/>
                    <a:gd name="T16" fmla="*/ 127 w 3076"/>
                    <a:gd name="T17" fmla="*/ 1083 h 5099"/>
                    <a:gd name="T18" fmla="*/ 87 w 3076"/>
                    <a:gd name="T19" fmla="*/ 1234 h 5099"/>
                    <a:gd name="T20" fmla="*/ 63 w 3076"/>
                    <a:gd name="T21" fmla="*/ 1408 h 5099"/>
                    <a:gd name="T22" fmla="*/ 119 w 3076"/>
                    <a:gd name="T23" fmla="*/ 1581 h 5099"/>
                    <a:gd name="T24" fmla="*/ 198 w 3076"/>
                    <a:gd name="T25" fmla="*/ 1708 h 5099"/>
                    <a:gd name="T26" fmla="*/ 245 w 3076"/>
                    <a:gd name="T27" fmla="*/ 1819 h 5099"/>
                    <a:gd name="T28" fmla="*/ 213 w 3076"/>
                    <a:gd name="T29" fmla="*/ 1945 h 5099"/>
                    <a:gd name="T30" fmla="*/ 340 w 3076"/>
                    <a:gd name="T31" fmla="*/ 2064 h 5099"/>
                    <a:gd name="T32" fmla="*/ 380 w 3076"/>
                    <a:gd name="T33" fmla="*/ 1985 h 5099"/>
                    <a:gd name="T34" fmla="*/ 459 w 3076"/>
                    <a:gd name="T35" fmla="*/ 1961 h 5099"/>
                    <a:gd name="T36" fmla="*/ 403 w 3076"/>
                    <a:gd name="T37" fmla="*/ 2048 h 5099"/>
                    <a:gd name="T38" fmla="*/ 459 w 3076"/>
                    <a:gd name="T39" fmla="*/ 2198 h 5099"/>
                    <a:gd name="T40" fmla="*/ 411 w 3076"/>
                    <a:gd name="T41" fmla="*/ 2230 h 5099"/>
                    <a:gd name="T42" fmla="*/ 332 w 3076"/>
                    <a:gd name="T43" fmla="*/ 2167 h 5099"/>
                    <a:gd name="T44" fmla="*/ 308 w 3076"/>
                    <a:gd name="T45" fmla="*/ 2325 h 5099"/>
                    <a:gd name="T46" fmla="*/ 380 w 3076"/>
                    <a:gd name="T47" fmla="*/ 2498 h 5099"/>
                    <a:gd name="T48" fmla="*/ 482 w 3076"/>
                    <a:gd name="T49" fmla="*/ 2578 h 5099"/>
                    <a:gd name="T50" fmla="*/ 403 w 3076"/>
                    <a:gd name="T51" fmla="*/ 2712 h 5099"/>
                    <a:gd name="T52" fmla="*/ 451 w 3076"/>
                    <a:gd name="T53" fmla="*/ 2933 h 5099"/>
                    <a:gd name="T54" fmla="*/ 514 w 3076"/>
                    <a:gd name="T55" fmla="*/ 3067 h 5099"/>
                    <a:gd name="T56" fmla="*/ 553 w 3076"/>
                    <a:gd name="T57" fmla="*/ 3169 h 5099"/>
                    <a:gd name="T58" fmla="*/ 617 w 3076"/>
                    <a:gd name="T59" fmla="*/ 3296 h 5099"/>
                    <a:gd name="T60" fmla="*/ 640 w 3076"/>
                    <a:gd name="T61" fmla="*/ 3438 h 5099"/>
                    <a:gd name="T62" fmla="*/ 672 w 3076"/>
                    <a:gd name="T63" fmla="*/ 3580 h 5099"/>
                    <a:gd name="T64" fmla="*/ 640 w 3076"/>
                    <a:gd name="T65" fmla="*/ 3731 h 5099"/>
                    <a:gd name="T66" fmla="*/ 743 w 3076"/>
                    <a:gd name="T67" fmla="*/ 3818 h 5099"/>
                    <a:gd name="T68" fmla="*/ 972 w 3076"/>
                    <a:gd name="T69" fmla="*/ 3913 h 5099"/>
                    <a:gd name="T70" fmla="*/ 1139 w 3076"/>
                    <a:gd name="T71" fmla="*/ 4063 h 5099"/>
                    <a:gd name="T72" fmla="*/ 1352 w 3076"/>
                    <a:gd name="T73" fmla="*/ 4173 h 5099"/>
                    <a:gd name="T74" fmla="*/ 1439 w 3076"/>
                    <a:gd name="T75" fmla="*/ 4355 h 5099"/>
                    <a:gd name="T76" fmla="*/ 1676 w 3076"/>
                    <a:gd name="T77" fmla="*/ 4561 h 5099"/>
                    <a:gd name="T78" fmla="*/ 1731 w 3076"/>
                    <a:gd name="T79" fmla="*/ 4980 h 5099"/>
                    <a:gd name="T80" fmla="*/ 2696 w 3076"/>
                    <a:gd name="T81" fmla="*/ 5098 h 5099"/>
                    <a:gd name="T82" fmla="*/ 2799 w 3076"/>
                    <a:gd name="T83" fmla="*/ 5067 h 5099"/>
                    <a:gd name="T84" fmla="*/ 2799 w 3076"/>
                    <a:gd name="T85" fmla="*/ 4956 h 5099"/>
                    <a:gd name="T86" fmla="*/ 2767 w 3076"/>
                    <a:gd name="T87" fmla="*/ 4885 h 5099"/>
                    <a:gd name="T88" fmla="*/ 2822 w 3076"/>
                    <a:gd name="T89" fmla="*/ 4766 h 5099"/>
                    <a:gd name="T90" fmla="*/ 2909 w 3076"/>
                    <a:gd name="T91" fmla="*/ 4529 h 5099"/>
                    <a:gd name="T92" fmla="*/ 3067 w 3076"/>
                    <a:gd name="T93" fmla="*/ 4411 h 5099"/>
                    <a:gd name="T94" fmla="*/ 2996 w 3076"/>
                    <a:gd name="T95" fmla="*/ 4237 h 5099"/>
                    <a:gd name="T96" fmla="*/ 2933 w 3076"/>
                    <a:gd name="T97" fmla="*/ 4086 h 5099"/>
                    <a:gd name="T98" fmla="*/ 1344 w 3076"/>
                    <a:gd name="T99" fmla="*/ 1763 h 5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076" h="5099">
                      <a:moveTo>
                        <a:pt x="1692" y="364"/>
                      </a:moveTo>
                      <a:lnTo>
                        <a:pt x="1692" y="364"/>
                      </a:lnTo>
                      <a:cubicBezTo>
                        <a:pt x="1036" y="206"/>
                        <a:pt x="530" y="64"/>
                        <a:pt x="308" y="0"/>
                      </a:cubicBezTo>
                      <a:cubicBezTo>
                        <a:pt x="316" y="32"/>
                        <a:pt x="277" y="40"/>
                        <a:pt x="277" y="40"/>
                      </a:cubicBezTo>
                      <a:cubicBezTo>
                        <a:pt x="277" y="40"/>
                        <a:pt x="229" y="64"/>
                        <a:pt x="253" y="103"/>
                      </a:cubicBezTo>
                      <a:cubicBezTo>
                        <a:pt x="277" y="151"/>
                        <a:pt x="308" y="151"/>
                        <a:pt x="293" y="182"/>
                      </a:cubicBezTo>
                      <a:cubicBezTo>
                        <a:pt x="285" y="214"/>
                        <a:pt x="269" y="214"/>
                        <a:pt x="261" y="246"/>
                      </a:cubicBezTo>
                      <a:cubicBezTo>
                        <a:pt x="261" y="285"/>
                        <a:pt x="277" y="285"/>
                        <a:pt x="253" y="301"/>
                      </a:cubicBezTo>
                      <a:cubicBezTo>
                        <a:pt x="237" y="317"/>
                        <a:pt x="213" y="333"/>
                        <a:pt x="206" y="364"/>
                      </a:cubicBezTo>
                      <a:cubicBezTo>
                        <a:pt x="198" y="396"/>
                        <a:pt x="213" y="404"/>
                        <a:pt x="198" y="435"/>
                      </a:cubicBezTo>
                      <a:cubicBezTo>
                        <a:pt x="182" y="475"/>
                        <a:pt x="182" y="459"/>
                        <a:pt x="166" y="491"/>
                      </a:cubicBezTo>
                      <a:cubicBezTo>
                        <a:pt x="158" y="522"/>
                        <a:pt x="158" y="530"/>
                        <a:pt x="142" y="546"/>
                      </a:cubicBezTo>
                      <a:cubicBezTo>
                        <a:pt x="127" y="562"/>
                        <a:pt x="79" y="601"/>
                        <a:pt x="71" y="625"/>
                      </a:cubicBezTo>
                      <a:cubicBezTo>
                        <a:pt x="55" y="649"/>
                        <a:pt x="24" y="641"/>
                        <a:pt x="24" y="696"/>
                      </a:cubicBezTo>
                      <a:cubicBezTo>
                        <a:pt x="24" y="751"/>
                        <a:pt x="0" y="751"/>
                        <a:pt x="32" y="799"/>
                      </a:cubicBezTo>
                      <a:cubicBezTo>
                        <a:pt x="63" y="846"/>
                        <a:pt x="71" y="823"/>
                        <a:pt x="79" y="878"/>
                      </a:cubicBezTo>
                      <a:cubicBezTo>
                        <a:pt x="95" y="925"/>
                        <a:pt x="111" y="917"/>
                        <a:pt x="119" y="981"/>
                      </a:cubicBezTo>
                      <a:cubicBezTo>
                        <a:pt x="134" y="1036"/>
                        <a:pt x="127" y="1036"/>
                        <a:pt x="127" y="1083"/>
                      </a:cubicBezTo>
                      <a:cubicBezTo>
                        <a:pt x="127" y="1131"/>
                        <a:pt x="150" y="1147"/>
                        <a:pt x="119" y="1178"/>
                      </a:cubicBezTo>
                      <a:cubicBezTo>
                        <a:pt x="87" y="1202"/>
                        <a:pt x="71" y="1194"/>
                        <a:pt x="87" y="1234"/>
                      </a:cubicBezTo>
                      <a:cubicBezTo>
                        <a:pt x="103" y="1273"/>
                        <a:pt x="103" y="1273"/>
                        <a:pt x="87" y="1313"/>
                      </a:cubicBezTo>
                      <a:cubicBezTo>
                        <a:pt x="71" y="1360"/>
                        <a:pt x="55" y="1384"/>
                        <a:pt x="63" y="1408"/>
                      </a:cubicBezTo>
                      <a:cubicBezTo>
                        <a:pt x="71" y="1431"/>
                        <a:pt x="16" y="1392"/>
                        <a:pt x="71" y="1471"/>
                      </a:cubicBezTo>
                      <a:cubicBezTo>
                        <a:pt x="127" y="1542"/>
                        <a:pt x="95" y="1550"/>
                        <a:pt x="119" y="1581"/>
                      </a:cubicBezTo>
                      <a:cubicBezTo>
                        <a:pt x="142" y="1613"/>
                        <a:pt x="158" y="1613"/>
                        <a:pt x="166" y="1653"/>
                      </a:cubicBezTo>
                      <a:cubicBezTo>
                        <a:pt x="174" y="1692"/>
                        <a:pt x="182" y="1684"/>
                        <a:pt x="198" y="1708"/>
                      </a:cubicBezTo>
                      <a:cubicBezTo>
                        <a:pt x="222" y="1724"/>
                        <a:pt x="213" y="1724"/>
                        <a:pt x="222" y="1763"/>
                      </a:cubicBezTo>
                      <a:cubicBezTo>
                        <a:pt x="229" y="1803"/>
                        <a:pt x="237" y="1779"/>
                        <a:pt x="245" y="1819"/>
                      </a:cubicBezTo>
                      <a:cubicBezTo>
                        <a:pt x="253" y="1850"/>
                        <a:pt x="245" y="1890"/>
                        <a:pt x="229" y="1898"/>
                      </a:cubicBezTo>
                      <a:cubicBezTo>
                        <a:pt x="213" y="1914"/>
                        <a:pt x="174" y="1937"/>
                        <a:pt x="213" y="1945"/>
                      </a:cubicBezTo>
                      <a:cubicBezTo>
                        <a:pt x="245" y="1945"/>
                        <a:pt x="261" y="1921"/>
                        <a:pt x="285" y="1977"/>
                      </a:cubicBezTo>
                      <a:cubicBezTo>
                        <a:pt x="308" y="2032"/>
                        <a:pt x="324" y="2056"/>
                        <a:pt x="340" y="2064"/>
                      </a:cubicBezTo>
                      <a:cubicBezTo>
                        <a:pt x="348" y="2072"/>
                        <a:pt x="380" y="2072"/>
                        <a:pt x="380" y="2040"/>
                      </a:cubicBezTo>
                      <a:cubicBezTo>
                        <a:pt x="380" y="2008"/>
                        <a:pt x="364" y="2016"/>
                        <a:pt x="380" y="1985"/>
                      </a:cubicBezTo>
                      <a:cubicBezTo>
                        <a:pt x="403" y="1953"/>
                        <a:pt x="387" y="1921"/>
                        <a:pt x="403" y="1929"/>
                      </a:cubicBezTo>
                      <a:cubicBezTo>
                        <a:pt x="427" y="1937"/>
                        <a:pt x="435" y="1945"/>
                        <a:pt x="459" y="1961"/>
                      </a:cubicBezTo>
                      <a:cubicBezTo>
                        <a:pt x="474" y="1977"/>
                        <a:pt x="451" y="2008"/>
                        <a:pt x="435" y="2008"/>
                      </a:cubicBezTo>
                      <a:cubicBezTo>
                        <a:pt x="411" y="2008"/>
                        <a:pt x="403" y="2024"/>
                        <a:pt x="403" y="2048"/>
                      </a:cubicBezTo>
                      <a:cubicBezTo>
                        <a:pt x="411" y="2064"/>
                        <a:pt x="427" y="2056"/>
                        <a:pt x="435" y="2087"/>
                      </a:cubicBezTo>
                      <a:cubicBezTo>
                        <a:pt x="443" y="2119"/>
                        <a:pt x="451" y="2158"/>
                        <a:pt x="459" y="2198"/>
                      </a:cubicBezTo>
                      <a:cubicBezTo>
                        <a:pt x="459" y="2238"/>
                        <a:pt x="482" y="2269"/>
                        <a:pt x="459" y="2269"/>
                      </a:cubicBezTo>
                      <a:cubicBezTo>
                        <a:pt x="435" y="2269"/>
                        <a:pt x="443" y="2293"/>
                        <a:pt x="411" y="2230"/>
                      </a:cubicBezTo>
                      <a:cubicBezTo>
                        <a:pt x="380" y="2158"/>
                        <a:pt x="380" y="2158"/>
                        <a:pt x="364" y="2143"/>
                      </a:cubicBezTo>
                      <a:cubicBezTo>
                        <a:pt x="340" y="2127"/>
                        <a:pt x="332" y="2135"/>
                        <a:pt x="332" y="2167"/>
                      </a:cubicBezTo>
                      <a:cubicBezTo>
                        <a:pt x="332" y="2206"/>
                        <a:pt x="348" y="2214"/>
                        <a:pt x="332" y="2253"/>
                      </a:cubicBezTo>
                      <a:cubicBezTo>
                        <a:pt x="324" y="2293"/>
                        <a:pt x="308" y="2285"/>
                        <a:pt x="308" y="2325"/>
                      </a:cubicBezTo>
                      <a:cubicBezTo>
                        <a:pt x="308" y="2364"/>
                        <a:pt x="300" y="2411"/>
                        <a:pt x="332" y="2443"/>
                      </a:cubicBezTo>
                      <a:cubicBezTo>
                        <a:pt x="356" y="2475"/>
                        <a:pt x="348" y="2451"/>
                        <a:pt x="380" y="2498"/>
                      </a:cubicBezTo>
                      <a:cubicBezTo>
                        <a:pt x="419" y="2538"/>
                        <a:pt x="403" y="2514"/>
                        <a:pt x="443" y="2522"/>
                      </a:cubicBezTo>
                      <a:cubicBezTo>
                        <a:pt x="490" y="2530"/>
                        <a:pt x="498" y="2522"/>
                        <a:pt x="482" y="2578"/>
                      </a:cubicBezTo>
                      <a:cubicBezTo>
                        <a:pt x="474" y="2633"/>
                        <a:pt x="474" y="2664"/>
                        <a:pt x="427" y="2672"/>
                      </a:cubicBezTo>
                      <a:cubicBezTo>
                        <a:pt x="372" y="2680"/>
                        <a:pt x="403" y="2672"/>
                        <a:pt x="403" y="2712"/>
                      </a:cubicBezTo>
                      <a:cubicBezTo>
                        <a:pt x="395" y="2759"/>
                        <a:pt x="387" y="2846"/>
                        <a:pt x="411" y="2870"/>
                      </a:cubicBezTo>
                      <a:cubicBezTo>
                        <a:pt x="435" y="2894"/>
                        <a:pt x="443" y="2902"/>
                        <a:pt x="451" y="2933"/>
                      </a:cubicBezTo>
                      <a:cubicBezTo>
                        <a:pt x="466" y="2972"/>
                        <a:pt x="482" y="2996"/>
                        <a:pt x="498" y="3003"/>
                      </a:cubicBezTo>
                      <a:cubicBezTo>
                        <a:pt x="522" y="3011"/>
                        <a:pt x="506" y="3035"/>
                        <a:pt x="514" y="3067"/>
                      </a:cubicBezTo>
                      <a:cubicBezTo>
                        <a:pt x="514" y="3098"/>
                        <a:pt x="522" y="3106"/>
                        <a:pt x="530" y="3114"/>
                      </a:cubicBezTo>
                      <a:cubicBezTo>
                        <a:pt x="546" y="3130"/>
                        <a:pt x="538" y="3130"/>
                        <a:pt x="553" y="3169"/>
                      </a:cubicBezTo>
                      <a:cubicBezTo>
                        <a:pt x="561" y="3209"/>
                        <a:pt x="561" y="3177"/>
                        <a:pt x="569" y="3217"/>
                      </a:cubicBezTo>
                      <a:cubicBezTo>
                        <a:pt x="585" y="3249"/>
                        <a:pt x="585" y="3280"/>
                        <a:pt x="617" y="3296"/>
                      </a:cubicBezTo>
                      <a:cubicBezTo>
                        <a:pt x="640" y="3312"/>
                        <a:pt x="672" y="3336"/>
                        <a:pt x="656" y="3359"/>
                      </a:cubicBezTo>
                      <a:cubicBezTo>
                        <a:pt x="633" y="3391"/>
                        <a:pt x="617" y="3422"/>
                        <a:pt x="640" y="3438"/>
                      </a:cubicBezTo>
                      <a:cubicBezTo>
                        <a:pt x="664" y="3454"/>
                        <a:pt x="696" y="3454"/>
                        <a:pt x="696" y="3509"/>
                      </a:cubicBezTo>
                      <a:cubicBezTo>
                        <a:pt x="696" y="3557"/>
                        <a:pt x="664" y="3541"/>
                        <a:pt x="672" y="3580"/>
                      </a:cubicBezTo>
                      <a:cubicBezTo>
                        <a:pt x="672" y="3620"/>
                        <a:pt x="656" y="3620"/>
                        <a:pt x="648" y="3660"/>
                      </a:cubicBezTo>
                      <a:cubicBezTo>
                        <a:pt x="648" y="3691"/>
                        <a:pt x="625" y="3707"/>
                        <a:pt x="640" y="3731"/>
                      </a:cubicBezTo>
                      <a:cubicBezTo>
                        <a:pt x="664" y="3754"/>
                        <a:pt x="680" y="3747"/>
                        <a:pt x="680" y="3778"/>
                      </a:cubicBezTo>
                      <a:cubicBezTo>
                        <a:pt x="680" y="3818"/>
                        <a:pt x="704" y="3818"/>
                        <a:pt x="743" y="3818"/>
                      </a:cubicBezTo>
                      <a:cubicBezTo>
                        <a:pt x="791" y="3818"/>
                        <a:pt x="830" y="3818"/>
                        <a:pt x="846" y="3849"/>
                      </a:cubicBezTo>
                      <a:cubicBezTo>
                        <a:pt x="862" y="3881"/>
                        <a:pt x="925" y="3920"/>
                        <a:pt x="972" y="3913"/>
                      </a:cubicBezTo>
                      <a:cubicBezTo>
                        <a:pt x="1028" y="3897"/>
                        <a:pt x="1043" y="3936"/>
                        <a:pt x="1059" y="3952"/>
                      </a:cubicBezTo>
                      <a:cubicBezTo>
                        <a:pt x="1075" y="3960"/>
                        <a:pt x="1115" y="4007"/>
                        <a:pt x="1139" y="4063"/>
                      </a:cubicBezTo>
                      <a:cubicBezTo>
                        <a:pt x="1154" y="4118"/>
                        <a:pt x="1194" y="4118"/>
                        <a:pt x="1217" y="4126"/>
                      </a:cubicBezTo>
                      <a:cubicBezTo>
                        <a:pt x="1233" y="4142"/>
                        <a:pt x="1273" y="4189"/>
                        <a:pt x="1352" y="4173"/>
                      </a:cubicBezTo>
                      <a:cubicBezTo>
                        <a:pt x="1423" y="4158"/>
                        <a:pt x="1392" y="4205"/>
                        <a:pt x="1392" y="4229"/>
                      </a:cubicBezTo>
                      <a:cubicBezTo>
                        <a:pt x="1399" y="4244"/>
                        <a:pt x="1376" y="4355"/>
                        <a:pt x="1439" y="4355"/>
                      </a:cubicBezTo>
                      <a:cubicBezTo>
                        <a:pt x="1494" y="4347"/>
                        <a:pt x="1510" y="4324"/>
                        <a:pt x="1526" y="4379"/>
                      </a:cubicBezTo>
                      <a:cubicBezTo>
                        <a:pt x="1550" y="4434"/>
                        <a:pt x="1621" y="4529"/>
                        <a:pt x="1676" y="4561"/>
                      </a:cubicBezTo>
                      <a:cubicBezTo>
                        <a:pt x="1739" y="4600"/>
                        <a:pt x="1747" y="4814"/>
                        <a:pt x="1747" y="4877"/>
                      </a:cubicBezTo>
                      <a:cubicBezTo>
                        <a:pt x="1739" y="4940"/>
                        <a:pt x="1708" y="4956"/>
                        <a:pt x="1731" y="4980"/>
                      </a:cubicBezTo>
                      <a:cubicBezTo>
                        <a:pt x="1929" y="5003"/>
                        <a:pt x="2640" y="5083"/>
                        <a:pt x="2672" y="5090"/>
                      </a:cubicBezTo>
                      <a:cubicBezTo>
                        <a:pt x="2688" y="5090"/>
                        <a:pt x="2696" y="5098"/>
                        <a:pt x="2696" y="5098"/>
                      </a:cubicBezTo>
                      <a:cubicBezTo>
                        <a:pt x="2712" y="5098"/>
                        <a:pt x="2727" y="5098"/>
                        <a:pt x="2735" y="5098"/>
                      </a:cubicBezTo>
                      <a:cubicBezTo>
                        <a:pt x="2759" y="5098"/>
                        <a:pt x="2799" y="5090"/>
                        <a:pt x="2799" y="5067"/>
                      </a:cubicBezTo>
                      <a:cubicBezTo>
                        <a:pt x="2799" y="5035"/>
                        <a:pt x="2838" y="5051"/>
                        <a:pt x="2830" y="5011"/>
                      </a:cubicBezTo>
                      <a:cubicBezTo>
                        <a:pt x="2830" y="4972"/>
                        <a:pt x="2830" y="4972"/>
                        <a:pt x="2799" y="4956"/>
                      </a:cubicBezTo>
                      <a:cubicBezTo>
                        <a:pt x="2775" y="4940"/>
                        <a:pt x="2751" y="4956"/>
                        <a:pt x="2751" y="4932"/>
                      </a:cubicBezTo>
                      <a:cubicBezTo>
                        <a:pt x="2759" y="4901"/>
                        <a:pt x="2767" y="4924"/>
                        <a:pt x="2767" y="4885"/>
                      </a:cubicBezTo>
                      <a:cubicBezTo>
                        <a:pt x="2775" y="4845"/>
                        <a:pt x="2735" y="4837"/>
                        <a:pt x="2759" y="4806"/>
                      </a:cubicBezTo>
                      <a:cubicBezTo>
                        <a:pt x="2775" y="4774"/>
                        <a:pt x="2806" y="4782"/>
                        <a:pt x="2822" y="4766"/>
                      </a:cubicBezTo>
                      <a:cubicBezTo>
                        <a:pt x="2838" y="4743"/>
                        <a:pt x="2886" y="4679"/>
                        <a:pt x="2893" y="4632"/>
                      </a:cubicBezTo>
                      <a:cubicBezTo>
                        <a:pt x="2901" y="4584"/>
                        <a:pt x="2870" y="4553"/>
                        <a:pt x="2909" y="4529"/>
                      </a:cubicBezTo>
                      <a:cubicBezTo>
                        <a:pt x="2949" y="4506"/>
                        <a:pt x="2965" y="4466"/>
                        <a:pt x="3004" y="4442"/>
                      </a:cubicBezTo>
                      <a:cubicBezTo>
                        <a:pt x="3044" y="4426"/>
                        <a:pt x="3052" y="4434"/>
                        <a:pt x="3067" y="4411"/>
                      </a:cubicBezTo>
                      <a:cubicBezTo>
                        <a:pt x="3075" y="4387"/>
                        <a:pt x="3067" y="4355"/>
                        <a:pt x="3044" y="4339"/>
                      </a:cubicBezTo>
                      <a:cubicBezTo>
                        <a:pt x="3020" y="4324"/>
                        <a:pt x="3004" y="4260"/>
                        <a:pt x="2996" y="4237"/>
                      </a:cubicBezTo>
                      <a:cubicBezTo>
                        <a:pt x="2996" y="4213"/>
                        <a:pt x="2980" y="4197"/>
                        <a:pt x="2965" y="4158"/>
                      </a:cubicBezTo>
                      <a:cubicBezTo>
                        <a:pt x="2949" y="4126"/>
                        <a:pt x="2925" y="4126"/>
                        <a:pt x="2933" y="4086"/>
                      </a:cubicBezTo>
                      <a:cubicBezTo>
                        <a:pt x="2933" y="4063"/>
                        <a:pt x="2933" y="4055"/>
                        <a:pt x="2933" y="4039"/>
                      </a:cubicBezTo>
                      <a:cubicBezTo>
                        <a:pt x="1344" y="1763"/>
                        <a:pt x="1344" y="1763"/>
                        <a:pt x="1344" y="1763"/>
                      </a:cubicBezTo>
                      <a:lnTo>
                        <a:pt x="1692" y="364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3" name="Freeform 282">
                  <a:extLst>
                    <a:ext uri="{FF2B5EF4-FFF2-40B4-BE49-F238E27FC236}">
                      <a16:creationId xmlns:a16="http://schemas.microsoft.com/office/drawing/2014/main" id="{0295BD4E-615F-AB4C-B59C-DD42646879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99638" y="4725744"/>
                  <a:ext cx="1614237" cy="2685756"/>
                </a:xfrm>
                <a:custGeom>
                  <a:avLst/>
                  <a:gdLst>
                    <a:gd name="T0" fmla="*/ 1723 w 3068"/>
                    <a:gd name="T1" fmla="*/ 4988 h 5107"/>
                    <a:gd name="T2" fmla="*/ 1431 w 3068"/>
                    <a:gd name="T3" fmla="*/ 4355 h 5107"/>
                    <a:gd name="T4" fmla="*/ 1312 w 3068"/>
                    <a:gd name="T5" fmla="*/ 4181 h 5107"/>
                    <a:gd name="T6" fmla="*/ 988 w 3068"/>
                    <a:gd name="T7" fmla="*/ 3913 h 5107"/>
                    <a:gd name="T8" fmla="*/ 632 w 3068"/>
                    <a:gd name="T9" fmla="*/ 3731 h 5107"/>
                    <a:gd name="T10" fmla="*/ 648 w 3068"/>
                    <a:gd name="T11" fmla="*/ 3454 h 5107"/>
                    <a:gd name="T12" fmla="*/ 553 w 3068"/>
                    <a:gd name="T13" fmla="*/ 3193 h 5107"/>
                    <a:gd name="T14" fmla="*/ 443 w 3068"/>
                    <a:gd name="T15" fmla="*/ 2933 h 5107"/>
                    <a:gd name="T16" fmla="*/ 466 w 3068"/>
                    <a:gd name="T17" fmla="*/ 2601 h 5107"/>
                    <a:gd name="T18" fmla="*/ 403 w 3068"/>
                    <a:gd name="T19" fmla="*/ 2530 h 5107"/>
                    <a:gd name="T20" fmla="*/ 324 w 3068"/>
                    <a:gd name="T21" fmla="*/ 2253 h 5107"/>
                    <a:gd name="T22" fmla="*/ 427 w 3068"/>
                    <a:gd name="T23" fmla="*/ 2269 h 5107"/>
                    <a:gd name="T24" fmla="*/ 419 w 3068"/>
                    <a:gd name="T25" fmla="*/ 2087 h 5107"/>
                    <a:gd name="T26" fmla="*/ 395 w 3068"/>
                    <a:gd name="T27" fmla="*/ 1929 h 5107"/>
                    <a:gd name="T28" fmla="*/ 269 w 3068"/>
                    <a:gd name="T29" fmla="*/ 1977 h 5107"/>
                    <a:gd name="T30" fmla="*/ 229 w 3068"/>
                    <a:gd name="T31" fmla="*/ 1819 h 5107"/>
                    <a:gd name="T32" fmla="*/ 126 w 3068"/>
                    <a:gd name="T33" fmla="*/ 1597 h 5107"/>
                    <a:gd name="T34" fmla="*/ 55 w 3068"/>
                    <a:gd name="T35" fmla="*/ 1408 h 5107"/>
                    <a:gd name="T36" fmla="*/ 119 w 3068"/>
                    <a:gd name="T37" fmla="*/ 1123 h 5107"/>
                    <a:gd name="T38" fmla="*/ 24 w 3068"/>
                    <a:gd name="T39" fmla="*/ 799 h 5107"/>
                    <a:gd name="T40" fmla="*/ 150 w 3068"/>
                    <a:gd name="T41" fmla="*/ 514 h 5107"/>
                    <a:gd name="T42" fmla="*/ 245 w 3068"/>
                    <a:gd name="T43" fmla="*/ 301 h 5107"/>
                    <a:gd name="T44" fmla="*/ 237 w 3068"/>
                    <a:gd name="T45" fmla="*/ 71 h 5107"/>
                    <a:gd name="T46" fmla="*/ 1684 w 3068"/>
                    <a:gd name="T47" fmla="*/ 364 h 5107"/>
                    <a:gd name="T48" fmla="*/ 2965 w 3068"/>
                    <a:gd name="T49" fmla="*/ 4158 h 5107"/>
                    <a:gd name="T50" fmla="*/ 2996 w 3068"/>
                    <a:gd name="T51" fmla="*/ 4450 h 5107"/>
                    <a:gd name="T52" fmla="*/ 2783 w 3068"/>
                    <a:gd name="T53" fmla="*/ 4782 h 5107"/>
                    <a:gd name="T54" fmla="*/ 2798 w 3068"/>
                    <a:gd name="T55" fmla="*/ 4956 h 5107"/>
                    <a:gd name="T56" fmla="*/ 1723 w 3068"/>
                    <a:gd name="T57" fmla="*/ 4980 h 5107"/>
                    <a:gd name="T58" fmla="*/ 2822 w 3068"/>
                    <a:gd name="T59" fmla="*/ 5011 h 5107"/>
                    <a:gd name="T60" fmla="*/ 2751 w 3068"/>
                    <a:gd name="T61" fmla="*/ 4845 h 5107"/>
                    <a:gd name="T62" fmla="*/ 2901 w 3068"/>
                    <a:gd name="T63" fmla="*/ 4521 h 5107"/>
                    <a:gd name="T64" fmla="*/ 2988 w 3068"/>
                    <a:gd name="T65" fmla="*/ 4237 h 5107"/>
                    <a:gd name="T66" fmla="*/ 1684 w 3068"/>
                    <a:gd name="T67" fmla="*/ 372 h 5107"/>
                    <a:gd name="T68" fmla="*/ 292 w 3068"/>
                    <a:gd name="T69" fmla="*/ 182 h 5107"/>
                    <a:gd name="T70" fmla="*/ 198 w 3068"/>
                    <a:gd name="T71" fmla="*/ 396 h 5107"/>
                    <a:gd name="T72" fmla="*/ 63 w 3068"/>
                    <a:gd name="T73" fmla="*/ 633 h 5107"/>
                    <a:gd name="T74" fmla="*/ 95 w 3068"/>
                    <a:gd name="T75" fmla="*/ 917 h 5107"/>
                    <a:gd name="T76" fmla="*/ 79 w 3068"/>
                    <a:gd name="T77" fmla="*/ 1234 h 5107"/>
                    <a:gd name="T78" fmla="*/ 47 w 3068"/>
                    <a:gd name="T79" fmla="*/ 1423 h 5107"/>
                    <a:gd name="T80" fmla="*/ 198 w 3068"/>
                    <a:gd name="T81" fmla="*/ 1700 h 5107"/>
                    <a:gd name="T82" fmla="*/ 190 w 3068"/>
                    <a:gd name="T83" fmla="*/ 1937 h 5107"/>
                    <a:gd name="T84" fmla="*/ 364 w 3068"/>
                    <a:gd name="T85" fmla="*/ 2040 h 5107"/>
                    <a:gd name="T86" fmla="*/ 458 w 3068"/>
                    <a:gd name="T87" fmla="*/ 1985 h 5107"/>
                    <a:gd name="T88" fmla="*/ 451 w 3068"/>
                    <a:gd name="T89" fmla="*/ 2198 h 5107"/>
                    <a:gd name="T90" fmla="*/ 379 w 3068"/>
                    <a:gd name="T91" fmla="*/ 2182 h 5107"/>
                    <a:gd name="T92" fmla="*/ 308 w 3068"/>
                    <a:gd name="T93" fmla="*/ 2325 h 5107"/>
                    <a:gd name="T94" fmla="*/ 419 w 3068"/>
                    <a:gd name="T95" fmla="*/ 2522 h 5107"/>
                    <a:gd name="T96" fmla="*/ 403 w 3068"/>
                    <a:gd name="T97" fmla="*/ 2680 h 5107"/>
                    <a:gd name="T98" fmla="*/ 506 w 3068"/>
                    <a:gd name="T99" fmla="*/ 3043 h 5107"/>
                    <a:gd name="T100" fmla="*/ 577 w 3068"/>
                    <a:gd name="T101" fmla="*/ 3241 h 5107"/>
                    <a:gd name="T102" fmla="*/ 672 w 3068"/>
                    <a:gd name="T103" fmla="*/ 3549 h 5107"/>
                    <a:gd name="T104" fmla="*/ 680 w 3068"/>
                    <a:gd name="T105" fmla="*/ 3778 h 5107"/>
                    <a:gd name="T106" fmla="*/ 1051 w 3068"/>
                    <a:gd name="T107" fmla="*/ 3944 h 5107"/>
                    <a:gd name="T108" fmla="*/ 1391 w 3068"/>
                    <a:gd name="T109" fmla="*/ 4173 h 5107"/>
                    <a:gd name="T110" fmla="*/ 1486 w 3068"/>
                    <a:gd name="T111" fmla="*/ 4339 h 5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068" h="5107">
                      <a:moveTo>
                        <a:pt x="2688" y="5106"/>
                      </a:moveTo>
                      <a:lnTo>
                        <a:pt x="2688" y="5106"/>
                      </a:lnTo>
                      <a:lnTo>
                        <a:pt x="2688" y="5106"/>
                      </a:lnTo>
                      <a:cubicBezTo>
                        <a:pt x="2688" y="5098"/>
                        <a:pt x="2680" y="5098"/>
                        <a:pt x="2664" y="5090"/>
                      </a:cubicBezTo>
                      <a:cubicBezTo>
                        <a:pt x="2632" y="5083"/>
                        <a:pt x="1874" y="5003"/>
                        <a:pt x="1723" y="4988"/>
                      </a:cubicBezTo>
                      <a:lnTo>
                        <a:pt x="1723" y="4988"/>
                      </a:lnTo>
                      <a:lnTo>
                        <a:pt x="1723" y="4988"/>
                      </a:lnTo>
                      <a:cubicBezTo>
                        <a:pt x="1708" y="4964"/>
                        <a:pt x="1715" y="4956"/>
                        <a:pt x="1723" y="4940"/>
                      </a:cubicBezTo>
                      <a:cubicBezTo>
                        <a:pt x="1723" y="4924"/>
                        <a:pt x="1731" y="4908"/>
                        <a:pt x="1731" y="4877"/>
                      </a:cubicBezTo>
                      <a:cubicBezTo>
                        <a:pt x="1739" y="4814"/>
                        <a:pt x="1723" y="4600"/>
                        <a:pt x="1668" y="4569"/>
                      </a:cubicBezTo>
                      <a:cubicBezTo>
                        <a:pt x="1613" y="4529"/>
                        <a:pt x="1534" y="4434"/>
                        <a:pt x="1518" y="4379"/>
                      </a:cubicBezTo>
                      <a:cubicBezTo>
                        <a:pt x="1510" y="4355"/>
                        <a:pt x="1502" y="4347"/>
                        <a:pt x="1486" y="4347"/>
                      </a:cubicBezTo>
                      <a:cubicBezTo>
                        <a:pt x="1478" y="4347"/>
                        <a:pt x="1470" y="4347"/>
                        <a:pt x="1462" y="4347"/>
                      </a:cubicBezTo>
                      <a:cubicBezTo>
                        <a:pt x="1455" y="4355"/>
                        <a:pt x="1439" y="4355"/>
                        <a:pt x="1431" y="4355"/>
                      </a:cubicBezTo>
                      <a:cubicBezTo>
                        <a:pt x="1415" y="4355"/>
                        <a:pt x="1407" y="4355"/>
                        <a:pt x="1399" y="4347"/>
                      </a:cubicBezTo>
                      <a:cubicBezTo>
                        <a:pt x="1375" y="4324"/>
                        <a:pt x="1384" y="4276"/>
                        <a:pt x="1384" y="4253"/>
                      </a:cubicBezTo>
                      <a:cubicBezTo>
                        <a:pt x="1384" y="4237"/>
                        <a:pt x="1384" y="4229"/>
                        <a:pt x="1384" y="4229"/>
                      </a:cubicBezTo>
                      <a:cubicBezTo>
                        <a:pt x="1384" y="4221"/>
                        <a:pt x="1384" y="4213"/>
                        <a:pt x="1384" y="4205"/>
                      </a:cubicBezTo>
                      <a:cubicBezTo>
                        <a:pt x="1384" y="4197"/>
                        <a:pt x="1391" y="4181"/>
                        <a:pt x="1384" y="4181"/>
                      </a:cubicBezTo>
                      <a:cubicBezTo>
                        <a:pt x="1375" y="4173"/>
                        <a:pt x="1368" y="4173"/>
                        <a:pt x="1344" y="4173"/>
                      </a:cubicBezTo>
                      <a:cubicBezTo>
                        <a:pt x="1336" y="4181"/>
                        <a:pt x="1320" y="4181"/>
                        <a:pt x="1312" y="4181"/>
                      </a:cubicBezTo>
                      <a:cubicBezTo>
                        <a:pt x="1265" y="4181"/>
                        <a:pt x="1233" y="4158"/>
                        <a:pt x="1217" y="4142"/>
                      </a:cubicBezTo>
                      <a:cubicBezTo>
                        <a:pt x="1209" y="4142"/>
                        <a:pt x="1209" y="4134"/>
                        <a:pt x="1202" y="4134"/>
                      </a:cubicBezTo>
                      <a:cubicBezTo>
                        <a:pt x="1202" y="4126"/>
                        <a:pt x="1194" y="4126"/>
                        <a:pt x="1186" y="4126"/>
                      </a:cubicBezTo>
                      <a:cubicBezTo>
                        <a:pt x="1162" y="4118"/>
                        <a:pt x="1138" y="4110"/>
                        <a:pt x="1122" y="4063"/>
                      </a:cubicBezTo>
                      <a:cubicBezTo>
                        <a:pt x="1099" y="4015"/>
                        <a:pt x="1059" y="3960"/>
                        <a:pt x="1051" y="3952"/>
                      </a:cubicBezTo>
                      <a:cubicBezTo>
                        <a:pt x="1044" y="3952"/>
                        <a:pt x="1044" y="3944"/>
                        <a:pt x="1035" y="3944"/>
                      </a:cubicBezTo>
                      <a:cubicBezTo>
                        <a:pt x="1028" y="3928"/>
                        <a:pt x="1012" y="3913"/>
                        <a:pt x="988" y="3913"/>
                      </a:cubicBezTo>
                      <a:cubicBezTo>
                        <a:pt x="980" y="3913"/>
                        <a:pt x="972" y="3913"/>
                        <a:pt x="972" y="3913"/>
                      </a:cubicBezTo>
                      <a:cubicBezTo>
                        <a:pt x="964" y="3920"/>
                        <a:pt x="957" y="3920"/>
                        <a:pt x="949" y="3920"/>
                      </a:cubicBezTo>
                      <a:cubicBezTo>
                        <a:pt x="901" y="3920"/>
                        <a:pt x="854" y="3881"/>
                        <a:pt x="838" y="3849"/>
                      </a:cubicBezTo>
                      <a:cubicBezTo>
                        <a:pt x="822" y="3826"/>
                        <a:pt x="783" y="3826"/>
                        <a:pt x="735" y="3826"/>
                      </a:cubicBezTo>
                      <a:cubicBezTo>
                        <a:pt x="696" y="3826"/>
                        <a:pt x="672" y="3818"/>
                        <a:pt x="672" y="3778"/>
                      </a:cubicBezTo>
                      <a:cubicBezTo>
                        <a:pt x="664" y="3762"/>
                        <a:pt x="664" y="3754"/>
                        <a:pt x="648" y="3747"/>
                      </a:cubicBezTo>
                      <a:cubicBezTo>
                        <a:pt x="648" y="3739"/>
                        <a:pt x="640" y="3739"/>
                        <a:pt x="632" y="3731"/>
                      </a:cubicBezTo>
                      <a:cubicBezTo>
                        <a:pt x="617" y="3715"/>
                        <a:pt x="625" y="3707"/>
                        <a:pt x="632" y="3691"/>
                      </a:cubicBezTo>
                      <a:cubicBezTo>
                        <a:pt x="632" y="3683"/>
                        <a:pt x="640" y="3667"/>
                        <a:pt x="640" y="3660"/>
                      </a:cubicBezTo>
                      <a:cubicBezTo>
                        <a:pt x="640" y="3644"/>
                        <a:pt x="648" y="3628"/>
                        <a:pt x="648" y="3620"/>
                      </a:cubicBezTo>
                      <a:cubicBezTo>
                        <a:pt x="656" y="3612"/>
                        <a:pt x="664" y="3596"/>
                        <a:pt x="656" y="3580"/>
                      </a:cubicBezTo>
                      <a:cubicBezTo>
                        <a:pt x="656" y="3557"/>
                        <a:pt x="664" y="3549"/>
                        <a:pt x="672" y="3549"/>
                      </a:cubicBezTo>
                      <a:cubicBezTo>
                        <a:pt x="672" y="3541"/>
                        <a:pt x="680" y="3533"/>
                        <a:pt x="680" y="3509"/>
                      </a:cubicBezTo>
                      <a:cubicBezTo>
                        <a:pt x="688" y="3470"/>
                        <a:pt x="664" y="3462"/>
                        <a:pt x="648" y="3454"/>
                      </a:cubicBezTo>
                      <a:cubicBezTo>
                        <a:pt x="640" y="3454"/>
                        <a:pt x="632" y="3446"/>
                        <a:pt x="625" y="3446"/>
                      </a:cubicBezTo>
                      <a:cubicBezTo>
                        <a:pt x="601" y="3422"/>
                        <a:pt x="625" y="3391"/>
                        <a:pt x="648" y="3359"/>
                      </a:cubicBezTo>
                      <a:cubicBezTo>
                        <a:pt x="648" y="3351"/>
                        <a:pt x="648" y="3343"/>
                        <a:pt x="648" y="3343"/>
                      </a:cubicBezTo>
                      <a:cubicBezTo>
                        <a:pt x="648" y="3320"/>
                        <a:pt x="617" y="3304"/>
                        <a:pt x="601" y="3296"/>
                      </a:cubicBezTo>
                      <a:cubicBezTo>
                        <a:pt x="585" y="3288"/>
                        <a:pt x="577" y="3272"/>
                        <a:pt x="569" y="3249"/>
                      </a:cubicBezTo>
                      <a:cubicBezTo>
                        <a:pt x="569" y="3233"/>
                        <a:pt x="569" y="3225"/>
                        <a:pt x="561" y="3217"/>
                      </a:cubicBezTo>
                      <a:cubicBezTo>
                        <a:pt x="553" y="3201"/>
                        <a:pt x="553" y="3193"/>
                        <a:pt x="553" y="3193"/>
                      </a:cubicBezTo>
                      <a:cubicBezTo>
                        <a:pt x="545" y="3193"/>
                        <a:pt x="545" y="3185"/>
                        <a:pt x="538" y="3169"/>
                      </a:cubicBezTo>
                      <a:cubicBezTo>
                        <a:pt x="538" y="3154"/>
                        <a:pt x="530" y="3146"/>
                        <a:pt x="530" y="3138"/>
                      </a:cubicBezTo>
                      <a:cubicBezTo>
                        <a:pt x="530" y="3130"/>
                        <a:pt x="530" y="3130"/>
                        <a:pt x="522" y="3122"/>
                      </a:cubicBezTo>
                      <a:cubicBezTo>
                        <a:pt x="506" y="3106"/>
                        <a:pt x="506" y="3106"/>
                        <a:pt x="498" y="3067"/>
                      </a:cubicBezTo>
                      <a:cubicBezTo>
                        <a:pt x="498" y="3059"/>
                        <a:pt x="498" y="3051"/>
                        <a:pt x="498" y="3043"/>
                      </a:cubicBezTo>
                      <a:cubicBezTo>
                        <a:pt x="498" y="3019"/>
                        <a:pt x="498" y="3011"/>
                        <a:pt x="490" y="3003"/>
                      </a:cubicBezTo>
                      <a:cubicBezTo>
                        <a:pt x="474" y="3003"/>
                        <a:pt x="458" y="2980"/>
                        <a:pt x="443" y="2933"/>
                      </a:cubicBezTo>
                      <a:cubicBezTo>
                        <a:pt x="435" y="2902"/>
                        <a:pt x="427" y="2894"/>
                        <a:pt x="403" y="2870"/>
                      </a:cubicBezTo>
                      <a:cubicBezTo>
                        <a:pt x="372" y="2846"/>
                        <a:pt x="387" y="2744"/>
                        <a:pt x="387" y="2712"/>
                      </a:cubicBezTo>
                      <a:cubicBezTo>
                        <a:pt x="387" y="2696"/>
                        <a:pt x="387" y="2688"/>
                        <a:pt x="387" y="2680"/>
                      </a:cubicBezTo>
                      <a:cubicBezTo>
                        <a:pt x="387" y="2680"/>
                        <a:pt x="379" y="2680"/>
                        <a:pt x="387" y="2672"/>
                      </a:cubicBezTo>
                      <a:cubicBezTo>
                        <a:pt x="387" y="2672"/>
                        <a:pt x="387" y="2672"/>
                        <a:pt x="403" y="2672"/>
                      </a:cubicBezTo>
                      <a:cubicBezTo>
                        <a:pt x="403" y="2672"/>
                        <a:pt x="411" y="2672"/>
                        <a:pt x="419" y="2672"/>
                      </a:cubicBezTo>
                      <a:cubicBezTo>
                        <a:pt x="458" y="2664"/>
                        <a:pt x="458" y="2641"/>
                        <a:pt x="466" y="2601"/>
                      </a:cubicBezTo>
                      <a:cubicBezTo>
                        <a:pt x="466" y="2593"/>
                        <a:pt x="474" y="2585"/>
                        <a:pt x="474" y="2578"/>
                      </a:cubicBezTo>
                      <a:cubicBezTo>
                        <a:pt x="482" y="2554"/>
                        <a:pt x="482" y="2546"/>
                        <a:pt x="474" y="2538"/>
                      </a:cubicBezTo>
                      <a:cubicBezTo>
                        <a:pt x="474" y="2538"/>
                        <a:pt x="466" y="2530"/>
                        <a:pt x="451" y="2530"/>
                      </a:cubicBezTo>
                      <a:cubicBezTo>
                        <a:pt x="451" y="2530"/>
                        <a:pt x="443" y="2530"/>
                        <a:pt x="435" y="2530"/>
                      </a:cubicBezTo>
                      <a:cubicBezTo>
                        <a:pt x="427" y="2530"/>
                        <a:pt x="419" y="2530"/>
                        <a:pt x="419" y="2530"/>
                      </a:cubicBezTo>
                      <a:cubicBezTo>
                        <a:pt x="411" y="2530"/>
                        <a:pt x="411" y="2530"/>
                        <a:pt x="411" y="2530"/>
                      </a:cubicBezTo>
                      <a:cubicBezTo>
                        <a:pt x="403" y="2530"/>
                        <a:pt x="403" y="2530"/>
                        <a:pt x="403" y="2530"/>
                      </a:cubicBezTo>
                      <a:cubicBezTo>
                        <a:pt x="395" y="2530"/>
                        <a:pt x="387" y="2522"/>
                        <a:pt x="372" y="2498"/>
                      </a:cubicBezTo>
                      <a:cubicBezTo>
                        <a:pt x="356" y="2475"/>
                        <a:pt x="348" y="2475"/>
                        <a:pt x="340" y="2467"/>
                      </a:cubicBezTo>
                      <a:cubicBezTo>
                        <a:pt x="332" y="2459"/>
                        <a:pt x="332" y="2459"/>
                        <a:pt x="316" y="2443"/>
                      </a:cubicBezTo>
                      <a:cubicBezTo>
                        <a:pt x="292" y="2420"/>
                        <a:pt x="300" y="2388"/>
                        <a:pt x="300" y="2356"/>
                      </a:cubicBezTo>
                      <a:cubicBezTo>
                        <a:pt x="300" y="2348"/>
                        <a:pt x="300" y="2340"/>
                        <a:pt x="300" y="2325"/>
                      </a:cubicBezTo>
                      <a:cubicBezTo>
                        <a:pt x="300" y="2301"/>
                        <a:pt x="300" y="2293"/>
                        <a:pt x="308" y="2285"/>
                      </a:cubicBezTo>
                      <a:cubicBezTo>
                        <a:pt x="316" y="2277"/>
                        <a:pt x="316" y="2269"/>
                        <a:pt x="324" y="2253"/>
                      </a:cubicBezTo>
                      <a:cubicBezTo>
                        <a:pt x="332" y="2230"/>
                        <a:pt x="332" y="2214"/>
                        <a:pt x="324" y="2198"/>
                      </a:cubicBezTo>
                      <a:cubicBezTo>
                        <a:pt x="324" y="2190"/>
                        <a:pt x="324" y="2182"/>
                        <a:pt x="324" y="2167"/>
                      </a:cubicBezTo>
                      <a:cubicBezTo>
                        <a:pt x="324" y="2151"/>
                        <a:pt x="324" y="2135"/>
                        <a:pt x="332" y="2135"/>
                      </a:cubicBezTo>
                      <a:cubicBezTo>
                        <a:pt x="340" y="2135"/>
                        <a:pt x="348" y="2135"/>
                        <a:pt x="356" y="2143"/>
                      </a:cubicBezTo>
                      <a:cubicBezTo>
                        <a:pt x="372" y="2151"/>
                        <a:pt x="372" y="2158"/>
                        <a:pt x="387" y="2182"/>
                      </a:cubicBezTo>
                      <a:cubicBezTo>
                        <a:pt x="387" y="2190"/>
                        <a:pt x="395" y="2206"/>
                        <a:pt x="403" y="2222"/>
                      </a:cubicBezTo>
                      <a:cubicBezTo>
                        <a:pt x="419" y="2245"/>
                        <a:pt x="427" y="2269"/>
                        <a:pt x="427" y="2269"/>
                      </a:cubicBezTo>
                      <a:cubicBezTo>
                        <a:pt x="427" y="2269"/>
                        <a:pt x="427" y="2269"/>
                        <a:pt x="435" y="2269"/>
                      </a:cubicBezTo>
                      <a:cubicBezTo>
                        <a:pt x="435" y="2261"/>
                        <a:pt x="443" y="2261"/>
                        <a:pt x="451" y="2261"/>
                      </a:cubicBezTo>
                      <a:cubicBezTo>
                        <a:pt x="458" y="2261"/>
                        <a:pt x="458" y="2261"/>
                        <a:pt x="458" y="2261"/>
                      </a:cubicBezTo>
                      <a:cubicBezTo>
                        <a:pt x="458" y="2253"/>
                        <a:pt x="458" y="2245"/>
                        <a:pt x="451" y="2230"/>
                      </a:cubicBezTo>
                      <a:cubicBezTo>
                        <a:pt x="451" y="2222"/>
                        <a:pt x="451" y="2206"/>
                        <a:pt x="443" y="2198"/>
                      </a:cubicBezTo>
                      <a:cubicBezTo>
                        <a:pt x="443" y="2174"/>
                        <a:pt x="435" y="2151"/>
                        <a:pt x="435" y="2127"/>
                      </a:cubicBezTo>
                      <a:cubicBezTo>
                        <a:pt x="427" y="2111"/>
                        <a:pt x="427" y="2095"/>
                        <a:pt x="419" y="2087"/>
                      </a:cubicBezTo>
                      <a:cubicBezTo>
                        <a:pt x="419" y="2072"/>
                        <a:pt x="411" y="2064"/>
                        <a:pt x="411" y="2064"/>
                      </a:cubicBezTo>
                      <a:cubicBezTo>
                        <a:pt x="403" y="2056"/>
                        <a:pt x="395" y="2056"/>
                        <a:pt x="395" y="2048"/>
                      </a:cubicBezTo>
                      <a:cubicBezTo>
                        <a:pt x="387" y="2032"/>
                        <a:pt x="395" y="2024"/>
                        <a:pt x="403" y="2016"/>
                      </a:cubicBezTo>
                      <a:cubicBezTo>
                        <a:pt x="403" y="2008"/>
                        <a:pt x="419" y="2000"/>
                        <a:pt x="427" y="2000"/>
                      </a:cubicBezTo>
                      <a:cubicBezTo>
                        <a:pt x="435" y="2000"/>
                        <a:pt x="451" y="1993"/>
                        <a:pt x="451" y="1985"/>
                      </a:cubicBezTo>
                      <a:cubicBezTo>
                        <a:pt x="451" y="1977"/>
                        <a:pt x="451" y="1969"/>
                        <a:pt x="443" y="1961"/>
                      </a:cubicBezTo>
                      <a:cubicBezTo>
                        <a:pt x="427" y="1945"/>
                        <a:pt x="419" y="1937"/>
                        <a:pt x="395" y="1929"/>
                      </a:cubicBezTo>
                      <a:cubicBezTo>
                        <a:pt x="387" y="1929"/>
                        <a:pt x="387" y="1929"/>
                        <a:pt x="387" y="1945"/>
                      </a:cubicBezTo>
                      <a:cubicBezTo>
                        <a:pt x="387" y="1953"/>
                        <a:pt x="387" y="1969"/>
                        <a:pt x="379" y="1985"/>
                      </a:cubicBezTo>
                      <a:cubicBezTo>
                        <a:pt x="364" y="2000"/>
                        <a:pt x="372" y="2008"/>
                        <a:pt x="372" y="2016"/>
                      </a:cubicBezTo>
                      <a:cubicBezTo>
                        <a:pt x="372" y="2024"/>
                        <a:pt x="372" y="2032"/>
                        <a:pt x="372" y="2040"/>
                      </a:cubicBezTo>
                      <a:cubicBezTo>
                        <a:pt x="372" y="2064"/>
                        <a:pt x="356" y="2072"/>
                        <a:pt x="348" y="2072"/>
                      </a:cubicBezTo>
                      <a:cubicBezTo>
                        <a:pt x="340" y="2072"/>
                        <a:pt x="332" y="2072"/>
                        <a:pt x="332" y="2064"/>
                      </a:cubicBezTo>
                      <a:cubicBezTo>
                        <a:pt x="308" y="2056"/>
                        <a:pt x="292" y="2032"/>
                        <a:pt x="269" y="1977"/>
                      </a:cubicBezTo>
                      <a:cubicBezTo>
                        <a:pt x="261" y="1945"/>
                        <a:pt x="253" y="1945"/>
                        <a:pt x="245" y="1945"/>
                      </a:cubicBezTo>
                      <a:cubicBezTo>
                        <a:pt x="237" y="1945"/>
                        <a:pt x="237" y="1945"/>
                        <a:pt x="229" y="1945"/>
                      </a:cubicBezTo>
                      <a:cubicBezTo>
                        <a:pt x="221" y="1945"/>
                        <a:pt x="214" y="1945"/>
                        <a:pt x="198" y="1945"/>
                      </a:cubicBezTo>
                      <a:cubicBezTo>
                        <a:pt x="198" y="1945"/>
                        <a:pt x="182" y="1945"/>
                        <a:pt x="182" y="1937"/>
                      </a:cubicBezTo>
                      <a:cubicBezTo>
                        <a:pt x="182" y="1929"/>
                        <a:pt x="190" y="1921"/>
                        <a:pt x="214" y="1905"/>
                      </a:cubicBezTo>
                      <a:lnTo>
                        <a:pt x="214" y="1898"/>
                      </a:lnTo>
                      <a:cubicBezTo>
                        <a:pt x="229" y="1890"/>
                        <a:pt x="237" y="1850"/>
                        <a:pt x="229" y="1819"/>
                      </a:cubicBezTo>
                      <a:cubicBezTo>
                        <a:pt x="229" y="1803"/>
                        <a:pt x="229" y="1803"/>
                        <a:pt x="221" y="1795"/>
                      </a:cubicBezTo>
                      <a:cubicBezTo>
                        <a:pt x="221" y="1795"/>
                        <a:pt x="214" y="1787"/>
                        <a:pt x="214" y="1763"/>
                      </a:cubicBezTo>
                      <a:cubicBezTo>
                        <a:pt x="205" y="1755"/>
                        <a:pt x="205" y="1740"/>
                        <a:pt x="205" y="1740"/>
                      </a:cubicBezTo>
                      <a:cubicBezTo>
                        <a:pt x="205" y="1724"/>
                        <a:pt x="205" y="1724"/>
                        <a:pt x="190" y="1708"/>
                      </a:cubicBezTo>
                      <a:cubicBezTo>
                        <a:pt x="182" y="1708"/>
                        <a:pt x="182" y="1700"/>
                        <a:pt x="174" y="1700"/>
                      </a:cubicBezTo>
                      <a:cubicBezTo>
                        <a:pt x="166" y="1692"/>
                        <a:pt x="158" y="1684"/>
                        <a:pt x="150" y="1653"/>
                      </a:cubicBezTo>
                      <a:cubicBezTo>
                        <a:pt x="150" y="1621"/>
                        <a:pt x="142" y="1613"/>
                        <a:pt x="126" y="1597"/>
                      </a:cubicBezTo>
                      <a:cubicBezTo>
                        <a:pt x="119" y="1597"/>
                        <a:pt x="111" y="1589"/>
                        <a:pt x="111" y="1581"/>
                      </a:cubicBezTo>
                      <a:cubicBezTo>
                        <a:pt x="95" y="1574"/>
                        <a:pt x="95" y="1566"/>
                        <a:pt x="95" y="1550"/>
                      </a:cubicBezTo>
                      <a:cubicBezTo>
                        <a:pt x="95" y="1534"/>
                        <a:pt x="95" y="1510"/>
                        <a:pt x="63" y="1471"/>
                      </a:cubicBezTo>
                      <a:cubicBezTo>
                        <a:pt x="39" y="1439"/>
                        <a:pt x="39" y="1423"/>
                        <a:pt x="39" y="1423"/>
                      </a:cubicBezTo>
                      <a:cubicBezTo>
                        <a:pt x="39" y="1415"/>
                        <a:pt x="47" y="1415"/>
                        <a:pt x="47" y="1415"/>
                      </a:cubicBezTo>
                      <a:lnTo>
                        <a:pt x="55" y="1415"/>
                      </a:lnTo>
                      <a:lnTo>
                        <a:pt x="55" y="1408"/>
                      </a:lnTo>
                      <a:cubicBezTo>
                        <a:pt x="47" y="1384"/>
                        <a:pt x="55" y="1360"/>
                        <a:pt x="71" y="1328"/>
                      </a:cubicBezTo>
                      <a:cubicBezTo>
                        <a:pt x="71" y="1313"/>
                        <a:pt x="71" y="1313"/>
                        <a:pt x="71" y="1313"/>
                      </a:cubicBezTo>
                      <a:cubicBezTo>
                        <a:pt x="87" y="1281"/>
                        <a:pt x="87" y="1273"/>
                        <a:pt x="79" y="1241"/>
                      </a:cubicBezTo>
                      <a:cubicBezTo>
                        <a:pt x="71" y="1234"/>
                        <a:pt x="71" y="1234"/>
                        <a:pt x="71" y="1234"/>
                      </a:cubicBezTo>
                      <a:cubicBezTo>
                        <a:pt x="63" y="1202"/>
                        <a:pt x="71" y="1202"/>
                        <a:pt x="87" y="1186"/>
                      </a:cubicBezTo>
                      <a:cubicBezTo>
                        <a:pt x="95" y="1186"/>
                        <a:pt x="103" y="1178"/>
                        <a:pt x="111" y="1170"/>
                      </a:cubicBezTo>
                      <a:cubicBezTo>
                        <a:pt x="126" y="1155"/>
                        <a:pt x="126" y="1147"/>
                        <a:pt x="119" y="1123"/>
                      </a:cubicBezTo>
                      <a:cubicBezTo>
                        <a:pt x="119" y="1115"/>
                        <a:pt x="119" y="1099"/>
                        <a:pt x="119" y="1083"/>
                      </a:cubicBezTo>
                      <a:cubicBezTo>
                        <a:pt x="119" y="1076"/>
                        <a:pt x="119" y="1068"/>
                        <a:pt x="119" y="1060"/>
                      </a:cubicBezTo>
                      <a:cubicBezTo>
                        <a:pt x="119" y="1036"/>
                        <a:pt x="119" y="1028"/>
                        <a:pt x="111" y="981"/>
                      </a:cubicBezTo>
                      <a:cubicBezTo>
                        <a:pt x="103" y="949"/>
                        <a:pt x="95" y="933"/>
                        <a:pt x="87" y="925"/>
                      </a:cubicBezTo>
                      <a:cubicBezTo>
                        <a:pt x="87" y="910"/>
                        <a:pt x="79" y="902"/>
                        <a:pt x="71" y="878"/>
                      </a:cubicBezTo>
                      <a:cubicBezTo>
                        <a:pt x="63" y="846"/>
                        <a:pt x="55" y="846"/>
                        <a:pt x="47" y="838"/>
                      </a:cubicBezTo>
                      <a:cubicBezTo>
                        <a:pt x="39" y="830"/>
                        <a:pt x="32" y="823"/>
                        <a:pt x="24" y="799"/>
                      </a:cubicBezTo>
                      <a:cubicBezTo>
                        <a:pt x="0" y="767"/>
                        <a:pt x="0" y="759"/>
                        <a:pt x="8" y="736"/>
                      </a:cubicBezTo>
                      <a:cubicBezTo>
                        <a:pt x="8" y="728"/>
                        <a:pt x="16" y="712"/>
                        <a:pt x="16" y="696"/>
                      </a:cubicBezTo>
                      <a:cubicBezTo>
                        <a:pt x="16" y="657"/>
                        <a:pt x="24" y="649"/>
                        <a:pt x="39" y="641"/>
                      </a:cubicBezTo>
                      <a:cubicBezTo>
                        <a:pt x="47" y="633"/>
                        <a:pt x="55" y="633"/>
                        <a:pt x="55" y="625"/>
                      </a:cubicBezTo>
                      <a:cubicBezTo>
                        <a:pt x="71" y="609"/>
                        <a:pt x="95" y="577"/>
                        <a:pt x="119" y="562"/>
                      </a:cubicBezTo>
                      <a:cubicBezTo>
                        <a:pt x="126" y="554"/>
                        <a:pt x="126" y="546"/>
                        <a:pt x="134" y="546"/>
                      </a:cubicBezTo>
                      <a:cubicBezTo>
                        <a:pt x="142" y="538"/>
                        <a:pt x="142" y="530"/>
                        <a:pt x="150" y="514"/>
                      </a:cubicBezTo>
                      <a:cubicBezTo>
                        <a:pt x="150" y="506"/>
                        <a:pt x="150" y="498"/>
                        <a:pt x="158" y="491"/>
                      </a:cubicBezTo>
                      <a:cubicBezTo>
                        <a:pt x="158" y="467"/>
                        <a:pt x="166" y="467"/>
                        <a:pt x="174" y="459"/>
                      </a:cubicBezTo>
                      <a:cubicBezTo>
                        <a:pt x="174" y="459"/>
                        <a:pt x="182" y="451"/>
                        <a:pt x="190" y="435"/>
                      </a:cubicBezTo>
                      <a:cubicBezTo>
                        <a:pt x="198" y="419"/>
                        <a:pt x="198" y="404"/>
                        <a:pt x="190" y="396"/>
                      </a:cubicBezTo>
                      <a:cubicBezTo>
                        <a:pt x="190" y="388"/>
                        <a:pt x="190" y="372"/>
                        <a:pt x="190" y="364"/>
                      </a:cubicBezTo>
                      <a:cubicBezTo>
                        <a:pt x="198" y="340"/>
                        <a:pt x="221" y="324"/>
                        <a:pt x="237" y="309"/>
                      </a:cubicBezTo>
                      <a:cubicBezTo>
                        <a:pt x="237" y="301"/>
                        <a:pt x="245" y="301"/>
                        <a:pt x="245" y="301"/>
                      </a:cubicBezTo>
                      <a:cubicBezTo>
                        <a:pt x="253" y="293"/>
                        <a:pt x="253" y="285"/>
                        <a:pt x="253" y="277"/>
                      </a:cubicBezTo>
                      <a:cubicBezTo>
                        <a:pt x="253" y="277"/>
                        <a:pt x="253" y="261"/>
                        <a:pt x="253" y="246"/>
                      </a:cubicBezTo>
                      <a:cubicBezTo>
                        <a:pt x="253" y="222"/>
                        <a:pt x="261" y="214"/>
                        <a:pt x="269" y="206"/>
                      </a:cubicBezTo>
                      <a:cubicBezTo>
                        <a:pt x="277" y="198"/>
                        <a:pt x="277" y="190"/>
                        <a:pt x="285" y="182"/>
                      </a:cubicBezTo>
                      <a:cubicBezTo>
                        <a:pt x="292" y="158"/>
                        <a:pt x="285" y="151"/>
                        <a:pt x="269" y="143"/>
                      </a:cubicBezTo>
                      <a:cubicBezTo>
                        <a:pt x="261" y="135"/>
                        <a:pt x="253" y="119"/>
                        <a:pt x="245" y="103"/>
                      </a:cubicBezTo>
                      <a:cubicBezTo>
                        <a:pt x="237" y="95"/>
                        <a:pt x="229" y="80"/>
                        <a:pt x="237" y="71"/>
                      </a:cubicBezTo>
                      <a:cubicBezTo>
                        <a:pt x="245" y="48"/>
                        <a:pt x="269" y="32"/>
                        <a:pt x="269" y="32"/>
                      </a:cubicBezTo>
                      <a:lnTo>
                        <a:pt x="269" y="32"/>
                      </a:lnTo>
                      <a:cubicBezTo>
                        <a:pt x="269" y="32"/>
                        <a:pt x="285" y="32"/>
                        <a:pt x="292" y="24"/>
                      </a:cubicBezTo>
                      <a:cubicBezTo>
                        <a:pt x="300" y="16"/>
                        <a:pt x="300" y="8"/>
                        <a:pt x="300" y="8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300" y="0"/>
                        <a:pt x="300" y="0"/>
                        <a:pt x="300" y="0"/>
                      </a:cubicBezTo>
                      <a:cubicBezTo>
                        <a:pt x="538" y="71"/>
                        <a:pt x="1035" y="206"/>
                        <a:pt x="1684" y="364"/>
                      </a:cubicBezTo>
                      <a:cubicBezTo>
                        <a:pt x="1692" y="364"/>
                        <a:pt x="1692" y="364"/>
                        <a:pt x="1692" y="364"/>
                      </a:cubicBezTo>
                      <a:cubicBezTo>
                        <a:pt x="1336" y="1755"/>
                        <a:pt x="1336" y="1755"/>
                        <a:pt x="1336" y="1755"/>
                      </a:cubicBezTo>
                      <a:cubicBezTo>
                        <a:pt x="2933" y="4039"/>
                        <a:pt x="2933" y="4039"/>
                        <a:pt x="2933" y="4039"/>
                      </a:cubicBezTo>
                      <a:lnTo>
                        <a:pt x="2933" y="4039"/>
                      </a:lnTo>
                      <a:cubicBezTo>
                        <a:pt x="2933" y="4055"/>
                        <a:pt x="2933" y="4063"/>
                        <a:pt x="2925" y="4086"/>
                      </a:cubicBezTo>
                      <a:cubicBezTo>
                        <a:pt x="2925" y="4110"/>
                        <a:pt x="2933" y="4118"/>
                        <a:pt x="2941" y="4134"/>
                      </a:cubicBezTo>
                      <a:cubicBezTo>
                        <a:pt x="2949" y="4142"/>
                        <a:pt x="2957" y="4150"/>
                        <a:pt x="2965" y="4158"/>
                      </a:cubicBezTo>
                      <a:cubicBezTo>
                        <a:pt x="2965" y="4166"/>
                        <a:pt x="2972" y="4173"/>
                        <a:pt x="2972" y="4181"/>
                      </a:cubicBezTo>
                      <a:cubicBezTo>
                        <a:pt x="2980" y="4197"/>
                        <a:pt x="2988" y="4213"/>
                        <a:pt x="2996" y="4237"/>
                      </a:cubicBezTo>
                      <a:cubicBezTo>
                        <a:pt x="2996" y="4260"/>
                        <a:pt x="3020" y="4324"/>
                        <a:pt x="3044" y="4339"/>
                      </a:cubicBezTo>
                      <a:cubicBezTo>
                        <a:pt x="3051" y="4339"/>
                        <a:pt x="3059" y="4355"/>
                        <a:pt x="3067" y="4371"/>
                      </a:cubicBezTo>
                      <a:cubicBezTo>
                        <a:pt x="3067" y="4387"/>
                        <a:pt x="3067" y="4403"/>
                        <a:pt x="3059" y="4411"/>
                      </a:cubicBezTo>
                      <a:cubicBezTo>
                        <a:pt x="3051" y="4426"/>
                        <a:pt x="3044" y="4426"/>
                        <a:pt x="3036" y="4434"/>
                      </a:cubicBezTo>
                      <a:cubicBezTo>
                        <a:pt x="3028" y="4434"/>
                        <a:pt x="3012" y="4442"/>
                        <a:pt x="2996" y="4450"/>
                      </a:cubicBezTo>
                      <a:cubicBezTo>
                        <a:pt x="2980" y="4458"/>
                        <a:pt x="2965" y="4474"/>
                        <a:pt x="2957" y="4490"/>
                      </a:cubicBezTo>
                      <a:cubicBezTo>
                        <a:pt x="2941" y="4506"/>
                        <a:pt x="2925" y="4521"/>
                        <a:pt x="2901" y="4529"/>
                      </a:cubicBezTo>
                      <a:cubicBezTo>
                        <a:pt x="2878" y="4545"/>
                        <a:pt x="2885" y="4561"/>
                        <a:pt x="2885" y="4584"/>
                      </a:cubicBezTo>
                      <a:cubicBezTo>
                        <a:pt x="2885" y="4592"/>
                        <a:pt x="2893" y="4608"/>
                        <a:pt x="2885" y="4632"/>
                      </a:cubicBezTo>
                      <a:cubicBezTo>
                        <a:pt x="2878" y="4671"/>
                        <a:pt x="2846" y="4719"/>
                        <a:pt x="2830" y="4750"/>
                      </a:cubicBezTo>
                      <a:cubicBezTo>
                        <a:pt x="2822" y="4758"/>
                        <a:pt x="2822" y="4758"/>
                        <a:pt x="2814" y="4766"/>
                      </a:cubicBezTo>
                      <a:cubicBezTo>
                        <a:pt x="2807" y="4774"/>
                        <a:pt x="2798" y="4782"/>
                        <a:pt x="2783" y="4782"/>
                      </a:cubicBezTo>
                      <a:cubicBezTo>
                        <a:pt x="2775" y="4790"/>
                        <a:pt x="2759" y="4790"/>
                        <a:pt x="2751" y="4806"/>
                      </a:cubicBezTo>
                      <a:cubicBezTo>
                        <a:pt x="2743" y="4822"/>
                        <a:pt x="2751" y="4830"/>
                        <a:pt x="2751" y="4845"/>
                      </a:cubicBezTo>
                      <a:cubicBezTo>
                        <a:pt x="2759" y="4853"/>
                        <a:pt x="2767" y="4869"/>
                        <a:pt x="2767" y="4885"/>
                      </a:cubicBezTo>
                      <a:cubicBezTo>
                        <a:pt x="2767" y="4908"/>
                        <a:pt x="2759" y="4908"/>
                        <a:pt x="2751" y="4917"/>
                      </a:cubicBezTo>
                      <a:cubicBezTo>
                        <a:pt x="2751" y="4917"/>
                        <a:pt x="2751" y="4917"/>
                        <a:pt x="2751" y="4932"/>
                      </a:cubicBezTo>
                      <a:cubicBezTo>
                        <a:pt x="2751" y="4940"/>
                        <a:pt x="2751" y="4948"/>
                        <a:pt x="2767" y="4948"/>
                      </a:cubicBezTo>
                      <a:cubicBezTo>
                        <a:pt x="2775" y="4948"/>
                        <a:pt x="2783" y="4948"/>
                        <a:pt x="2798" y="4956"/>
                      </a:cubicBezTo>
                      <a:cubicBezTo>
                        <a:pt x="2822" y="4964"/>
                        <a:pt x="2822" y="4972"/>
                        <a:pt x="2830" y="5011"/>
                      </a:cubicBezTo>
                      <a:lnTo>
                        <a:pt x="2830" y="5011"/>
                      </a:lnTo>
                      <a:cubicBezTo>
                        <a:pt x="2830" y="5035"/>
                        <a:pt x="2822" y="5043"/>
                        <a:pt x="2807" y="5043"/>
                      </a:cubicBezTo>
                      <a:cubicBezTo>
                        <a:pt x="2798" y="5051"/>
                        <a:pt x="2798" y="5051"/>
                        <a:pt x="2791" y="5067"/>
                      </a:cubicBezTo>
                      <a:cubicBezTo>
                        <a:pt x="2791" y="5098"/>
                        <a:pt x="2743" y="5098"/>
                        <a:pt x="2727" y="5098"/>
                      </a:cubicBezTo>
                      <a:cubicBezTo>
                        <a:pt x="2719" y="5098"/>
                        <a:pt x="2704" y="5106"/>
                        <a:pt x="2688" y="5106"/>
                      </a:cubicBezTo>
                      <a:close/>
                      <a:moveTo>
                        <a:pt x="1723" y="4980"/>
                      </a:moveTo>
                      <a:lnTo>
                        <a:pt x="1723" y="4980"/>
                      </a:lnTo>
                      <a:cubicBezTo>
                        <a:pt x="1881" y="4996"/>
                        <a:pt x="2632" y="5083"/>
                        <a:pt x="2672" y="5083"/>
                      </a:cubicBezTo>
                      <a:cubicBezTo>
                        <a:pt x="2680" y="5090"/>
                        <a:pt x="2688" y="5090"/>
                        <a:pt x="2696" y="5098"/>
                      </a:cubicBezTo>
                      <a:cubicBezTo>
                        <a:pt x="2704" y="5098"/>
                        <a:pt x="2719" y="5090"/>
                        <a:pt x="2727" y="5090"/>
                      </a:cubicBezTo>
                      <a:cubicBezTo>
                        <a:pt x="2743" y="5090"/>
                        <a:pt x="2783" y="5090"/>
                        <a:pt x="2783" y="5067"/>
                      </a:cubicBezTo>
                      <a:cubicBezTo>
                        <a:pt x="2791" y="5051"/>
                        <a:pt x="2798" y="5043"/>
                        <a:pt x="2807" y="5043"/>
                      </a:cubicBezTo>
                      <a:cubicBezTo>
                        <a:pt x="2814" y="5035"/>
                        <a:pt x="2822" y="5035"/>
                        <a:pt x="2822" y="5011"/>
                      </a:cubicBezTo>
                      <a:lnTo>
                        <a:pt x="2822" y="5011"/>
                      </a:lnTo>
                      <a:cubicBezTo>
                        <a:pt x="2814" y="4972"/>
                        <a:pt x="2814" y="4972"/>
                        <a:pt x="2791" y="4956"/>
                      </a:cubicBezTo>
                      <a:cubicBezTo>
                        <a:pt x="2783" y="4956"/>
                        <a:pt x="2775" y="4956"/>
                        <a:pt x="2767" y="4956"/>
                      </a:cubicBezTo>
                      <a:cubicBezTo>
                        <a:pt x="2751" y="4948"/>
                        <a:pt x="2743" y="4948"/>
                        <a:pt x="2743" y="4932"/>
                      </a:cubicBezTo>
                      <a:cubicBezTo>
                        <a:pt x="2743" y="4917"/>
                        <a:pt x="2743" y="4917"/>
                        <a:pt x="2751" y="4908"/>
                      </a:cubicBezTo>
                      <a:cubicBezTo>
                        <a:pt x="2751" y="4908"/>
                        <a:pt x="2759" y="4901"/>
                        <a:pt x="2759" y="4885"/>
                      </a:cubicBezTo>
                      <a:cubicBezTo>
                        <a:pt x="2759" y="4869"/>
                        <a:pt x="2751" y="4861"/>
                        <a:pt x="2751" y="4845"/>
                      </a:cubicBezTo>
                      <a:cubicBezTo>
                        <a:pt x="2743" y="4830"/>
                        <a:pt x="2735" y="4822"/>
                        <a:pt x="2743" y="4806"/>
                      </a:cubicBezTo>
                      <a:cubicBezTo>
                        <a:pt x="2751" y="4782"/>
                        <a:pt x="2767" y="4782"/>
                        <a:pt x="2783" y="4774"/>
                      </a:cubicBezTo>
                      <a:cubicBezTo>
                        <a:pt x="2798" y="4774"/>
                        <a:pt x="2807" y="4766"/>
                        <a:pt x="2814" y="4758"/>
                      </a:cubicBezTo>
                      <a:cubicBezTo>
                        <a:pt x="2814" y="4758"/>
                        <a:pt x="2814" y="4750"/>
                        <a:pt x="2822" y="4743"/>
                      </a:cubicBezTo>
                      <a:cubicBezTo>
                        <a:pt x="2838" y="4711"/>
                        <a:pt x="2870" y="4664"/>
                        <a:pt x="2878" y="4632"/>
                      </a:cubicBezTo>
                      <a:cubicBezTo>
                        <a:pt x="2885" y="4608"/>
                        <a:pt x="2878" y="4600"/>
                        <a:pt x="2878" y="4584"/>
                      </a:cubicBezTo>
                      <a:cubicBezTo>
                        <a:pt x="2878" y="4561"/>
                        <a:pt x="2870" y="4537"/>
                        <a:pt x="2901" y="4521"/>
                      </a:cubicBezTo>
                      <a:cubicBezTo>
                        <a:pt x="2917" y="4513"/>
                        <a:pt x="2933" y="4497"/>
                        <a:pt x="2949" y="4482"/>
                      </a:cubicBezTo>
                      <a:cubicBezTo>
                        <a:pt x="2965" y="4466"/>
                        <a:pt x="2980" y="4450"/>
                        <a:pt x="2996" y="4442"/>
                      </a:cubicBezTo>
                      <a:cubicBezTo>
                        <a:pt x="3012" y="4434"/>
                        <a:pt x="3020" y="4426"/>
                        <a:pt x="3028" y="4426"/>
                      </a:cubicBezTo>
                      <a:cubicBezTo>
                        <a:pt x="3044" y="4418"/>
                        <a:pt x="3051" y="4418"/>
                        <a:pt x="3051" y="4411"/>
                      </a:cubicBezTo>
                      <a:cubicBezTo>
                        <a:pt x="3059" y="4403"/>
                        <a:pt x="3059" y="4387"/>
                        <a:pt x="3059" y="4371"/>
                      </a:cubicBezTo>
                      <a:cubicBezTo>
                        <a:pt x="3051" y="4355"/>
                        <a:pt x="3044" y="4347"/>
                        <a:pt x="3036" y="4339"/>
                      </a:cubicBezTo>
                      <a:cubicBezTo>
                        <a:pt x="3012" y="4331"/>
                        <a:pt x="2988" y="4260"/>
                        <a:pt x="2988" y="4237"/>
                      </a:cubicBezTo>
                      <a:cubicBezTo>
                        <a:pt x="2980" y="4213"/>
                        <a:pt x="2980" y="4205"/>
                        <a:pt x="2965" y="4181"/>
                      </a:cubicBezTo>
                      <a:cubicBezTo>
                        <a:pt x="2965" y="4181"/>
                        <a:pt x="2957" y="4173"/>
                        <a:pt x="2957" y="4166"/>
                      </a:cubicBezTo>
                      <a:cubicBezTo>
                        <a:pt x="2949" y="4150"/>
                        <a:pt x="2941" y="4142"/>
                        <a:pt x="2933" y="4134"/>
                      </a:cubicBezTo>
                      <a:cubicBezTo>
                        <a:pt x="2925" y="4126"/>
                        <a:pt x="2917" y="4110"/>
                        <a:pt x="2917" y="4078"/>
                      </a:cubicBezTo>
                      <a:cubicBezTo>
                        <a:pt x="2925" y="4063"/>
                        <a:pt x="2925" y="4055"/>
                        <a:pt x="2925" y="4039"/>
                      </a:cubicBezTo>
                      <a:cubicBezTo>
                        <a:pt x="1328" y="1763"/>
                        <a:pt x="1328" y="1763"/>
                        <a:pt x="1328" y="1763"/>
                      </a:cubicBezTo>
                      <a:cubicBezTo>
                        <a:pt x="1684" y="372"/>
                        <a:pt x="1684" y="372"/>
                        <a:pt x="1684" y="372"/>
                      </a:cubicBezTo>
                      <a:cubicBezTo>
                        <a:pt x="1035" y="214"/>
                        <a:pt x="545" y="80"/>
                        <a:pt x="308" y="8"/>
                      </a:cubicBezTo>
                      <a:cubicBezTo>
                        <a:pt x="308" y="16"/>
                        <a:pt x="300" y="24"/>
                        <a:pt x="300" y="24"/>
                      </a:cubicBezTo>
                      <a:cubicBezTo>
                        <a:pt x="292" y="40"/>
                        <a:pt x="277" y="40"/>
                        <a:pt x="269" y="40"/>
                      </a:cubicBezTo>
                      <a:cubicBezTo>
                        <a:pt x="269" y="40"/>
                        <a:pt x="245" y="56"/>
                        <a:pt x="245" y="71"/>
                      </a:cubicBezTo>
                      <a:cubicBezTo>
                        <a:pt x="237" y="80"/>
                        <a:pt x="245" y="95"/>
                        <a:pt x="245" y="103"/>
                      </a:cubicBezTo>
                      <a:cubicBezTo>
                        <a:pt x="261" y="119"/>
                        <a:pt x="269" y="127"/>
                        <a:pt x="277" y="135"/>
                      </a:cubicBezTo>
                      <a:cubicBezTo>
                        <a:pt x="292" y="151"/>
                        <a:pt x="300" y="158"/>
                        <a:pt x="292" y="182"/>
                      </a:cubicBezTo>
                      <a:cubicBezTo>
                        <a:pt x="285" y="198"/>
                        <a:pt x="277" y="206"/>
                        <a:pt x="277" y="214"/>
                      </a:cubicBezTo>
                      <a:cubicBezTo>
                        <a:pt x="269" y="222"/>
                        <a:pt x="261" y="230"/>
                        <a:pt x="261" y="246"/>
                      </a:cubicBezTo>
                      <a:cubicBezTo>
                        <a:pt x="261" y="261"/>
                        <a:pt x="261" y="269"/>
                        <a:pt x="261" y="277"/>
                      </a:cubicBezTo>
                      <a:cubicBezTo>
                        <a:pt x="261" y="285"/>
                        <a:pt x="261" y="293"/>
                        <a:pt x="253" y="309"/>
                      </a:cubicBezTo>
                      <a:cubicBezTo>
                        <a:pt x="245" y="309"/>
                        <a:pt x="245" y="309"/>
                        <a:pt x="237" y="309"/>
                      </a:cubicBezTo>
                      <a:cubicBezTo>
                        <a:pt x="221" y="324"/>
                        <a:pt x="205" y="340"/>
                        <a:pt x="198" y="364"/>
                      </a:cubicBezTo>
                      <a:cubicBezTo>
                        <a:pt x="198" y="372"/>
                        <a:pt x="198" y="380"/>
                        <a:pt x="198" y="396"/>
                      </a:cubicBezTo>
                      <a:cubicBezTo>
                        <a:pt x="205" y="404"/>
                        <a:pt x="205" y="419"/>
                        <a:pt x="198" y="443"/>
                      </a:cubicBezTo>
                      <a:cubicBezTo>
                        <a:pt x="182" y="459"/>
                        <a:pt x="182" y="459"/>
                        <a:pt x="174" y="467"/>
                      </a:cubicBezTo>
                      <a:cubicBezTo>
                        <a:pt x="174" y="467"/>
                        <a:pt x="166" y="475"/>
                        <a:pt x="166" y="491"/>
                      </a:cubicBezTo>
                      <a:cubicBezTo>
                        <a:pt x="158" y="498"/>
                        <a:pt x="158" y="506"/>
                        <a:pt x="158" y="514"/>
                      </a:cubicBezTo>
                      <a:cubicBezTo>
                        <a:pt x="150" y="530"/>
                        <a:pt x="150" y="538"/>
                        <a:pt x="142" y="554"/>
                      </a:cubicBezTo>
                      <a:cubicBezTo>
                        <a:pt x="134" y="554"/>
                        <a:pt x="126" y="562"/>
                        <a:pt x="119" y="570"/>
                      </a:cubicBezTo>
                      <a:cubicBezTo>
                        <a:pt x="103" y="586"/>
                        <a:pt x="71" y="609"/>
                        <a:pt x="63" y="633"/>
                      </a:cubicBezTo>
                      <a:cubicBezTo>
                        <a:pt x="55" y="641"/>
                        <a:pt x="47" y="641"/>
                        <a:pt x="47" y="649"/>
                      </a:cubicBezTo>
                      <a:cubicBezTo>
                        <a:pt x="32" y="657"/>
                        <a:pt x="24" y="664"/>
                        <a:pt x="24" y="696"/>
                      </a:cubicBezTo>
                      <a:cubicBezTo>
                        <a:pt x="24" y="712"/>
                        <a:pt x="16" y="728"/>
                        <a:pt x="16" y="736"/>
                      </a:cubicBezTo>
                      <a:cubicBezTo>
                        <a:pt x="8" y="759"/>
                        <a:pt x="8" y="767"/>
                        <a:pt x="24" y="799"/>
                      </a:cubicBezTo>
                      <a:cubicBezTo>
                        <a:pt x="39" y="815"/>
                        <a:pt x="47" y="823"/>
                        <a:pt x="55" y="830"/>
                      </a:cubicBezTo>
                      <a:cubicBezTo>
                        <a:pt x="63" y="838"/>
                        <a:pt x="71" y="846"/>
                        <a:pt x="79" y="878"/>
                      </a:cubicBezTo>
                      <a:cubicBezTo>
                        <a:pt x="87" y="894"/>
                        <a:pt x="87" y="910"/>
                        <a:pt x="95" y="917"/>
                      </a:cubicBezTo>
                      <a:cubicBezTo>
                        <a:pt x="103" y="933"/>
                        <a:pt x="111" y="941"/>
                        <a:pt x="119" y="973"/>
                      </a:cubicBezTo>
                      <a:cubicBezTo>
                        <a:pt x="126" y="1028"/>
                        <a:pt x="126" y="1036"/>
                        <a:pt x="126" y="1060"/>
                      </a:cubicBezTo>
                      <a:cubicBezTo>
                        <a:pt x="126" y="1068"/>
                        <a:pt x="126" y="1076"/>
                        <a:pt x="126" y="1083"/>
                      </a:cubicBezTo>
                      <a:cubicBezTo>
                        <a:pt x="119" y="1099"/>
                        <a:pt x="126" y="1115"/>
                        <a:pt x="126" y="1123"/>
                      </a:cubicBezTo>
                      <a:cubicBezTo>
                        <a:pt x="134" y="1147"/>
                        <a:pt x="134" y="1163"/>
                        <a:pt x="111" y="1178"/>
                      </a:cubicBezTo>
                      <a:cubicBezTo>
                        <a:pt x="103" y="1186"/>
                        <a:pt x="95" y="1186"/>
                        <a:pt x="95" y="1194"/>
                      </a:cubicBezTo>
                      <a:cubicBezTo>
                        <a:pt x="79" y="1202"/>
                        <a:pt x="71" y="1210"/>
                        <a:pt x="79" y="1234"/>
                      </a:cubicBezTo>
                      <a:cubicBezTo>
                        <a:pt x="87" y="1241"/>
                        <a:pt x="87" y="1241"/>
                        <a:pt x="87" y="1241"/>
                      </a:cubicBezTo>
                      <a:cubicBezTo>
                        <a:pt x="95" y="1273"/>
                        <a:pt x="95" y="1281"/>
                        <a:pt x="79" y="1321"/>
                      </a:cubicBezTo>
                      <a:cubicBezTo>
                        <a:pt x="79" y="1328"/>
                        <a:pt x="79" y="1328"/>
                        <a:pt x="79" y="1328"/>
                      </a:cubicBezTo>
                      <a:cubicBezTo>
                        <a:pt x="63" y="1360"/>
                        <a:pt x="55" y="1384"/>
                        <a:pt x="63" y="1408"/>
                      </a:cubicBezTo>
                      <a:lnTo>
                        <a:pt x="63" y="1415"/>
                      </a:lnTo>
                      <a:cubicBezTo>
                        <a:pt x="55" y="1423"/>
                        <a:pt x="55" y="1423"/>
                        <a:pt x="47" y="1423"/>
                      </a:cubicBezTo>
                      <a:lnTo>
                        <a:pt x="47" y="1423"/>
                      </a:lnTo>
                      <a:cubicBezTo>
                        <a:pt x="47" y="1423"/>
                        <a:pt x="47" y="1439"/>
                        <a:pt x="71" y="1463"/>
                      </a:cubicBezTo>
                      <a:cubicBezTo>
                        <a:pt x="103" y="1510"/>
                        <a:pt x="103" y="1534"/>
                        <a:pt x="103" y="1550"/>
                      </a:cubicBezTo>
                      <a:cubicBezTo>
                        <a:pt x="103" y="1558"/>
                        <a:pt x="103" y="1566"/>
                        <a:pt x="111" y="1581"/>
                      </a:cubicBezTo>
                      <a:cubicBezTo>
                        <a:pt x="119" y="1589"/>
                        <a:pt x="126" y="1589"/>
                        <a:pt x="126" y="1597"/>
                      </a:cubicBezTo>
                      <a:cubicBezTo>
                        <a:pt x="142" y="1613"/>
                        <a:pt x="150" y="1621"/>
                        <a:pt x="158" y="1653"/>
                      </a:cubicBezTo>
                      <a:cubicBezTo>
                        <a:pt x="166" y="1684"/>
                        <a:pt x="174" y="1684"/>
                        <a:pt x="182" y="1692"/>
                      </a:cubicBezTo>
                      <a:cubicBezTo>
                        <a:pt x="182" y="1692"/>
                        <a:pt x="190" y="1700"/>
                        <a:pt x="198" y="1700"/>
                      </a:cubicBezTo>
                      <a:cubicBezTo>
                        <a:pt x="214" y="1716"/>
                        <a:pt x="214" y="1724"/>
                        <a:pt x="214" y="1740"/>
                      </a:cubicBezTo>
                      <a:cubicBezTo>
                        <a:pt x="214" y="1740"/>
                        <a:pt x="214" y="1747"/>
                        <a:pt x="214" y="1763"/>
                      </a:cubicBezTo>
                      <a:cubicBezTo>
                        <a:pt x="221" y="1787"/>
                        <a:pt x="221" y="1787"/>
                        <a:pt x="229" y="1787"/>
                      </a:cubicBezTo>
                      <a:cubicBezTo>
                        <a:pt x="237" y="1795"/>
                        <a:pt x="237" y="1803"/>
                        <a:pt x="237" y="1819"/>
                      </a:cubicBezTo>
                      <a:cubicBezTo>
                        <a:pt x="245" y="1850"/>
                        <a:pt x="237" y="1890"/>
                        <a:pt x="221" y="1905"/>
                      </a:cubicBezTo>
                      <a:lnTo>
                        <a:pt x="214" y="1905"/>
                      </a:lnTo>
                      <a:cubicBezTo>
                        <a:pt x="205" y="1914"/>
                        <a:pt x="190" y="1929"/>
                        <a:pt x="190" y="1937"/>
                      </a:cubicBezTo>
                      <a:cubicBezTo>
                        <a:pt x="190" y="1937"/>
                        <a:pt x="190" y="1937"/>
                        <a:pt x="205" y="1937"/>
                      </a:cubicBezTo>
                      <a:cubicBezTo>
                        <a:pt x="214" y="1937"/>
                        <a:pt x="221" y="1937"/>
                        <a:pt x="229" y="1937"/>
                      </a:cubicBezTo>
                      <a:cubicBezTo>
                        <a:pt x="237" y="1937"/>
                        <a:pt x="237" y="1937"/>
                        <a:pt x="245" y="1937"/>
                      </a:cubicBezTo>
                      <a:cubicBezTo>
                        <a:pt x="261" y="1937"/>
                        <a:pt x="269" y="1945"/>
                        <a:pt x="277" y="1977"/>
                      </a:cubicBezTo>
                      <a:cubicBezTo>
                        <a:pt x="300" y="2024"/>
                        <a:pt x="316" y="2056"/>
                        <a:pt x="332" y="2056"/>
                      </a:cubicBezTo>
                      <a:cubicBezTo>
                        <a:pt x="332" y="2064"/>
                        <a:pt x="340" y="2064"/>
                        <a:pt x="348" y="2064"/>
                      </a:cubicBezTo>
                      <a:cubicBezTo>
                        <a:pt x="356" y="2064"/>
                        <a:pt x="364" y="2064"/>
                        <a:pt x="364" y="2040"/>
                      </a:cubicBezTo>
                      <a:cubicBezTo>
                        <a:pt x="364" y="2032"/>
                        <a:pt x="364" y="2024"/>
                        <a:pt x="364" y="2024"/>
                      </a:cubicBezTo>
                      <a:cubicBezTo>
                        <a:pt x="364" y="2008"/>
                        <a:pt x="364" y="2000"/>
                        <a:pt x="372" y="1985"/>
                      </a:cubicBezTo>
                      <a:cubicBezTo>
                        <a:pt x="379" y="1969"/>
                        <a:pt x="379" y="1953"/>
                        <a:pt x="379" y="1945"/>
                      </a:cubicBezTo>
                      <a:cubicBezTo>
                        <a:pt x="379" y="1937"/>
                        <a:pt x="379" y="1921"/>
                        <a:pt x="395" y="1921"/>
                      </a:cubicBezTo>
                      <a:cubicBezTo>
                        <a:pt x="395" y="1921"/>
                        <a:pt x="395" y="1921"/>
                        <a:pt x="395" y="1929"/>
                      </a:cubicBezTo>
                      <a:cubicBezTo>
                        <a:pt x="419" y="1929"/>
                        <a:pt x="427" y="1937"/>
                        <a:pt x="451" y="1961"/>
                      </a:cubicBezTo>
                      <a:cubicBezTo>
                        <a:pt x="458" y="1969"/>
                        <a:pt x="458" y="1977"/>
                        <a:pt x="458" y="1985"/>
                      </a:cubicBezTo>
                      <a:cubicBezTo>
                        <a:pt x="451" y="2000"/>
                        <a:pt x="443" y="2008"/>
                        <a:pt x="427" y="2008"/>
                      </a:cubicBezTo>
                      <a:cubicBezTo>
                        <a:pt x="419" y="2008"/>
                        <a:pt x="411" y="2016"/>
                        <a:pt x="403" y="2016"/>
                      </a:cubicBezTo>
                      <a:cubicBezTo>
                        <a:pt x="403" y="2024"/>
                        <a:pt x="395" y="2032"/>
                        <a:pt x="403" y="2048"/>
                      </a:cubicBezTo>
                      <a:cubicBezTo>
                        <a:pt x="403" y="2048"/>
                        <a:pt x="403" y="2056"/>
                        <a:pt x="411" y="2056"/>
                      </a:cubicBezTo>
                      <a:cubicBezTo>
                        <a:pt x="419" y="2064"/>
                        <a:pt x="427" y="2064"/>
                        <a:pt x="427" y="2087"/>
                      </a:cubicBezTo>
                      <a:cubicBezTo>
                        <a:pt x="435" y="2095"/>
                        <a:pt x="435" y="2111"/>
                        <a:pt x="435" y="2127"/>
                      </a:cubicBezTo>
                      <a:cubicBezTo>
                        <a:pt x="443" y="2151"/>
                        <a:pt x="451" y="2174"/>
                        <a:pt x="451" y="2198"/>
                      </a:cubicBezTo>
                      <a:cubicBezTo>
                        <a:pt x="451" y="2206"/>
                        <a:pt x="458" y="2222"/>
                        <a:pt x="458" y="2230"/>
                      </a:cubicBezTo>
                      <a:cubicBezTo>
                        <a:pt x="466" y="2245"/>
                        <a:pt x="466" y="2253"/>
                        <a:pt x="458" y="2261"/>
                      </a:cubicBezTo>
                      <a:cubicBezTo>
                        <a:pt x="458" y="2269"/>
                        <a:pt x="458" y="2269"/>
                        <a:pt x="451" y="2269"/>
                      </a:cubicBezTo>
                      <a:cubicBezTo>
                        <a:pt x="443" y="2269"/>
                        <a:pt x="435" y="2269"/>
                        <a:pt x="435" y="2269"/>
                      </a:cubicBezTo>
                      <a:cubicBezTo>
                        <a:pt x="435" y="2277"/>
                        <a:pt x="435" y="2277"/>
                        <a:pt x="427" y="2277"/>
                      </a:cubicBezTo>
                      <a:cubicBezTo>
                        <a:pt x="419" y="2277"/>
                        <a:pt x="419" y="2269"/>
                        <a:pt x="395" y="2230"/>
                      </a:cubicBezTo>
                      <a:cubicBezTo>
                        <a:pt x="387" y="2206"/>
                        <a:pt x="379" y="2198"/>
                        <a:pt x="379" y="2182"/>
                      </a:cubicBezTo>
                      <a:cubicBezTo>
                        <a:pt x="364" y="2158"/>
                        <a:pt x="364" y="2158"/>
                        <a:pt x="348" y="2151"/>
                      </a:cubicBezTo>
                      <a:cubicBezTo>
                        <a:pt x="340" y="2143"/>
                        <a:pt x="340" y="2143"/>
                        <a:pt x="332" y="2143"/>
                      </a:cubicBezTo>
                      <a:cubicBezTo>
                        <a:pt x="332" y="2143"/>
                        <a:pt x="324" y="2143"/>
                        <a:pt x="324" y="2167"/>
                      </a:cubicBezTo>
                      <a:cubicBezTo>
                        <a:pt x="324" y="2182"/>
                        <a:pt x="332" y="2190"/>
                        <a:pt x="332" y="2198"/>
                      </a:cubicBezTo>
                      <a:cubicBezTo>
                        <a:pt x="332" y="2214"/>
                        <a:pt x="340" y="2230"/>
                        <a:pt x="332" y="2253"/>
                      </a:cubicBezTo>
                      <a:cubicBezTo>
                        <a:pt x="324" y="2269"/>
                        <a:pt x="316" y="2277"/>
                        <a:pt x="316" y="2285"/>
                      </a:cubicBezTo>
                      <a:cubicBezTo>
                        <a:pt x="308" y="2301"/>
                        <a:pt x="308" y="2301"/>
                        <a:pt x="308" y="2325"/>
                      </a:cubicBezTo>
                      <a:cubicBezTo>
                        <a:pt x="308" y="2340"/>
                        <a:pt x="308" y="2348"/>
                        <a:pt x="308" y="2356"/>
                      </a:cubicBezTo>
                      <a:cubicBezTo>
                        <a:pt x="308" y="2388"/>
                        <a:pt x="300" y="2411"/>
                        <a:pt x="324" y="2435"/>
                      </a:cubicBezTo>
                      <a:cubicBezTo>
                        <a:pt x="332" y="2451"/>
                        <a:pt x="340" y="2459"/>
                        <a:pt x="348" y="2459"/>
                      </a:cubicBezTo>
                      <a:cubicBezTo>
                        <a:pt x="356" y="2467"/>
                        <a:pt x="356" y="2467"/>
                        <a:pt x="379" y="2498"/>
                      </a:cubicBezTo>
                      <a:cubicBezTo>
                        <a:pt x="395" y="2514"/>
                        <a:pt x="395" y="2522"/>
                        <a:pt x="403" y="2522"/>
                      </a:cubicBezTo>
                      <a:cubicBezTo>
                        <a:pt x="403" y="2522"/>
                        <a:pt x="403" y="2522"/>
                        <a:pt x="411" y="2522"/>
                      </a:cubicBezTo>
                      <a:cubicBezTo>
                        <a:pt x="411" y="2522"/>
                        <a:pt x="411" y="2522"/>
                        <a:pt x="419" y="2522"/>
                      </a:cubicBezTo>
                      <a:cubicBezTo>
                        <a:pt x="427" y="2522"/>
                        <a:pt x="427" y="2522"/>
                        <a:pt x="435" y="2522"/>
                      </a:cubicBezTo>
                      <a:cubicBezTo>
                        <a:pt x="443" y="2522"/>
                        <a:pt x="451" y="2522"/>
                        <a:pt x="458" y="2522"/>
                      </a:cubicBezTo>
                      <a:cubicBezTo>
                        <a:pt x="466" y="2530"/>
                        <a:pt x="474" y="2530"/>
                        <a:pt x="482" y="2538"/>
                      </a:cubicBezTo>
                      <a:cubicBezTo>
                        <a:pt x="490" y="2546"/>
                        <a:pt x="482" y="2554"/>
                        <a:pt x="482" y="2578"/>
                      </a:cubicBezTo>
                      <a:cubicBezTo>
                        <a:pt x="482" y="2585"/>
                        <a:pt x="474" y="2593"/>
                        <a:pt x="474" y="2601"/>
                      </a:cubicBezTo>
                      <a:cubicBezTo>
                        <a:pt x="466" y="2641"/>
                        <a:pt x="466" y="2672"/>
                        <a:pt x="419" y="2672"/>
                      </a:cubicBezTo>
                      <a:cubicBezTo>
                        <a:pt x="411" y="2680"/>
                        <a:pt x="411" y="2680"/>
                        <a:pt x="403" y="2680"/>
                      </a:cubicBezTo>
                      <a:cubicBezTo>
                        <a:pt x="395" y="2680"/>
                        <a:pt x="395" y="2680"/>
                        <a:pt x="395" y="2680"/>
                      </a:cubicBezTo>
                      <a:lnTo>
                        <a:pt x="395" y="2680"/>
                      </a:lnTo>
                      <a:cubicBezTo>
                        <a:pt x="395" y="2688"/>
                        <a:pt x="395" y="2696"/>
                        <a:pt x="395" y="2712"/>
                      </a:cubicBezTo>
                      <a:cubicBezTo>
                        <a:pt x="387" y="2775"/>
                        <a:pt x="387" y="2846"/>
                        <a:pt x="403" y="2862"/>
                      </a:cubicBezTo>
                      <a:cubicBezTo>
                        <a:pt x="427" y="2886"/>
                        <a:pt x="435" y="2902"/>
                        <a:pt x="451" y="2933"/>
                      </a:cubicBezTo>
                      <a:cubicBezTo>
                        <a:pt x="466" y="2972"/>
                        <a:pt x="474" y="2996"/>
                        <a:pt x="490" y="2996"/>
                      </a:cubicBezTo>
                      <a:cubicBezTo>
                        <a:pt x="506" y="3003"/>
                        <a:pt x="506" y="3019"/>
                        <a:pt x="506" y="3043"/>
                      </a:cubicBezTo>
                      <a:cubicBezTo>
                        <a:pt x="506" y="3051"/>
                        <a:pt x="506" y="3059"/>
                        <a:pt x="506" y="3067"/>
                      </a:cubicBezTo>
                      <a:cubicBezTo>
                        <a:pt x="506" y="3098"/>
                        <a:pt x="514" y="3106"/>
                        <a:pt x="530" y="3114"/>
                      </a:cubicBezTo>
                      <a:cubicBezTo>
                        <a:pt x="538" y="3122"/>
                        <a:pt x="538" y="3130"/>
                        <a:pt x="538" y="3138"/>
                      </a:cubicBezTo>
                      <a:cubicBezTo>
                        <a:pt x="538" y="3146"/>
                        <a:pt x="538" y="3154"/>
                        <a:pt x="545" y="3169"/>
                      </a:cubicBezTo>
                      <a:cubicBezTo>
                        <a:pt x="553" y="3185"/>
                        <a:pt x="553" y="3185"/>
                        <a:pt x="553" y="3185"/>
                      </a:cubicBezTo>
                      <a:cubicBezTo>
                        <a:pt x="561" y="3193"/>
                        <a:pt x="561" y="3193"/>
                        <a:pt x="569" y="3209"/>
                      </a:cubicBezTo>
                      <a:cubicBezTo>
                        <a:pt x="569" y="3225"/>
                        <a:pt x="577" y="3233"/>
                        <a:pt x="577" y="3241"/>
                      </a:cubicBezTo>
                      <a:cubicBezTo>
                        <a:pt x="585" y="3264"/>
                        <a:pt x="593" y="3280"/>
                        <a:pt x="609" y="3296"/>
                      </a:cubicBezTo>
                      <a:cubicBezTo>
                        <a:pt x="632" y="3304"/>
                        <a:pt x="648" y="3320"/>
                        <a:pt x="656" y="3336"/>
                      </a:cubicBezTo>
                      <a:cubicBezTo>
                        <a:pt x="656" y="3343"/>
                        <a:pt x="656" y="3351"/>
                        <a:pt x="648" y="3359"/>
                      </a:cubicBezTo>
                      <a:cubicBezTo>
                        <a:pt x="632" y="3391"/>
                        <a:pt x="609" y="3422"/>
                        <a:pt x="632" y="3438"/>
                      </a:cubicBezTo>
                      <a:cubicBezTo>
                        <a:pt x="640" y="3438"/>
                        <a:pt x="648" y="3446"/>
                        <a:pt x="648" y="3446"/>
                      </a:cubicBezTo>
                      <a:cubicBezTo>
                        <a:pt x="672" y="3454"/>
                        <a:pt x="696" y="3470"/>
                        <a:pt x="688" y="3509"/>
                      </a:cubicBezTo>
                      <a:cubicBezTo>
                        <a:pt x="688" y="3533"/>
                        <a:pt x="680" y="3541"/>
                        <a:pt x="672" y="3549"/>
                      </a:cubicBezTo>
                      <a:cubicBezTo>
                        <a:pt x="664" y="3557"/>
                        <a:pt x="664" y="3557"/>
                        <a:pt x="664" y="3580"/>
                      </a:cubicBezTo>
                      <a:cubicBezTo>
                        <a:pt x="672" y="3604"/>
                        <a:pt x="664" y="3612"/>
                        <a:pt x="656" y="3628"/>
                      </a:cubicBezTo>
                      <a:cubicBezTo>
                        <a:pt x="648" y="3636"/>
                        <a:pt x="648" y="3644"/>
                        <a:pt x="648" y="3660"/>
                      </a:cubicBezTo>
                      <a:cubicBezTo>
                        <a:pt x="640" y="3675"/>
                        <a:pt x="640" y="3683"/>
                        <a:pt x="632" y="3691"/>
                      </a:cubicBezTo>
                      <a:cubicBezTo>
                        <a:pt x="632" y="3707"/>
                        <a:pt x="625" y="3715"/>
                        <a:pt x="640" y="3723"/>
                      </a:cubicBezTo>
                      <a:cubicBezTo>
                        <a:pt x="648" y="3731"/>
                        <a:pt x="648" y="3739"/>
                        <a:pt x="656" y="3739"/>
                      </a:cubicBezTo>
                      <a:cubicBezTo>
                        <a:pt x="664" y="3747"/>
                        <a:pt x="672" y="3754"/>
                        <a:pt x="680" y="3778"/>
                      </a:cubicBezTo>
                      <a:cubicBezTo>
                        <a:pt x="680" y="3810"/>
                        <a:pt x="696" y="3818"/>
                        <a:pt x="735" y="3818"/>
                      </a:cubicBezTo>
                      <a:cubicBezTo>
                        <a:pt x="783" y="3818"/>
                        <a:pt x="822" y="3818"/>
                        <a:pt x="846" y="3849"/>
                      </a:cubicBezTo>
                      <a:cubicBezTo>
                        <a:pt x="854" y="3873"/>
                        <a:pt x="909" y="3913"/>
                        <a:pt x="949" y="3913"/>
                      </a:cubicBezTo>
                      <a:cubicBezTo>
                        <a:pt x="957" y="3913"/>
                        <a:pt x="964" y="3913"/>
                        <a:pt x="964" y="3905"/>
                      </a:cubicBezTo>
                      <a:cubicBezTo>
                        <a:pt x="972" y="3905"/>
                        <a:pt x="980" y="3905"/>
                        <a:pt x="988" y="3905"/>
                      </a:cubicBezTo>
                      <a:cubicBezTo>
                        <a:pt x="1020" y="3905"/>
                        <a:pt x="1035" y="3920"/>
                        <a:pt x="1044" y="3936"/>
                      </a:cubicBezTo>
                      <a:cubicBezTo>
                        <a:pt x="1044" y="3944"/>
                        <a:pt x="1051" y="3944"/>
                        <a:pt x="1051" y="3944"/>
                      </a:cubicBezTo>
                      <a:cubicBezTo>
                        <a:pt x="1067" y="3960"/>
                        <a:pt x="1107" y="4007"/>
                        <a:pt x="1131" y="4063"/>
                      </a:cubicBezTo>
                      <a:cubicBezTo>
                        <a:pt x="1146" y="4102"/>
                        <a:pt x="1170" y="4110"/>
                        <a:pt x="1186" y="4118"/>
                      </a:cubicBezTo>
                      <a:cubicBezTo>
                        <a:pt x="1194" y="4118"/>
                        <a:pt x="1202" y="4126"/>
                        <a:pt x="1209" y="4126"/>
                      </a:cubicBezTo>
                      <a:cubicBezTo>
                        <a:pt x="1209" y="4126"/>
                        <a:pt x="1217" y="4134"/>
                        <a:pt x="1225" y="4134"/>
                      </a:cubicBezTo>
                      <a:cubicBezTo>
                        <a:pt x="1241" y="4150"/>
                        <a:pt x="1273" y="4173"/>
                        <a:pt x="1312" y="4173"/>
                      </a:cubicBezTo>
                      <a:cubicBezTo>
                        <a:pt x="1320" y="4173"/>
                        <a:pt x="1328" y="4173"/>
                        <a:pt x="1344" y="4166"/>
                      </a:cubicBezTo>
                      <a:cubicBezTo>
                        <a:pt x="1368" y="4166"/>
                        <a:pt x="1384" y="4166"/>
                        <a:pt x="1391" y="4173"/>
                      </a:cubicBezTo>
                      <a:cubicBezTo>
                        <a:pt x="1399" y="4181"/>
                        <a:pt x="1391" y="4197"/>
                        <a:pt x="1391" y="4213"/>
                      </a:cubicBezTo>
                      <a:cubicBezTo>
                        <a:pt x="1391" y="4221"/>
                        <a:pt x="1391" y="4221"/>
                        <a:pt x="1391" y="4229"/>
                      </a:cubicBezTo>
                      <a:cubicBezTo>
                        <a:pt x="1391" y="4229"/>
                        <a:pt x="1391" y="4237"/>
                        <a:pt x="1391" y="4253"/>
                      </a:cubicBezTo>
                      <a:cubicBezTo>
                        <a:pt x="1391" y="4276"/>
                        <a:pt x="1384" y="4324"/>
                        <a:pt x="1407" y="4339"/>
                      </a:cubicBezTo>
                      <a:cubicBezTo>
                        <a:pt x="1407" y="4347"/>
                        <a:pt x="1415" y="4347"/>
                        <a:pt x="1431" y="4347"/>
                      </a:cubicBezTo>
                      <a:cubicBezTo>
                        <a:pt x="1439" y="4347"/>
                        <a:pt x="1447" y="4347"/>
                        <a:pt x="1462" y="4347"/>
                      </a:cubicBezTo>
                      <a:cubicBezTo>
                        <a:pt x="1470" y="4339"/>
                        <a:pt x="1478" y="4339"/>
                        <a:pt x="1486" y="4339"/>
                      </a:cubicBezTo>
                      <a:cubicBezTo>
                        <a:pt x="1502" y="4339"/>
                        <a:pt x="1518" y="4347"/>
                        <a:pt x="1526" y="4379"/>
                      </a:cubicBezTo>
                      <a:cubicBezTo>
                        <a:pt x="1542" y="4426"/>
                        <a:pt x="1613" y="4521"/>
                        <a:pt x="1676" y="4561"/>
                      </a:cubicBezTo>
                      <a:cubicBezTo>
                        <a:pt x="1731" y="4600"/>
                        <a:pt x="1747" y="4814"/>
                        <a:pt x="1739" y="4885"/>
                      </a:cubicBezTo>
                      <a:cubicBezTo>
                        <a:pt x="1739" y="4908"/>
                        <a:pt x="1731" y="4924"/>
                        <a:pt x="1723" y="4940"/>
                      </a:cubicBezTo>
                      <a:cubicBezTo>
                        <a:pt x="1723" y="4956"/>
                        <a:pt x="1715" y="4964"/>
                        <a:pt x="1723" y="4980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4" name="Freeform 283">
                  <a:extLst>
                    <a:ext uri="{FF2B5EF4-FFF2-40B4-BE49-F238E27FC236}">
                      <a16:creationId xmlns:a16="http://schemas.microsoft.com/office/drawing/2014/main" id="{19E05021-9E94-6C44-B01D-C253B4F026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84262" y="6372451"/>
                  <a:ext cx="1331281" cy="1551616"/>
                </a:xfrm>
                <a:custGeom>
                  <a:avLst/>
                  <a:gdLst>
                    <a:gd name="T0" fmla="*/ 752 w 2531"/>
                    <a:gd name="T1" fmla="*/ 8 h 2949"/>
                    <a:gd name="T2" fmla="*/ 752 w 2531"/>
                    <a:gd name="T3" fmla="*/ 8 h 2949"/>
                    <a:gd name="T4" fmla="*/ 752 w 2531"/>
                    <a:gd name="T5" fmla="*/ 0 h 2949"/>
                    <a:gd name="T6" fmla="*/ 736 w 2531"/>
                    <a:gd name="T7" fmla="*/ 0 h 2949"/>
                    <a:gd name="T8" fmla="*/ 736 w 2531"/>
                    <a:gd name="T9" fmla="*/ 0 h 2949"/>
                    <a:gd name="T10" fmla="*/ 712 w 2531"/>
                    <a:gd name="T11" fmla="*/ 0 h 2949"/>
                    <a:gd name="T12" fmla="*/ 712 w 2531"/>
                    <a:gd name="T13" fmla="*/ 0 h 2949"/>
                    <a:gd name="T14" fmla="*/ 704 w 2531"/>
                    <a:gd name="T15" fmla="*/ 0 h 2949"/>
                    <a:gd name="T16" fmla="*/ 704 w 2531"/>
                    <a:gd name="T17" fmla="*/ 0 h 2949"/>
                    <a:gd name="T18" fmla="*/ 704 w 2531"/>
                    <a:gd name="T19" fmla="*/ 0 h 2949"/>
                    <a:gd name="T20" fmla="*/ 601 w 2531"/>
                    <a:gd name="T21" fmla="*/ 403 h 2949"/>
                    <a:gd name="T22" fmla="*/ 546 w 2531"/>
                    <a:gd name="T23" fmla="*/ 458 h 2949"/>
                    <a:gd name="T24" fmla="*/ 506 w 2531"/>
                    <a:gd name="T25" fmla="*/ 411 h 2949"/>
                    <a:gd name="T26" fmla="*/ 396 w 2531"/>
                    <a:gd name="T27" fmla="*/ 379 h 2949"/>
                    <a:gd name="T28" fmla="*/ 372 w 2531"/>
                    <a:gd name="T29" fmla="*/ 443 h 2949"/>
                    <a:gd name="T30" fmla="*/ 372 w 2531"/>
                    <a:gd name="T31" fmla="*/ 506 h 2949"/>
                    <a:gd name="T32" fmla="*/ 364 w 2531"/>
                    <a:gd name="T33" fmla="*/ 593 h 2949"/>
                    <a:gd name="T34" fmla="*/ 333 w 2531"/>
                    <a:gd name="T35" fmla="*/ 680 h 2949"/>
                    <a:gd name="T36" fmla="*/ 356 w 2531"/>
                    <a:gd name="T37" fmla="*/ 798 h 2949"/>
                    <a:gd name="T38" fmla="*/ 309 w 2531"/>
                    <a:gd name="T39" fmla="*/ 861 h 2949"/>
                    <a:gd name="T40" fmla="*/ 293 w 2531"/>
                    <a:gd name="T41" fmla="*/ 956 h 2949"/>
                    <a:gd name="T42" fmla="*/ 325 w 2531"/>
                    <a:gd name="T43" fmla="*/ 1028 h 2949"/>
                    <a:gd name="T44" fmla="*/ 364 w 2531"/>
                    <a:gd name="T45" fmla="*/ 1107 h 2949"/>
                    <a:gd name="T46" fmla="*/ 412 w 2531"/>
                    <a:gd name="T47" fmla="*/ 1209 h 2949"/>
                    <a:gd name="T48" fmla="*/ 427 w 2531"/>
                    <a:gd name="T49" fmla="*/ 1281 h 2949"/>
                    <a:gd name="T50" fmla="*/ 364 w 2531"/>
                    <a:gd name="T51" fmla="*/ 1312 h 2949"/>
                    <a:gd name="T52" fmla="*/ 269 w 2531"/>
                    <a:gd name="T53" fmla="*/ 1399 h 2949"/>
                    <a:gd name="T54" fmla="*/ 253 w 2531"/>
                    <a:gd name="T55" fmla="*/ 1502 h 2949"/>
                    <a:gd name="T56" fmla="*/ 182 w 2531"/>
                    <a:gd name="T57" fmla="*/ 1636 h 2949"/>
                    <a:gd name="T58" fmla="*/ 119 w 2531"/>
                    <a:gd name="T59" fmla="*/ 1676 h 2949"/>
                    <a:gd name="T60" fmla="*/ 135 w 2531"/>
                    <a:gd name="T61" fmla="*/ 1755 h 2949"/>
                    <a:gd name="T62" fmla="*/ 119 w 2531"/>
                    <a:gd name="T63" fmla="*/ 1802 h 2949"/>
                    <a:gd name="T64" fmla="*/ 166 w 2531"/>
                    <a:gd name="T65" fmla="*/ 1826 h 2949"/>
                    <a:gd name="T66" fmla="*/ 198 w 2531"/>
                    <a:gd name="T67" fmla="*/ 1881 h 2949"/>
                    <a:gd name="T68" fmla="*/ 159 w 2531"/>
                    <a:gd name="T69" fmla="*/ 1937 h 2949"/>
                    <a:gd name="T70" fmla="*/ 103 w 2531"/>
                    <a:gd name="T71" fmla="*/ 1968 h 2949"/>
                    <a:gd name="T72" fmla="*/ 64 w 2531"/>
                    <a:gd name="T73" fmla="*/ 1968 h 2949"/>
                    <a:gd name="T74" fmla="*/ 32 w 2531"/>
                    <a:gd name="T75" fmla="*/ 2016 h 2949"/>
                    <a:gd name="T76" fmla="*/ 48 w 2531"/>
                    <a:gd name="T77" fmla="*/ 2071 h 2949"/>
                    <a:gd name="T78" fmla="*/ 1423 w 2531"/>
                    <a:gd name="T79" fmla="*/ 2854 h 2949"/>
                    <a:gd name="T80" fmla="*/ 1684 w 2531"/>
                    <a:gd name="T81" fmla="*/ 2885 h 2949"/>
                    <a:gd name="T82" fmla="*/ 2190 w 2531"/>
                    <a:gd name="T83" fmla="*/ 2948 h 2949"/>
                    <a:gd name="T84" fmla="*/ 2530 w 2531"/>
                    <a:gd name="T85" fmla="*/ 284 h 2949"/>
                    <a:gd name="T86" fmla="*/ 752 w 2531"/>
                    <a:gd name="T87" fmla="*/ 8 h 29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531" h="2949">
                      <a:moveTo>
                        <a:pt x="752" y="8"/>
                      </a:moveTo>
                      <a:lnTo>
                        <a:pt x="752" y="8"/>
                      </a:lnTo>
                      <a:cubicBezTo>
                        <a:pt x="752" y="0"/>
                        <a:pt x="752" y="0"/>
                        <a:pt x="752" y="0"/>
                      </a:cubicBezTo>
                      <a:cubicBezTo>
                        <a:pt x="744" y="0"/>
                        <a:pt x="736" y="0"/>
                        <a:pt x="736" y="0"/>
                      </a:cubicBezTo>
                      <a:lnTo>
                        <a:pt x="736" y="0"/>
                      </a:lnTo>
                      <a:cubicBezTo>
                        <a:pt x="720" y="0"/>
                        <a:pt x="720" y="0"/>
                        <a:pt x="712" y="0"/>
                      </a:cubicBezTo>
                      <a:lnTo>
                        <a:pt x="712" y="0"/>
                      </a:lnTo>
                      <a:cubicBezTo>
                        <a:pt x="704" y="0"/>
                        <a:pt x="704" y="0"/>
                        <a:pt x="704" y="0"/>
                      </a:cubicBezTo>
                      <a:lnTo>
                        <a:pt x="704" y="0"/>
                      </a:lnTo>
                      <a:lnTo>
                        <a:pt x="704" y="0"/>
                      </a:lnTo>
                      <a:cubicBezTo>
                        <a:pt x="704" y="16"/>
                        <a:pt x="617" y="371"/>
                        <a:pt x="601" y="403"/>
                      </a:cubicBezTo>
                      <a:cubicBezTo>
                        <a:pt x="593" y="435"/>
                        <a:pt x="586" y="435"/>
                        <a:pt x="546" y="458"/>
                      </a:cubicBezTo>
                      <a:cubicBezTo>
                        <a:pt x="506" y="482"/>
                        <a:pt x="522" y="443"/>
                        <a:pt x="506" y="411"/>
                      </a:cubicBezTo>
                      <a:cubicBezTo>
                        <a:pt x="483" y="371"/>
                        <a:pt x="459" y="371"/>
                        <a:pt x="396" y="379"/>
                      </a:cubicBezTo>
                      <a:cubicBezTo>
                        <a:pt x="340" y="379"/>
                        <a:pt x="364" y="411"/>
                        <a:pt x="372" y="443"/>
                      </a:cubicBezTo>
                      <a:cubicBezTo>
                        <a:pt x="380" y="474"/>
                        <a:pt x="380" y="490"/>
                        <a:pt x="372" y="506"/>
                      </a:cubicBezTo>
                      <a:cubicBezTo>
                        <a:pt x="356" y="522"/>
                        <a:pt x="356" y="545"/>
                        <a:pt x="364" y="593"/>
                      </a:cubicBezTo>
                      <a:cubicBezTo>
                        <a:pt x="372" y="640"/>
                        <a:pt x="333" y="632"/>
                        <a:pt x="333" y="680"/>
                      </a:cubicBezTo>
                      <a:cubicBezTo>
                        <a:pt x="333" y="735"/>
                        <a:pt x="348" y="743"/>
                        <a:pt x="356" y="798"/>
                      </a:cubicBezTo>
                      <a:cubicBezTo>
                        <a:pt x="356" y="854"/>
                        <a:pt x="333" y="838"/>
                        <a:pt x="309" y="861"/>
                      </a:cubicBezTo>
                      <a:cubicBezTo>
                        <a:pt x="285" y="885"/>
                        <a:pt x="309" y="909"/>
                        <a:pt x="293" y="956"/>
                      </a:cubicBezTo>
                      <a:cubicBezTo>
                        <a:pt x="285" y="996"/>
                        <a:pt x="309" y="996"/>
                        <a:pt x="325" y="1028"/>
                      </a:cubicBezTo>
                      <a:cubicBezTo>
                        <a:pt x="348" y="1067"/>
                        <a:pt x="356" y="1083"/>
                        <a:pt x="364" y="1107"/>
                      </a:cubicBezTo>
                      <a:cubicBezTo>
                        <a:pt x="364" y="1130"/>
                        <a:pt x="388" y="1194"/>
                        <a:pt x="412" y="1209"/>
                      </a:cubicBezTo>
                      <a:cubicBezTo>
                        <a:pt x="435" y="1225"/>
                        <a:pt x="443" y="1257"/>
                        <a:pt x="427" y="1281"/>
                      </a:cubicBezTo>
                      <a:cubicBezTo>
                        <a:pt x="419" y="1304"/>
                        <a:pt x="404" y="1296"/>
                        <a:pt x="364" y="1312"/>
                      </a:cubicBezTo>
                      <a:cubicBezTo>
                        <a:pt x="333" y="1336"/>
                        <a:pt x="309" y="1376"/>
                        <a:pt x="269" y="1399"/>
                      </a:cubicBezTo>
                      <a:cubicBezTo>
                        <a:pt x="230" y="1423"/>
                        <a:pt x="261" y="1454"/>
                        <a:pt x="253" y="1502"/>
                      </a:cubicBezTo>
                      <a:cubicBezTo>
                        <a:pt x="246" y="1549"/>
                        <a:pt x="198" y="1613"/>
                        <a:pt x="182" y="1636"/>
                      </a:cubicBezTo>
                      <a:cubicBezTo>
                        <a:pt x="175" y="1652"/>
                        <a:pt x="135" y="1644"/>
                        <a:pt x="119" y="1676"/>
                      </a:cubicBezTo>
                      <a:cubicBezTo>
                        <a:pt x="103" y="1707"/>
                        <a:pt x="135" y="1715"/>
                        <a:pt x="135" y="1755"/>
                      </a:cubicBezTo>
                      <a:cubicBezTo>
                        <a:pt x="127" y="1794"/>
                        <a:pt x="119" y="1771"/>
                        <a:pt x="119" y="1802"/>
                      </a:cubicBezTo>
                      <a:cubicBezTo>
                        <a:pt x="111" y="1826"/>
                        <a:pt x="143" y="1810"/>
                        <a:pt x="166" y="1826"/>
                      </a:cubicBezTo>
                      <a:cubicBezTo>
                        <a:pt x="190" y="1842"/>
                        <a:pt x="190" y="1842"/>
                        <a:pt x="198" y="1881"/>
                      </a:cubicBezTo>
                      <a:cubicBezTo>
                        <a:pt x="198" y="1921"/>
                        <a:pt x="159" y="1905"/>
                        <a:pt x="159" y="1937"/>
                      </a:cubicBezTo>
                      <a:cubicBezTo>
                        <a:pt x="159" y="1960"/>
                        <a:pt x="119" y="1968"/>
                        <a:pt x="103" y="1968"/>
                      </a:cubicBezTo>
                      <a:cubicBezTo>
                        <a:pt x="87" y="1968"/>
                        <a:pt x="72" y="1968"/>
                        <a:pt x="64" y="1968"/>
                      </a:cubicBezTo>
                      <a:cubicBezTo>
                        <a:pt x="64" y="1984"/>
                        <a:pt x="48" y="2000"/>
                        <a:pt x="32" y="2016"/>
                      </a:cubicBezTo>
                      <a:cubicBezTo>
                        <a:pt x="0" y="2031"/>
                        <a:pt x="48" y="2071"/>
                        <a:pt x="48" y="2071"/>
                      </a:cubicBezTo>
                      <a:cubicBezTo>
                        <a:pt x="1423" y="2854"/>
                        <a:pt x="1423" y="2854"/>
                        <a:pt x="1423" y="2854"/>
                      </a:cubicBezTo>
                      <a:cubicBezTo>
                        <a:pt x="1423" y="2854"/>
                        <a:pt x="1629" y="2870"/>
                        <a:pt x="1684" y="2885"/>
                      </a:cubicBezTo>
                      <a:cubicBezTo>
                        <a:pt x="1716" y="2901"/>
                        <a:pt x="1969" y="2925"/>
                        <a:pt x="2190" y="2948"/>
                      </a:cubicBezTo>
                      <a:cubicBezTo>
                        <a:pt x="2530" y="284"/>
                        <a:pt x="2530" y="284"/>
                        <a:pt x="2530" y="284"/>
                      </a:cubicBezTo>
                      <a:cubicBezTo>
                        <a:pt x="1526" y="166"/>
                        <a:pt x="918" y="39"/>
                        <a:pt x="752" y="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5" name="Freeform 284">
                  <a:extLst>
                    <a:ext uri="{FF2B5EF4-FFF2-40B4-BE49-F238E27FC236}">
                      <a16:creationId xmlns:a16="http://schemas.microsoft.com/office/drawing/2014/main" id="{3B706777-E63E-9D4C-81FA-7E965B21F8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493540" y="6367813"/>
                  <a:ext cx="1326643" cy="1556255"/>
                </a:xfrm>
                <a:custGeom>
                  <a:avLst/>
                  <a:gdLst>
                    <a:gd name="T0" fmla="*/ 2174 w 2523"/>
                    <a:gd name="T1" fmla="*/ 2956 h 2957"/>
                    <a:gd name="T2" fmla="*/ 1407 w 2523"/>
                    <a:gd name="T3" fmla="*/ 2862 h 2957"/>
                    <a:gd name="T4" fmla="*/ 0 w 2523"/>
                    <a:gd name="T5" fmla="*/ 2039 h 2957"/>
                    <a:gd name="T6" fmla="*/ 40 w 2523"/>
                    <a:gd name="T7" fmla="*/ 1976 h 2957"/>
                    <a:gd name="T8" fmla="*/ 143 w 2523"/>
                    <a:gd name="T9" fmla="*/ 1945 h 2957"/>
                    <a:gd name="T10" fmla="*/ 174 w 2523"/>
                    <a:gd name="T11" fmla="*/ 1889 h 2957"/>
                    <a:gd name="T12" fmla="*/ 95 w 2523"/>
                    <a:gd name="T13" fmla="*/ 1810 h 2957"/>
                    <a:gd name="T14" fmla="*/ 103 w 2523"/>
                    <a:gd name="T15" fmla="*/ 1723 h 2957"/>
                    <a:gd name="T16" fmla="*/ 166 w 2523"/>
                    <a:gd name="T17" fmla="*/ 1636 h 2957"/>
                    <a:gd name="T18" fmla="*/ 230 w 2523"/>
                    <a:gd name="T19" fmla="*/ 1462 h 2957"/>
                    <a:gd name="T20" fmla="*/ 348 w 2523"/>
                    <a:gd name="T21" fmla="*/ 1320 h 2957"/>
                    <a:gd name="T22" fmla="*/ 411 w 2523"/>
                    <a:gd name="T23" fmla="*/ 1249 h 2957"/>
                    <a:gd name="T24" fmla="*/ 317 w 2523"/>
                    <a:gd name="T25" fmla="*/ 1059 h 2957"/>
                    <a:gd name="T26" fmla="*/ 277 w 2523"/>
                    <a:gd name="T27" fmla="*/ 956 h 2957"/>
                    <a:gd name="T28" fmla="*/ 317 w 2523"/>
                    <a:gd name="T29" fmla="*/ 854 h 2957"/>
                    <a:gd name="T30" fmla="*/ 309 w 2523"/>
                    <a:gd name="T31" fmla="*/ 688 h 2957"/>
                    <a:gd name="T32" fmla="*/ 356 w 2523"/>
                    <a:gd name="T33" fmla="*/ 514 h 2957"/>
                    <a:gd name="T34" fmla="*/ 348 w 2523"/>
                    <a:gd name="T35" fmla="*/ 435 h 2957"/>
                    <a:gd name="T36" fmla="*/ 419 w 2523"/>
                    <a:gd name="T37" fmla="*/ 379 h 2957"/>
                    <a:gd name="T38" fmla="*/ 514 w 2523"/>
                    <a:gd name="T39" fmla="*/ 466 h 2957"/>
                    <a:gd name="T40" fmla="*/ 585 w 2523"/>
                    <a:gd name="T41" fmla="*/ 411 h 2957"/>
                    <a:gd name="T42" fmla="*/ 688 w 2523"/>
                    <a:gd name="T43" fmla="*/ 0 h 2957"/>
                    <a:gd name="T44" fmla="*/ 720 w 2523"/>
                    <a:gd name="T45" fmla="*/ 8 h 2957"/>
                    <a:gd name="T46" fmla="*/ 736 w 2523"/>
                    <a:gd name="T47" fmla="*/ 8 h 2957"/>
                    <a:gd name="T48" fmla="*/ 2522 w 2523"/>
                    <a:gd name="T49" fmla="*/ 292 h 2957"/>
                    <a:gd name="T50" fmla="*/ 1407 w 2523"/>
                    <a:gd name="T51" fmla="*/ 2854 h 2957"/>
                    <a:gd name="T52" fmla="*/ 1993 w 2523"/>
                    <a:gd name="T53" fmla="*/ 2933 h 2957"/>
                    <a:gd name="T54" fmla="*/ 807 w 2523"/>
                    <a:gd name="T55" fmla="*/ 32 h 2957"/>
                    <a:gd name="T56" fmla="*/ 712 w 2523"/>
                    <a:gd name="T57" fmla="*/ 16 h 2957"/>
                    <a:gd name="T58" fmla="*/ 688 w 2523"/>
                    <a:gd name="T59" fmla="*/ 8 h 2957"/>
                    <a:gd name="T60" fmla="*/ 530 w 2523"/>
                    <a:gd name="T61" fmla="*/ 466 h 2957"/>
                    <a:gd name="T62" fmla="*/ 483 w 2523"/>
                    <a:gd name="T63" fmla="*/ 419 h 2957"/>
                    <a:gd name="T64" fmla="*/ 348 w 2523"/>
                    <a:gd name="T65" fmla="*/ 403 h 2957"/>
                    <a:gd name="T66" fmla="*/ 356 w 2523"/>
                    <a:gd name="T67" fmla="*/ 458 h 2957"/>
                    <a:gd name="T68" fmla="*/ 332 w 2523"/>
                    <a:gd name="T69" fmla="*/ 648 h 2957"/>
                    <a:gd name="T70" fmla="*/ 340 w 2523"/>
                    <a:gd name="T71" fmla="*/ 806 h 2957"/>
                    <a:gd name="T72" fmla="*/ 285 w 2523"/>
                    <a:gd name="T73" fmla="*/ 917 h 2957"/>
                    <a:gd name="T74" fmla="*/ 317 w 2523"/>
                    <a:gd name="T75" fmla="*/ 1036 h 2957"/>
                    <a:gd name="T76" fmla="*/ 396 w 2523"/>
                    <a:gd name="T77" fmla="*/ 1217 h 2957"/>
                    <a:gd name="T78" fmla="*/ 388 w 2523"/>
                    <a:gd name="T79" fmla="*/ 1312 h 2957"/>
                    <a:gd name="T80" fmla="*/ 253 w 2523"/>
                    <a:gd name="T81" fmla="*/ 1407 h 2957"/>
                    <a:gd name="T82" fmla="*/ 182 w 2523"/>
                    <a:gd name="T83" fmla="*/ 1628 h 2957"/>
                    <a:gd name="T84" fmla="*/ 103 w 2523"/>
                    <a:gd name="T85" fmla="*/ 1684 h 2957"/>
                    <a:gd name="T86" fmla="*/ 111 w 2523"/>
                    <a:gd name="T87" fmla="*/ 1795 h 2957"/>
                    <a:gd name="T88" fmla="*/ 150 w 2523"/>
                    <a:gd name="T89" fmla="*/ 1834 h 2957"/>
                    <a:gd name="T90" fmla="*/ 166 w 2523"/>
                    <a:gd name="T91" fmla="*/ 1921 h 2957"/>
                    <a:gd name="T92" fmla="*/ 48 w 2523"/>
                    <a:gd name="T93" fmla="*/ 1984 h 2957"/>
                    <a:gd name="T94" fmla="*/ 32 w 2523"/>
                    <a:gd name="T95" fmla="*/ 2071 h 29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3" h="2957">
                      <a:moveTo>
                        <a:pt x="2174" y="2956"/>
                      </a:moveTo>
                      <a:lnTo>
                        <a:pt x="2174" y="2956"/>
                      </a:lnTo>
                      <a:lnTo>
                        <a:pt x="2174" y="2956"/>
                      </a:lnTo>
                      <a:cubicBezTo>
                        <a:pt x="2111" y="2949"/>
                        <a:pt x="2056" y="2941"/>
                        <a:pt x="1993" y="2941"/>
                      </a:cubicBezTo>
                      <a:cubicBezTo>
                        <a:pt x="1826" y="2925"/>
                        <a:pt x="1692" y="2909"/>
                        <a:pt x="1668" y="2901"/>
                      </a:cubicBezTo>
                      <a:cubicBezTo>
                        <a:pt x="1613" y="2885"/>
                        <a:pt x="1407" y="2862"/>
                        <a:pt x="1407" y="2862"/>
                      </a:cubicBezTo>
                      <a:lnTo>
                        <a:pt x="1407" y="2862"/>
                      </a:lnTo>
                      <a:cubicBezTo>
                        <a:pt x="32" y="2079"/>
                        <a:pt x="32" y="2079"/>
                        <a:pt x="32" y="2079"/>
                      </a:cubicBezTo>
                      <a:cubicBezTo>
                        <a:pt x="24" y="2079"/>
                        <a:pt x="0" y="2055"/>
                        <a:pt x="0" y="2039"/>
                      </a:cubicBezTo>
                      <a:cubicBezTo>
                        <a:pt x="0" y="2032"/>
                        <a:pt x="8" y="2024"/>
                        <a:pt x="16" y="2016"/>
                      </a:cubicBezTo>
                      <a:cubicBezTo>
                        <a:pt x="32" y="2000"/>
                        <a:pt x="48" y="1992"/>
                        <a:pt x="40" y="1984"/>
                      </a:cubicBezTo>
                      <a:cubicBezTo>
                        <a:pt x="40" y="1976"/>
                        <a:pt x="40" y="1976"/>
                        <a:pt x="40" y="1976"/>
                      </a:cubicBezTo>
                      <a:lnTo>
                        <a:pt x="40" y="1976"/>
                      </a:lnTo>
                      <a:cubicBezTo>
                        <a:pt x="56" y="1976"/>
                        <a:pt x="71" y="1968"/>
                        <a:pt x="87" y="1968"/>
                      </a:cubicBezTo>
                      <a:cubicBezTo>
                        <a:pt x="95" y="1968"/>
                        <a:pt x="135" y="1968"/>
                        <a:pt x="143" y="1945"/>
                      </a:cubicBezTo>
                      <a:cubicBezTo>
                        <a:pt x="143" y="1929"/>
                        <a:pt x="150" y="1921"/>
                        <a:pt x="159" y="1921"/>
                      </a:cubicBezTo>
                      <a:cubicBezTo>
                        <a:pt x="166" y="1913"/>
                        <a:pt x="174" y="1913"/>
                        <a:pt x="174" y="1889"/>
                      </a:cubicBezTo>
                      <a:lnTo>
                        <a:pt x="174" y="1889"/>
                      </a:lnTo>
                      <a:cubicBezTo>
                        <a:pt x="174" y="1850"/>
                        <a:pt x="166" y="1850"/>
                        <a:pt x="150" y="1834"/>
                      </a:cubicBezTo>
                      <a:cubicBezTo>
                        <a:pt x="135" y="1834"/>
                        <a:pt x="127" y="1834"/>
                        <a:pt x="119" y="1834"/>
                      </a:cubicBezTo>
                      <a:cubicBezTo>
                        <a:pt x="111" y="1826"/>
                        <a:pt x="95" y="1826"/>
                        <a:pt x="95" y="1810"/>
                      </a:cubicBezTo>
                      <a:cubicBezTo>
                        <a:pt x="95" y="1795"/>
                        <a:pt x="103" y="1795"/>
                        <a:pt x="103" y="1786"/>
                      </a:cubicBezTo>
                      <a:cubicBezTo>
                        <a:pt x="111" y="1786"/>
                        <a:pt x="111" y="1779"/>
                        <a:pt x="111" y="1763"/>
                      </a:cubicBezTo>
                      <a:cubicBezTo>
                        <a:pt x="111" y="1747"/>
                        <a:pt x="111" y="1739"/>
                        <a:pt x="103" y="1723"/>
                      </a:cubicBezTo>
                      <a:cubicBezTo>
                        <a:pt x="95" y="1708"/>
                        <a:pt x="87" y="1700"/>
                        <a:pt x="95" y="1684"/>
                      </a:cubicBezTo>
                      <a:cubicBezTo>
                        <a:pt x="111" y="1660"/>
                        <a:pt x="127" y="1660"/>
                        <a:pt x="135" y="1652"/>
                      </a:cubicBezTo>
                      <a:cubicBezTo>
                        <a:pt x="150" y="1652"/>
                        <a:pt x="159" y="1644"/>
                        <a:pt x="166" y="1636"/>
                      </a:cubicBezTo>
                      <a:cubicBezTo>
                        <a:pt x="166" y="1636"/>
                        <a:pt x="174" y="1628"/>
                        <a:pt x="174" y="1621"/>
                      </a:cubicBezTo>
                      <a:cubicBezTo>
                        <a:pt x="198" y="1589"/>
                        <a:pt x="230" y="1542"/>
                        <a:pt x="237" y="1510"/>
                      </a:cubicBezTo>
                      <a:cubicBezTo>
                        <a:pt x="237" y="1486"/>
                        <a:pt x="237" y="1478"/>
                        <a:pt x="230" y="1462"/>
                      </a:cubicBezTo>
                      <a:cubicBezTo>
                        <a:pt x="230" y="1439"/>
                        <a:pt x="230" y="1415"/>
                        <a:pt x="253" y="1399"/>
                      </a:cubicBezTo>
                      <a:cubicBezTo>
                        <a:pt x="277" y="1391"/>
                        <a:pt x="285" y="1375"/>
                        <a:pt x="301" y="1360"/>
                      </a:cubicBezTo>
                      <a:cubicBezTo>
                        <a:pt x="317" y="1344"/>
                        <a:pt x="332" y="1328"/>
                        <a:pt x="348" y="1320"/>
                      </a:cubicBezTo>
                      <a:cubicBezTo>
                        <a:pt x="364" y="1312"/>
                        <a:pt x="380" y="1304"/>
                        <a:pt x="388" y="1304"/>
                      </a:cubicBezTo>
                      <a:cubicBezTo>
                        <a:pt x="396" y="1296"/>
                        <a:pt x="403" y="1296"/>
                        <a:pt x="411" y="1289"/>
                      </a:cubicBezTo>
                      <a:cubicBezTo>
                        <a:pt x="411" y="1281"/>
                        <a:pt x="419" y="1265"/>
                        <a:pt x="411" y="1249"/>
                      </a:cubicBezTo>
                      <a:cubicBezTo>
                        <a:pt x="411" y="1233"/>
                        <a:pt x="403" y="1225"/>
                        <a:pt x="388" y="1217"/>
                      </a:cubicBezTo>
                      <a:cubicBezTo>
                        <a:pt x="364" y="1209"/>
                        <a:pt x="348" y="1138"/>
                        <a:pt x="340" y="1115"/>
                      </a:cubicBezTo>
                      <a:cubicBezTo>
                        <a:pt x="340" y="1091"/>
                        <a:pt x="332" y="1083"/>
                        <a:pt x="317" y="1059"/>
                      </a:cubicBezTo>
                      <a:cubicBezTo>
                        <a:pt x="317" y="1059"/>
                        <a:pt x="317" y="1051"/>
                        <a:pt x="309" y="1044"/>
                      </a:cubicBezTo>
                      <a:cubicBezTo>
                        <a:pt x="301" y="1028"/>
                        <a:pt x="293" y="1020"/>
                        <a:pt x="293" y="1012"/>
                      </a:cubicBezTo>
                      <a:cubicBezTo>
                        <a:pt x="277" y="1004"/>
                        <a:pt x="269" y="988"/>
                        <a:pt x="277" y="956"/>
                      </a:cubicBezTo>
                      <a:cubicBezTo>
                        <a:pt x="277" y="941"/>
                        <a:pt x="277" y="925"/>
                        <a:pt x="277" y="917"/>
                      </a:cubicBezTo>
                      <a:cubicBezTo>
                        <a:pt x="277" y="893"/>
                        <a:pt x="277" y="885"/>
                        <a:pt x="293" y="869"/>
                      </a:cubicBezTo>
                      <a:cubicBezTo>
                        <a:pt x="301" y="862"/>
                        <a:pt x="309" y="854"/>
                        <a:pt x="317" y="854"/>
                      </a:cubicBezTo>
                      <a:cubicBezTo>
                        <a:pt x="332" y="846"/>
                        <a:pt x="340" y="838"/>
                        <a:pt x="332" y="806"/>
                      </a:cubicBezTo>
                      <a:cubicBezTo>
                        <a:pt x="332" y="783"/>
                        <a:pt x="324" y="767"/>
                        <a:pt x="324" y="751"/>
                      </a:cubicBezTo>
                      <a:cubicBezTo>
                        <a:pt x="317" y="735"/>
                        <a:pt x="309" y="719"/>
                        <a:pt x="309" y="688"/>
                      </a:cubicBezTo>
                      <a:cubicBezTo>
                        <a:pt x="309" y="664"/>
                        <a:pt x="324" y="656"/>
                        <a:pt x="332" y="648"/>
                      </a:cubicBezTo>
                      <a:cubicBezTo>
                        <a:pt x="340" y="632"/>
                        <a:pt x="348" y="625"/>
                        <a:pt x="340" y="601"/>
                      </a:cubicBezTo>
                      <a:cubicBezTo>
                        <a:pt x="332" y="553"/>
                        <a:pt x="340" y="530"/>
                        <a:pt x="356" y="514"/>
                      </a:cubicBezTo>
                      <a:cubicBezTo>
                        <a:pt x="364" y="498"/>
                        <a:pt x="356" y="490"/>
                        <a:pt x="348" y="458"/>
                      </a:cubicBezTo>
                      <a:cubicBezTo>
                        <a:pt x="348" y="451"/>
                        <a:pt x="348" y="451"/>
                        <a:pt x="348" y="451"/>
                      </a:cubicBezTo>
                      <a:cubicBezTo>
                        <a:pt x="348" y="443"/>
                        <a:pt x="348" y="443"/>
                        <a:pt x="348" y="435"/>
                      </a:cubicBezTo>
                      <a:cubicBezTo>
                        <a:pt x="340" y="419"/>
                        <a:pt x="332" y="403"/>
                        <a:pt x="340" y="395"/>
                      </a:cubicBezTo>
                      <a:cubicBezTo>
                        <a:pt x="348" y="387"/>
                        <a:pt x="364" y="379"/>
                        <a:pt x="380" y="379"/>
                      </a:cubicBezTo>
                      <a:cubicBezTo>
                        <a:pt x="396" y="379"/>
                        <a:pt x="411" y="379"/>
                        <a:pt x="419" y="379"/>
                      </a:cubicBezTo>
                      <a:cubicBezTo>
                        <a:pt x="451" y="379"/>
                        <a:pt x="475" y="387"/>
                        <a:pt x="490" y="411"/>
                      </a:cubicBezTo>
                      <a:cubicBezTo>
                        <a:pt x="498" y="427"/>
                        <a:pt x="498" y="443"/>
                        <a:pt x="506" y="451"/>
                      </a:cubicBezTo>
                      <a:cubicBezTo>
                        <a:pt x="506" y="466"/>
                        <a:pt x="506" y="466"/>
                        <a:pt x="514" y="466"/>
                      </a:cubicBezTo>
                      <a:cubicBezTo>
                        <a:pt x="514" y="466"/>
                        <a:pt x="522" y="466"/>
                        <a:pt x="530" y="458"/>
                      </a:cubicBezTo>
                      <a:cubicBezTo>
                        <a:pt x="538" y="458"/>
                        <a:pt x="538" y="458"/>
                        <a:pt x="538" y="458"/>
                      </a:cubicBezTo>
                      <a:cubicBezTo>
                        <a:pt x="570" y="435"/>
                        <a:pt x="577" y="435"/>
                        <a:pt x="585" y="411"/>
                      </a:cubicBezTo>
                      <a:cubicBezTo>
                        <a:pt x="601" y="379"/>
                        <a:pt x="680" y="24"/>
                        <a:pt x="680" y="8"/>
                      </a:cubicBezTo>
                      <a:cubicBezTo>
                        <a:pt x="680" y="0"/>
                        <a:pt x="680" y="0"/>
                        <a:pt x="688" y="0"/>
                      </a:cubicBezTo>
                      <a:lnTo>
                        <a:pt x="688" y="0"/>
                      </a:lnTo>
                      <a:lnTo>
                        <a:pt x="696" y="0"/>
                      </a:lnTo>
                      <a:lnTo>
                        <a:pt x="696" y="0"/>
                      </a:lnTo>
                      <a:cubicBezTo>
                        <a:pt x="704" y="0"/>
                        <a:pt x="704" y="0"/>
                        <a:pt x="720" y="8"/>
                      </a:cubicBezTo>
                      <a:lnTo>
                        <a:pt x="720" y="8"/>
                      </a:lnTo>
                      <a:cubicBezTo>
                        <a:pt x="728" y="8"/>
                        <a:pt x="728" y="8"/>
                        <a:pt x="736" y="8"/>
                      </a:cubicBezTo>
                      <a:lnTo>
                        <a:pt x="736" y="8"/>
                      </a:lnTo>
                      <a:cubicBezTo>
                        <a:pt x="751" y="16"/>
                        <a:pt x="775" y="16"/>
                        <a:pt x="807" y="24"/>
                      </a:cubicBezTo>
                      <a:cubicBezTo>
                        <a:pt x="1052" y="71"/>
                        <a:pt x="1621" y="182"/>
                        <a:pt x="2514" y="292"/>
                      </a:cubicBezTo>
                      <a:cubicBezTo>
                        <a:pt x="2522" y="292"/>
                        <a:pt x="2522" y="292"/>
                        <a:pt x="2522" y="292"/>
                      </a:cubicBezTo>
                      <a:lnTo>
                        <a:pt x="2522" y="292"/>
                      </a:lnTo>
                      <a:cubicBezTo>
                        <a:pt x="2174" y="2956"/>
                        <a:pt x="2174" y="2956"/>
                        <a:pt x="2174" y="2956"/>
                      </a:cubicBezTo>
                      <a:lnTo>
                        <a:pt x="1407" y="2854"/>
                      </a:lnTo>
                      <a:lnTo>
                        <a:pt x="1407" y="2854"/>
                      </a:lnTo>
                      <a:cubicBezTo>
                        <a:pt x="1423" y="2862"/>
                        <a:pt x="1621" y="2878"/>
                        <a:pt x="1668" y="2893"/>
                      </a:cubicBezTo>
                      <a:cubicBezTo>
                        <a:pt x="1692" y="2901"/>
                        <a:pt x="1834" y="2917"/>
                        <a:pt x="1993" y="2933"/>
                      </a:cubicBezTo>
                      <a:cubicBezTo>
                        <a:pt x="2056" y="2941"/>
                        <a:pt x="2111" y="2941"/>
                        <a:pt x="2166" y="2949"/>
                      </a:cubicBezTo>
                      <a:cubicBezTo>
                        <a:pt x="2514" y="300"/>
                        <a:pt x="2514" y="300"/>
                        <a:pt x="2514" y="300"/>
                      </a:cubicBezTo>
                      <a:cubicBezTo>
                        <a:pt x="1613" y="190"/>
                        <a:pt x="1044" y="79"/>
                        <a:pt x="807" y="32"/>
                      </a:cubicBezTo>
                      <a:cubicBezTo>
                        <a:pt x="775" y="24"/>
                        <a:pt x="751" y="16"/>
                        <a:pt x="736" y="16"/>
                      </a:cubicBezTo>
                      <a:lnTo>
                        <a:pt x="736" y="16"/>
                      </a:lnTo>
                      <a:cubicBezTo>
                        <a:pt x="712" y="16"/>
                        <a:pt x="712" y="16"/>
                        <a:pt x="712" y="16"/>
                      </a:cubicBezTo>
                      <a:cubicBezTo>
                        <a:pt x="704" y="8"/>
                        <a:pt x="696" y="8"/>
                        <a:pt x="696" y="8"/>
                      </a:cubicBezTo>
                      <a:lnTo>
                        <a:pt x="696" y="8"/>
                      </a:lnTo>
                      <a:lnTo>
                        <a:pt x="688" y="8"/>
                      </a:lnTo>
                      <a:cubicBezTo>
                        <a:pt x="688" y="47"/>
                        <a:pt x="601" y="387"/>
                        <a:pt x="593" y="411"/>
                      </a:cubicBezTo>
                      <a:cubicBezTo>
                        <a:pt x="577" y="443"/>
                        <a:pt x="570" y="443"/>
                        <a:pt x="538" y="466"/>
                      </a:cubicBezTo>
                      <a:cubicBezTo>
                        <a:pt x="530" y="466"/>
                        <a:pt x="530" y="466"/>
                        <a:pt x="530" y="466"/>
                      </a:cubicBezTo>
                      <a:cubicBezTo>
                        <a:pt x="522" y="474"/>
                        <a:pt x="522" y="474"/>
                        <a:pt x="514" y="474"/>
                      </a:cubicBezTo>
                      <a:cubicBezTo>
                        <a:pt x="498" y="474"/>
                        <a:pt x="498" y="466"/>
                        <a:pt x="498" y="451"/>
                      </a:cubicBezTo>
                      <a:cubicBezTo>
                        <a:pt x="490" y="443"/>
                        <a:pt x="490" y="427"/>
                        <a:pt x="483" y="419"/>
                      </a:cubicBezTo>
                      <a:cubicBezTo>
                        <a:pt x="467" y="395"/>
                        <a:pt x="451" y="387"/>
                        <a:pt x="419" y="387"/>
                      </a:cubicBezTo>
                      <a:cubicBezTo>
                        <a:pt x="411" y="387"/>
                        <a:pt x="396" y="387"/>
                        <a:pt x="380" y="387"/>
                      </a:cubicBezTo>
                      <a:cubicBezTo>
                        <a:pt x="364" y="387"/>
                        <a:pt x="356" y="395"/>
                        <a:pt x="348" y="403"/>
                      </a:cubicBezTo>
                      <a:cubicBezTo>
                        <a:pt x="340" y="411"/>
                        <a:pt x="348" y="419"/>
                        <a:pt x="348" y="435"/>
                      </a:cubicBezTo>
                      <a:cubicBezTo>
                        <a:pt x="356" y="435"/>
                        <a:pt x="356" y="443"/>
                        <a:pt x="356" y="451"/>
                      </a:cubicBezTo>
                      <a:cubicBezTo>
                        <a:pt x="356" y="458"/>
                        <a:pt x="356" y="458"/>
                        <a:pt x="356" y="458"/>
                      </a:cubicBezTo>
                      <a:cubicBezTo>
                        <a:pt x="364" y="490"/>
                        <a:pt x="372" y="506"/>
                        <a:pt x="356" y="522"/>
                      </a:cubicBezTo>
                      <a:cubicBezTo>
                        <a:pt x="348" y="530"/>
                        <a:pt x="340" y="553"/>
                        <a:pt x="348" y="601"/>
                      </a:cubicBezTo>
                      <a:cubicBezTo>
                        <a:pt x="356" y="632"/>
                        <a:pt x="340" y="640"/>
                        <a:pt x="332" y="648"/>
                      </a:cubicBezTo>
                      <a:cubicBezTo>
                        <a:pt x="324" y="664"/>
                        <a:pt x="317" y="672"/>
                        <a:pt x="317" y="688"/>
                      </a:cubicBezTo>
                      <a:cubicBezTo>
                        <a:pt x="317" y="719"/>
                        <a:pt x="324" y="735"/>
                        <a:pt x="332" y="751"/>
                      </a:cubicBezTo>
                      <a:cubicBezTo>
                        <a:pt x="332" y="767"/>
                        <a:pt x="340" y="783"/>
                        <a:pt x="340" y="806"/>
                      </a:cubicBezTo>
                      <a:cubicBezTo>
                        <a:pt x="348" y="838"/>
                        <a:pt x="332" y="846"/>
                        <a:pt x="317" y="854"/>
                      </a:cubicBezTo>
                      <a:cubicBezTo>
                        <a:pt x="317" y="862"/>
                        <a:pt x="309" y="862"/>
                        <a:pt x="301" y="869"/>
                      </a:cubicBezTo>
                      <a:cubicBezTo>
                        <a:pt x="285" y="885"/>
                        <a:pt x="285" y="901"/>
                        <a:pt x="285" y="917"/>
                      </a:cubicBezTo>
                      <a:cubicBezTo>
                        <a:pt x="285" y="925"/>
                        <a:pt x="285" y="941"/>
                        <a:pt x="285" y="964"/>
                      </a:cubicBezTo>
                      <a:cubicBezTo>
                        <a:pt x="277" y="988"/>
                        <a:pt x="285" y="996"/>
                        <a:pt x="293" y="1012"/>
                      </a:cubicBezTo>
                      <a:cubicBezTo>
                        <a:pt x="301" y="1020"/>
                        <a:pt x="309" y="1028"/>
                        <a:pt x="317" y="1036"/>
                      </a:cubicBezTo>
                      <a:cubicBezTo>
                        <a:pt x="317" y="1044"/>
                        <a:pt x="324" y="1051"/>
                        <a:pt x="324" y="1059"/>
                      </a:cubicBezTo>
                      <a:cubicBezTo>
                        <a:pt x="340" y="1075"/>
                        <a:pt x="348" y="1091"/>
                        <a:pt x="348" y="1115"/>
                      </a:cubicBezTo>
                      <a:cubicBezTo>
                        <a:pt x="348" y="1138"/>
                        <a:pt x="372" y="1202"/>
                        <a:pt x="396" y="1217"/>
                      </a:cubicBezTo>
                      <a:cubicBezTo>
                        <a:pt x="403" y="1217"/>
                        <a:pt x="419" y="1233"/>
                        <a:pt x="419" y="1249"/>
                      </a:cubicBezTo>
                      <a:cubicBezTo>
                        <a:pt x="427" y="1265"/>
                        <a:pt x="419" y="1281"/>
                        <a:pt x="419" y="1289"/>
                      </a:cubicBezTo>
                      <a:cubicBezTo>
                        <a:pt x="411" y="1304"/>
                        <a:pt x="396" y="1304"/>
                        <a:pt x="388" y="1312"/>
                      </a:cubicBezTo>
                      <a:cubicBezTo>
                        <a:pt x="380" y="1312"/>
                        <a:pt x="364" y="1320"/>
                        <a:pt x="356" y="1328"/>
                      </a:cubicBezTo>
                      <a:cubicBezTo>
                        <a:pt x="332" y="1336"/>
                        <a:pt x="324" y="1352"/>
                        <a:pt x="309" y="1368"/>
                      </a:cubicBezTo>
                      <a:cubicBezTo>
                        <a:pt x="293" y="1384"/>
                        <a:pt x="277" y="1399"/>
                        <a:pt x="253" y="1407"/>
                      </a:cubicBezTo>
                      <a:cubicBezTo>
                        <a:pt x="237" y="1423"/>
                        <a:pt x="237" y="1439"/>
                        <a:pt x="237" y="1462"/>
                      </a:cubicBezTo>
                      <a:cubicBezTo>
                        <a:pt x="245" y="1470"/>
                        <a:pt x="245" y="1486"/>
                        <a:pt x="245" y="1510"/>
                      </a:cubicBezTo>
                      <a:cubicBezTo>
                        <a:pt x="237" y="1549"/>
                        <a:pt x="198" y="1597"/>
                        <a:pt x="182" y="1628"/>
                      </a:cubicBezTo>
                      <a:cubicBezTo>
                        <a:pt x="174" y="1636"/>
                        <a:pt x="174" y="1636"/>
                        <a:pt x="174" y="1644"/>
                      </a:cubicBezTo>
                      <a:cubicBezTo>
                        <a:pt x="166" y="1652"/>
                        <a:pt x="150" y="1660"/>
                        <a:pt x="143" y="1660"/>
                      </a:cubicBezTo>
                      <a:cubicBezTo>
                        <a:pt x="127" y="1668"/>
                        <a:pt x="111" y="1668"/>
                        <a:pt x="103" y="1684"/>
                      </a:cubicBezTo>
                      <a:cubicBezTo>
                        <a:pt x="95" y="1700"/>
                        <a:pt x="103" y="1708"/>
                        <a:pt x="111" y="1723"/>
                      </a:cubicBezTo>
                      <a:cubicBezTo>
                        <a:pt x="119" y="1731"/>
                        <a:pt x="119" y="1747"/>
                        <a:pt x="119" y="1763"/>
                      </a:cubicBezTo>
                      <a:cubicBezTo>
                        <a:pt x="119" y="1786"/>
                        <a:pt x="111" y="1786"/>
                        <a:pt x="111" y="1795"/>
                      </a:cubicBezTo>
                      <a:cubicBezTo>
                        <a:pt x="103" y="1795"/>
                        <a:pt x="103" y="1795"/>
                        <a:pt x="103" y="1810"/>
                      </a:cubicBezTo>
                      <a:cubicBezTo>
                        <a:pt x="103" y="1818"/>
                        <a:pt x="111" y="1826"/>
                        <a:pt x="119" y="1826"/>
                      </a:cubicBezTo>
                      <a:cubicBezTo>
                        <a:pt x="127" y="1826"/>
                        <a:pt x="143" y="1826"/>
                        <a:pt x="150" y="1834"/>
                      </a:cubicBezTo>
                      <a:cubicBezTo>
                        <a:pt x="174" y="1842"/>
                        <a:pt x="174" y="1850"/>
                        <a:pt x="182" y="1889"/>
                      </a:cubicBezTo>
                      <a:lnTo>
                        <a:pt x="182" y="1889"/>
                      </a:lnTo>
                      <a:cubicBezTo>
                        <a:pt x="182" y="1913"/>
                        <a:pt x="174" y="1921"/>
                        <a:pt x="166" y="1921"/>
                      </a:cubicBezTo>
                      <a:cubicBezTo>
                        <a:pt x="159" y="1929"/>
                        <a:pt x="150" y="1929"/>
                        <a:pt x="150" y="1945"/>
                      </a:cubicBezTo>
                      <a:cubicBezTo>
                        <a:pt x="143" y="1976"/>
                        <a:pt x="95" y="1976"/>
                        <a:pt x="87" y="1976"/>
                      </a:cubicBezTo>
                      <a:cubicBezTo>
                        <a:pt x="71" y="1976"/>
                        <a:pt x="64" y="1976"/>
                        <a:pt x="48" y="1984"/>
                      </a:cubicBezTo>
                      <a:cubicBezTo>
                        <a:pt x="56" y="1992"/>
                        <a:pt x="40" y="2008"/>
                        <a:pt x="16" y="2024"/>
                      </a:cubicBezTo>
                      <a:cubicBezTo>
                        <a:pt x="16" y="2032"/>
                        <a:pt x="8" y="2032"/>
                        <a:pt x="8" y="2039"/>
                      </a:cubicBezTo>
                      <a:cubicBezTo>
                        <a:pt x="8" y="2055"/>
                        <a:pt x="32" y="2071"/>
                        <a:pt x="32" y="2071"/>
                      </a:cubicBezTo>
                      <a:cubicBezTo>
                        <a:pt x="1407" y="2854"/>
                        <a:pt x="1407" y="2854"/>
                        <a:pt x="1407" y="2854"/>
                      </a:cubicBezTo>
                      <a:lnTo>
                        <a:pt x="2174" y="2956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6" name="Freeform 285">
                  <a:extLst>
                    <a:ext uri="{FF2B5EF4-FFF2-40B4-BE49-F238E27FC236}">
                      <a16:creationId xmlns:a16="http://schemas.microsoft.com/office/drawing/2014/main" id="{2E39B90B-D113-974A-8071-4B2CB5DF87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15544" y="5523585"/>
                  <a:ext cx="1435651" cy="1117905"/>
                </a:xfrm>
                <a:custGeom>
                  <a:avLst/>
                  <a:gdLst>
                    <a:gd name="T0" fmla="*/ 2720 w 2729"/>
                    <a:gd name="T1" fmla="*/ 269 h 2127"/>
                    <a:gd name="T2" fmla="*/ 2720 w 2729"/>
                    <a:gd name="T3" fmla="*/ 269 h 2127"/>
                    <a:gd name="T4" fmla="*/ 2649 w 2729"/>
                    <a:gd name="T5" fmla="*/ 222 h 2127"/>
                    <a:gd name="T6" fmla="*/ 245 w 2729"/>
                    <a:gd name="T7" fmla="*/ 0 h 2127"/>
                    <a:gd name="T8" fmla="*/ 0 w 2729"/>
                    <a:gd name="T9" fmla="*/ 1896 h 2127"/>
                    <a:gd name="T10" fmla="*/ 1890 w 2729"/>
                    <a:gd name="T11" fmla="*/ 2078 h 2127"/>
                    <a:gd name="T12" fmla="*/ 1898 w 2729"/>
                    <a:gd name="T13" fmla="*/ 2078 h 2127"/>
                    <a:gd name="T14" fmla="*/ 2253 w 2729"/>
                    <a:gd name="T15" fmla="*/ 2102 h 2127"/>
                    <a:gd name="T16" fmla="*/ 2625 w 2729"/>
                    <a:gd name="T17" fmla="*/ 2126 h 2127"/>
                    <a:gd name="T18" fmla="*/ 2720 w 2729"/>
                    <a:gd name="T19" fmla="*/ 269 h 2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29" h="2127">
                      <a:moveTo>
                        <a:pt x="2720" y="269"/>
                      </a:moveTo>
                      <a:lnTo>
                        <a:pt x="2720" y="269"/>
                      </a:lnTo>
                      <a:cubicBezTo>
                        <a:pt x="2712" y="206"/>
                        <a:pt x="2649" y="222"/>
                        <a:pt x="2649" y="222"/>
                      </a:cubicBezTo>
                      <a:cubicBezTo>
                        <a:pt x="2269" y="269"/>
                        <a:pt x="245" y="0"/>
                        <a:pt x="245" y="0"/>
                      </a:cubicBezTo>
                      <a:cubicBezTo>
                        <a:pt x="0" y="1896"/>
                        <a:pt x="0" y="1896"/>
                        <a:pt x="0" y="1896"/>
                      </a:cubicBezTo>
                      <a:cubicBezTo>
                        <a:pt x="522" y="1968"/>
                        <a:pt x="1155" y="2031"/>
                        <a:pt x="1890" y="2078"/>
                      </a:cubicBezTo>
                      <a:lnTo>
                        <a:pt x="1898" y="2078"/>
                      </a:lnTo>
                      <a:cubicBezTo>
                        <a:pt x="2016" y="2086"/>
                        <a:pt x="2135" y="2094"/>
                        <a:pt x="2253" y="2102"/>
                      </a:cubicBezTo>
                      <a:cubicBezTo>
                        <a:pt x="2380" y="2110"/>
                        <a:pt x="2498" y="2118"/>
                        <a:pt x="2625" y="2126"/>
                      </a:cubicBezTo>
                      <a:cubicBezTo>
                        <a:pt x="2664" y="1493"/>
                        <a:pt x="2728" y="324"/>
                        <a:pt x="2720" y="26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7" name="Freeform 286">
                  <a:extLst>
                    <a:ext uri="{FF2B5EF4-FFF2-40B4-BE49-F238E27FC236}">
                      <a16:creationId xmlns:a16="http://schemas.microsoft.com/office/drawing/2014/main" id="{1A75CF9A-1541-D348-9721-5F924C6B44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15544" y="5523585"/>
                  <a:ext cx="1440290" cy="1117905"/>
                </a:xfrm>
                <a:custGeom>
                  <a:avLst/>
                  <a:gdLst>
                    <a:gd name="T0" fmla="*/ 2633 w 2737"/>
                    <a:gd name="T1" fmla="*/ 2126 h 2127"/>
                    <a:gd name="T2" fmla="*/ 2633 w 2737"/>
                    <a:gd name="T3" fmla="*/ 2126 h 2127"/>
                    <a:gd name="T4" fmla="*/ 2625 w 2737"/>
                    <a:gd name="T5" fmla="*/ 2126 h 2127"/>
                    <a:gd name="T6" fmla="*/ 2253 w 2737"/>
                    <a:gd name="T7" fmla="*/ 2110 h 2127"/>
                    <a:gd name="T8" fmla="*/ 1898 w 2737"/>
                    <a:gd name="T9" fmla="*/ 2086 h 2127"/>
                    <a:gd name="T10" fmla="*/ 1890 w 2737"/>
                    <a:gd name="T11" fmla="*/ 2086 h 2127"/>
                    <a:gd name="T12" fmla="*/ 0 w 2737"/>
                    <a:gd name="T13" fmla="*/ 1904 h 2127"/>
                    <a:gd name="T14" fmla="*/ 0 w 2737"/>
                    <a:gd name="T15" fmla="*/ 1904 h 2127"/>
                    <a:gd name="T16" fmla="*/ 0 w 2737"/>
                    <a:gd name="T17" fmla="*/ 1896 h 2127"/>
                    <a:gd name="T18" fmla="*/ 245 w 2737"/>
                    <a:gd name="T19" fmla="*/ 0 h 2127"/>
                    <a:gd name="T20" fmla="*/ 245 w 2737"/>
                    <a:gd name="T21" fmla="*/ 0 h 2127"/>
                    <a:gd name="T22" fmla="*/ 2514 w 2737"/>
                    <a:gd name="T23" fmla="*/ 222 h 2127"/>
                    <a:gd name="T24" fmla="*/ 2649 w 2737"/>
                    <a:gd name="T25" fmla="*/ 222 h 2127"/>
                    <a:gd name="T26" fmla="*/ 2664 w 2737"/>
                    <a:gd name="T27" fmla="*/ 214 h 2127"/>
                    <a:gd name="T28" fmla="*/ 2728 w 2737"/>
                    <a:gd name="T29" fmla="*/ 269 h 2127"/>
                    <a:gd name="T30" fmla="*/ 2633 w 2737"/>
                    <a:gd name="T31" fmla="*/ 2126 h 2127"/>
                    <a:gd name="T32" fmla="*/ 2633 w 2737"/>
                    <a:gd name="T33" fmla="*/ 2126 h 2127"/>
                    <a:gd name="T34" fmla="*/ 8 w 2737"/>
                    <a:gd name="T35" fmla="*/ 1896 h 2127"/>
                    <a:gd name="T36" fmla="*/ 8 w 2737"/>
                    <a:gd name="T37" fmla="*/ 1896 h 2127"/>
                    <a:gd name="T38" fmla="*/ 1890 w 2737"/>
                    <a:gd name="T39" fmla="*/ 2078 h 2127"/>
                    <a:gd name="T40" fmla="*/ 1898 w 2737"/>
                    <a:gd name="T41" fmla="*/ 2078 h 2127"/>
                    <a:gd name="T42" fmla="*/ 2253 w 2737"/>
                    <a:gd name="T43" fmla="*/ 2102 h 2127"/>
                    <a:gd name="T44" fmla="*/ 2625 w 2737"/>
                    <a:gd name="T45" fmla="*/ 2118 h 2127"/>
                    <a:gd name="T46" fmla="*/ 2720 w 2737"/>
                    <a:gd name="T47" fmla="*/ 277 h 2127"/>
                    <a:gd name="T48" fmla="*/ 2664 w 2737"/>
                    <a:gd name="T49" fmla="*/ 222 h 2127"/>
                    <a:gd name="T50" fmla="*/ 2649 w 2737"/>
                    <a:gd name="T51" fmla="*/ 229 h 2127"/>
                    <a:gd name="T52" fmla="*/ 2514 w 2737"/>
                    <a:gd name="T53" fmla="*/ 229 h 2127"/>
                    <a:gd name="T54" fmla="*/ 245 w 2737"/>
                    <a:gd name="T55" fmla="*/ 8 h 2127"/>
                    <a:gd name="T56" fmla="*/ 8 w 2737"/>
                    <a:gd name="T57" fmla="*/ 1896 h 2127"/>
                    <a:gd name="T58" fmla="*/ 2633 w 2737"/>
                    <a:gd name="T59" fmla="*/ 2126 h 2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737" h="2127">
                      <a:moveTo>
                        <a:pt x="2633" y="2126"/>
                      </a:moveTo>
                      <a:lnTo>
                        <a:pt x="2633" y="2126"/>
                      </a:lnTo>
                      <a:cubicBezTo>
                        <a:pt x="2625" y="2126"/>
                        <a:pt x="2625" y="2126"/>
                        <a:pt x="2625" y="2126"/>
                      </a:cubicBezTo>
                      <a:cubicBezTo>
                        <a:pt x="2506" y="2118"/>
                        <a:pt x="2380" y="2118"/>
                        <a:pt x="2253" y="2110"/>
                      </a:cubicBezTo>
                      <a:cubicBezTo>
                        <a:pt x="2135" y="2102"/>
                        <a:pt x="2016" y="2094"/>
                        <a:pt x="1898" y="2086"/>
                      </a:cubicBezTo>
                      <a:cubicBezTo>
                        <a:pt x="1890" y="2086"/>
                        <a:pt x="1890" y="2086"/>
                        <a:pt x="1890" y="2086"/>
                      </a:cubicBezTo>
                      <a:cubicBezTo>
                        <a:pt x="1234" y="2039"/>
                        <a:pt x="601" y="1976"/>
                        <a:pt x="0" y="1904"/>
                      </a:cubicBezTo>
                      <a:lnTo>
                        <a:pt x="0" y="1904"/>
                      </a:lnTo>
                      <a:cubicBezTo>
                        <a:pt x="0" y="1896"/>
                        <a:pt x="0" y="1896"/>
                        <a:pt x="0" y="1896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lnTo>
                        <a:pt x="245" y="0"/>
                      </a:lnTo>
                      <a:cubicBezTo>
                        <a:pt x="261" y="0"/>
                        <a:pt x="1945" y="222"/>
                        <a:pt x="2514" y="222"/>
                      </a:cubicBezTo>
                      <a:cubicBezTo>
                        <a:pt x="2569" y="222"/>
                        <a:pt x="2617" y="222"/>
                        <a:pt x="2649" y="222"/>
                      </a:cubicBezTo>
                      <a:cubicBezTo>
                        <a:pt x="2649" y="222"/>
                        <a:pt x="2656" y="214"/>
                        <a:pt x="2664" y="214"/>
                      </a:cubicBezTo>
                      <a:cubicBezTo>
                        <a:pt x="2688" y="214"/>
                        <a:pt x="2720" y="222"/>
                        <a:pt x="2728" y="269"/>
                      </a:cubicBezTo>
                      <a:cubicBezTo>
                        <a:pt x="2736" y="324"/>
                        <a:pt x="2664" y="1454"/>
                        <a:pt x="2633" y="2126"/>
                      </a:cubicBezTo>
                      <a:lnTo>
                        <a:pt x="2633" y="2126"/>
                      </a:lnTo>
                      <a:lnTo>
                        <a:pt x="8" y="1896"/>
                      </a:lnTo>
                      <a:lnTo>
                        <a:pt x="8" y="1896"/>
                      </a:lnTo>
                      <a:cubicBezTo>
                        <a:pt x="601" y="1968"/>
                        <a:pt x="1241" y="2031"/>
                        <a:pt x="1890" y="2078"/>
                      </a:cubicBezTo>
                      <a:cubicBezTo>
                        <a:pt x="1898" y="2078"/>
                        <a:pt x="1898" y="2078"/>
                        <a:pt x="1898" y="2078"/>
                      </a:cubicBezTo>
                      <a:cubicBezTo>
                        <a:pt x="2016" y="2086"/>
                        <a:pt x="2143" y="2094"/>
                        <a:pt x="2253" y="2102"/>
                      </a:cubicBezTo>
                      <a:cubicBezTo>
                        <a:pt x="2380" y="2110"/>
                        <a:pt x="2498" y="2110"/>
                        <a:pt x="2625" y="2118"/>
                      </a:cubicBezTo>
                      <a:cubicBezTo>
                        <a:pt x="2664" y="1446"/>
                        <a:pt x="2728" y="324"/>
                        <a:pt x="2720" y="277"/>
                      </a:cubicBezTo>
                      <a:cubicBezTo>
                        <a:pt x="2712" y="229"/>
                        <a:pt x="2688" y="222"/>
                        <a:pt x="2664" y="222"/>
                      </a:cubicBezTo>
                      <a:cubicBezTo>
                        <a:pt x="2656" y="222"/>
                        <a:pt x="2649" y="229"/>
                        <a:pt x="2649" y="229"/>
                      </a:cubicBezTo>
                      <a:cubicBezTo>
                        <a:pt x="2617" y="229"/>
                        <a:pt x="2569" y="229"/>
                        <a:pt x="2514" y="229"/>
                      </a:cubicBezTo>
                      <a:cubicBezTo>
                        <a:pt x="1961" y="229"/>
                        <a:pt x="340" y="16"/>
                        <a:pt x="245" y="8"/>
                      </a:cubicBezTo>
                      <a:cubicBezTo>
                        <a:pt x="8" y="1896"/>
                        <a:pt x="8" y="1896"/>
                        <a:pt x="8" y="1896"/>
                      </a:cubicBezTo>
                      <a:lnTo>
                        <a:pt x="2633" y="2126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8" name="Freeform 129">
                  <a:extLst>
                    <a:ext uri="{FF2B5EF4-FFF2-40B4-BE49-F238E27FC236}">
                      <a16:creationId xmlns:a16="http://schemas.microsoft.com/office/drawing/2014/main" id="{12206B60-479C-F249-BACF-572371950B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02386" y="4915927"/>
                  <a:ext cx="1268661" cy="1934301"/>
                </a:xfrm>
                <a:custGeom>
                  <a:avLst/>
                  <a:gdLst>
                    <a:gd name="T0" fmla="*/ 356 w 2412"/>
                    <a:gd name="T1" fmla="*/ 0 h 3676"/>
                    <a:gd name="T2" fmla="*/ 356 w 2412"/>
                    <a:gd name="T3" fmla="*/ 0 h 3676"/>
                    <a:gd name="T4" fmla="*/ 0 w 2412"/>
                    <a:gd name="T5" fmla="*/ 1391 h 3676"/>
                    <a:gd name="T6" fmla="*/ 1597 w 2412"/>
                    <a:gd name="T7" fmla="*/ 3675 h 3676"/>
                    <a:gd name="T8" fmla="*/ 1605 w 2412"/>
                    <a:gd name="T9" fmla="*/ 3627 h 3676"/>
                    <a:gd name="T10" fmla="*/ 1652 w 2412"/>
                    <a:gd name="T11" fmla="*/ 3564 h 3676"/>
                    <a:gd name="T12" fmla="*/ 1629 w 2412"/>
                    <a:gd name="T13" fmla="*/ 3446 h 3676"/>
                    <a:gd name="T14" fmla="*/ 1660 w 2412"/>
                    <a:gd name="T15" fmla="*/ 3359 h 3676"/>
                    <a:gd name="T16" fmla="*/ 1668 w 2412"/>
                    <a:gd name="T17" fmla="*/ 3272 h 3676"/>
                    <a:gd name="T18" fmla="*/ 1668 w 2412"/>
                    <a:gd name="T19" fmla="*/ 3209 h 3676"/>
                    <a:gd name="T20" fmla="*/ 1692 w 2412"/>
                    <a:gd name="T21" fmla="*/ 3137 h 3676"/>
                    <a:gd name="T22" fmla="*/ 1802 w 2412"/>
                    <a:gd name="T23" fmla="*/ 3169 h 3676"/>
                    <a:gd name="T24" fmla="*/ 1842 w 2412"/>
                    <a:gd name="T25" fmla="*/ 3224 h 3676"/>
                    <a:gd name="T26" fmla="*/ 1897 w 2412"/>
                    <a:gd name="T27" fmla="*/ 3169 h 3676"/>
                    <a:gd name="T28" fmla="*/ 2000 w 2412"/>
                    <a:gd name="T29" fmla="*/ 2758 h 3676"/>
                    <a:gd name="T30" fmla="*/ 2000 w 2412"/>
                    <a:gd name="T31" fmla="*/ 2758 h 3676"/>
                    <a:gd name="T32" fmla="*/ 2000 w 2412"/>
                    <a:gd name="T33" fmla="*/ 2758 h 3676"/>
                    <a:gd name="T34" fmla="*/ 2008 w 2412"/>
                    <a:gd name="T35" fmla="*/ 2758 h 3676"/>
                    <a:gd name="T36" fmla="*/ 2411 w 2412"/>
                    <a:gd name="T37" fmla="*/ 443 h 3676"/>
                    <a:gd name="T38" fmla="*/ 356 w 2412"/>
                    <a:gd name="T39" fmla="*/ 0 h 36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412" h="3676">
                      <a:moveTo>
                        <a:pt x="356" y="0"/>
                      </a:moveTo>
                      <a:lnTo>
                        <a:pt x="356" y="0"/>
                      </a:lnTo>
                      <a:cubicBezTo>
                        <a:pt x="0" y="1391"/>
                        <a:pt x="0" y="1391"/>
                        <a:pt x="0" y="1391"/>
                      </a:cubicBezTo>
                      <a:cubicBezTo>
                        <a:pt x="1597" y="3675"/>
                        <a:pt x="1597" y="3675"/>
                        <a:pt x="1597" y="3675"/>
                      </a:cubicBezTo>
                      <a:cubicBezTo>
                        <a:pt x="1597" y="3651"/>
                        <a:pt x="1589" y="3643"/>
                        <a:pt x="1605" y="3627"/>
                      </a:cubicBezTo>
                      <a:cubicBezTo>
                        <a:pt x="1629" y="3604"/>
                        <a:pt x="1652" y="3612"/>
                        <a:pt x="1652" y="3564"/>
                      </a:cubicBezTo>
                      <a:cubicBezTo>
                        <a:pt x="1644" y="3509"/>
                        <a:pt x="1629" y="3493"/>
                        <a:pt x="1629" y="3446"/>
                      </a:cubicBezTo>
                      <a:cubicBezTo>
                        <a:pt x="1629" y="3398"/>
                        <a:pt x="1668" y="3406"/>
                        <a:pt x="1660" y="3359"/>
                      </a:cubicBezTo>
                      <a:cubicBezTo>
                        <a:pt x="1652" y="3311"/>
                        <a:pt x="1652" y="3288"/>
                        <a:pt x="1668" y="3272"/>
                      </a:cubicBezTo>
                      <a:cubicBezTo>
                        <a:pt x="1676" y="3256"/>
                        <a:pt x="1676" y="3240"/>
                        <a:pt x="1668" y="3209"/>
                      </a:cubicBezTo>
                      <a:cubicBezTo>
                        <a:pt x="1660" y="3169"/>
                        <a:pt x="1636" y="3145"/>
                        <a:pt x="1692" y="3137"/>
                      </a:cubicBezTo>
                      <a:cubicBezTo>
                        <a:pt x="1755" y="3137"/>
                        <a:pt x="1779" y="3137"/>
                        <a:pt x="1802" y="3169"/>
                      </a:cubicBezTo>
                      <a:cubicBezTo>
                        <a:pt x="1818" y="3209"/>
                        <a:pt x="1802" y="3240"/>
                        <a:pt x="1842" y="3224"/>
                      </a:cubicBezTo>
                      <a:cubicBezTo>
                        <a:pt x="1882" y="3201"/>
                        <a:pt x="1889" y="3193"/>
                        <a:pt x="1897" y="3169"/>
                      </a:cubicBezTo>
                      <a:cubicBezTo>
                        <a:pt x="1913" y="3137"/>
                        <a:pt x="2000" y="2782"/>
                        <a:pt x="2000" y="2758"/>
                      </a:cubicBezTo>
                      <a:lnTo>
                        <a:pt x="2000" y="2758"/>
                      </a:lnTo>
                      <a:lnTo>
                        <a:pt x="2000" y="2758"/>
                      </a:lnTo>
                      <a:cubicBezTo>
                        <a:pt x="2000" y="2758"/>
                        <a:pt x="2000" y="2758"/>
                        <a:pt x="2008" y="2758"/>
                      </a:cubicBezTo>
                      <a:cubicBezTo>
                        <a:pt x="2411" y="443"/>
                        <a:pt x="2411" y="443"/>
                        <a:pt x="2411" y="443"/>
                      </a:cubicBezTo>
                      <a:cubicBezTo>
                        <a:pt x="1652" y="300"/>
                        <a:pt x="941" y="142"/>
                        <a:pt x="35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9" name="Freeform 130">
                  <a:extLst>
                    <a:ext uri="{FF2B5EF4-FFF2-40B4-BE49-F238E27FC236}">
                      <a16:creationId xmlns:a16="http://schemas.microsoft.com/office/drawing/2014/main" id="{A2E0732E-290E-A049-BA62-189CFB3680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02386" y="4913609"/>
                  <a:ext cx="1268661" cy="1941258"/>
                </a:xfrm>
                <a:custGeom>
                  <a:avLst/>
                  <a:gdLst>
                    <a:gd name="T0" fmla="*/ 1597 w 2412"/>
                    <a:gd name="T1" fmla="*/ 3691 h 3692"/>
                    <a:gd name="T2" fmla="*/ 348 w 2412"/>
                    <a:gd name="T3" fmla="*/ 0 h 3692"/>
                    <a:gd name="T4" fmla="*/ 2411 w 2412"/>
                    <a:gd name="T5" fmla="*/ 451 h 3692"/>
                    <a:gd name="T6" fmla="*/ 2411 w 2412"/>
                    <a:gd name="T7" fmla="*/ 451 h 3692"/>
                    <a:gd name="T8" fmla="*/ 2008 w 2412"/>
                    <a:gd name="T9" fmla="*/ 2774 h 3692"/>
                    <a:gd name="T10" fmla="*/ 1905 w 2412"/>
                    <a:gd name="T11" fmla="*/ 3177 h 3692"/>
                    <a:gd name="T12" fmla="*/ 1842 w 2412"/>
                    <a:gd name="T13" fmla="*/ 3232 h 3692"/>
                    <a:gd name="T14" fmla="*/ 1810 w 2412"/>
                    <a:gd name="T15" fmla="*/ 3217 h 3692"/>
                    <a:gd name="T16" fmla="*/ 1731 w 2412"/>
                    <a:gd name="T17" fmla="*/ 3153 h 3692"/>
                    <a:gd name="T18" fmla="*/ 1660 w 2412"/>
                    <a:gd name="T19" fmla="*/ 3161 h 3692"/>
                    <a:gd name="T20" fmla="*/ 1668 w 2412"/>
                    <a:gd name="T21" fmla="*/ 3217 h 3692"/>
                    <a:gd name="T22" fmla="*/ 1668 w 2412"/>
                    <a:gd name="T23" fmla="*/ 3280 h 3692"/>
                    <a:gd name="T24" fmla="*/ 1644 w 2412"/>
                    <a:gd name="T25" fmla="*/ 3414 h 3692"/>
                    <a:gd name="T26" fmla="*/ 1644 w 2412"/>
                    <a:gd name="T27" fmla="*/ 3509 h 3692"/>
                    <a:gd name="T28" fmla="*/ 1629 w 2412"/>
                    <a:gd name="T29" fmla="*/ 3620 h 3692"/>
                    <a:gd name="T30" fmla="*/ 1597 w 2412"/>
                    <a:gd name="T31" fmla="*/ 3675 h 3692"/>
                    <a:gd name="T32" fmla="*/ 8 w 2412"/>
                    <a:gd name="T33" fmla="*/ 1399 h 3692"/>
                    <a:gd name="T34" fmla="*/ 1589 w 2412"/>
                    <a:gd name="T35" fmla="*/ 3675 h 3692"/>
                    <a:gd name="T36" fmla="*/ 1629 w 2412"/>
                    <a:gd name="T37" fmla="*/ 3612 h 3692"/>
                    <a:gd name="T38" fmla="*/ 1636 w 2412"/>
                    <a:gd name="T39" fmla="*/ 3517 h 3692"/>
                    <a:gd name="T40" fmla="*/ 1644 w 2412"/>
                    <a:gd name="T41" fmla="*/ 3406 h 3692"/>
                    <a:gd name="T42" fmla="*/ 1668 w 2412"/>
                    <a:gd name="T43" fmla="*/ 3280 h 3692"/>
                    <a:gd name="T44" fmla="*/ 1660 w 2412"/>
                    <a:gd name="T45" fmla="*/ 3217 h 3692"/>
                    <a:gd name="T46" fmla="*/ 1652 w 2412"/>
                    <a:gd name="T47" fmla="*/ 3161 h 3692"/>
                    <a:gd name="T48" fmla="*/ 1731 w 2412"/>
                    <a:gd name="T49" fmla="*/ 3145 h 3692"/>
                    <a:gd name="T50" fmla="*/ 1818 w 2412"/>
                    <a:gd name="T51" fmla="*/ 3217 h 3692"/>
                    <a:gd name="T52" fmla="*/ 1842 w 2412"/>
                    <a:gd name="T53" fmla="*/ 3224 h 3692"/>
                    <a:gd name="T54" fmla="*/ 1897 w 2412"/>
                    <a:gd name="T55" fmla="*/ 3169 h 3692"/>
                    <a:gd name="T56" fmla="*/ 2000 w 2412"/>
                    <a:gd name="T57" fmla="*/ 2766 h 3692"/>
                    <a:gd name="T58" fmla="*/ 2000 w 2412"/>
                    <a:gd name="T59" fmla="*/ 2766 h 3692"/>
                    <a:gd name="T60" fmla="*/ 356 w 2412"/>
                    <a:gd name="T61" fmla="*/ 16 h 3692"/>
                    <a:gd name="T62" fmla="*/ 1597 w 2412"/>
                    <a:gd name="T63" fmla="*/ 3691 h 36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412" h="3692">
                      <a:moveTo>
                        <a:pt x="1597" y="3691"/>
                      </a:moveTo>
                      <a:lnTo>
                        <a:pt x="1597" y="3691"/>
                      </a:lnTo>
                      <a:cubicBezTo>
                        <a:pt x="0" y="1399"/>
                        <a:pt x="0" y="1399"/>
                        <a:pt x="0" y="1399"/>
                      </a:cubicBezTo>
                      <a:cubicBezTo>
                        <a:pt x="348" y="0"/>
                        <a:pt x="348" y="0"/>
                        <a:pt x="348" y="0"/>
                      </a:cubicBezTo>
                      <a:cubicBezTo>
                        <a:pt x="356" y="8"/>
                        <a:pt x="356" y="8"/>
                        <a:pt x="356" y="8"/>
                      </a:cubicBezTo>
                      <a:cubicBezTo>
                        <a:pt x="1067" y="174"/>
                        <a:pt x="1755" y="324"/>
                        <a:pt x="2411" y="451"/>
                      </a:cubicBezTo>
                      <a:lnTo>
                        <a:pt x="2411" y="451"/>
                      </a:lnTo>
                      <a:lnTo>
                        <a:pt x="2411" y="451"/>
                      </a:lnTo>
                      <a:cubicBezTo>
                        <a:pt x="2008" y="2774"/>
                        <a:pt x="2008" y="2774"/>
                        <a:pt x="2008" y="2774"/>
                      </a:cubicBezTo>
                      <a:lnTo>
                        <a:pt x="2008" y="2774"/>
                      </a:lnTo>
                      <a:lnTo>
                        <a:pt x="2000" y="2774"/>
                      </a:lnTo>
                      <a:cubicBezTo>
                        <a:pt x="2000" y="2813"/>
                        <a:pt x="1913" y="3145"/>
                        <a:pt x="1905" y="3177"/>
                      </a:cubicBezTo>
                      <a:cubicBezTo>
                        <a:pt x="1889" y="3201"/>
                        <a:pt x="1882" y="3209"/>
                        <a:pt x="1850" y="3224"/>
                      </a:cubicBezTo>
                      <a:cubicBezTo>
                        <a:pt x="1842" y="3232"/>
                        <a:pt x="1842" y="3232"/>
                        <a:pt x="1842" y="3232"/>
                      </a:cubicBezTo>
                      <a:cubicBezTo>
                        <a:pt x="1834" y="3240"/>
                        <a:pt x="1834" y="3240"/>
                        <a:pt x="1826" y="3240"/>
                      </a:cubicBezTo>
                      <a:cubicBezTo>
                        <a:pt x="1810" y="3240"/>
                        <a:pt x="1810" y="3232"/>
                        <a:pt x="1810" y="3217"/>
                      </a:cubicBezTo>
                      <a:cubicBezTo>
                        <a:pt x="1802" y="3209"/>
                        <a:pt x="1802" y="3193"/>
                        <a:pt x="1795" y="3185"/>
                      </a:cubicBezTo>
                      <a:cubicBezTo>
                        <a:pt x="1779" y="3161"/>
                        <a:pt x="1763" y="3153"/>
                        <a:pt x="1731" y="3153"/>
                      </a:cubicBezTo>
                      <a:cubicBezTo>
                        <a:pt x="1723" y="3153"/>
                        <a:pt x="1708" y="3153"/>
                        <a:pt x="1692" y="3153"/>
                      </a:cubicBezTo>
                      <a:cubicBezTo>
                        <a:pt x="1676" y="3153"/>
                        <a:pt x="1668" y="3153"/>
                        <a:pt x="1660" y="3161"/>
                      </a:cubicBezTo>
                      <a:cubicBezTo>
                        <a:pt x="1652" y="3169"/>
                        <a:pt x="1660" y="3185"/>
                        <a:pt x="1660" y="3201"/>
                      </a:cubicBezTo>
                      <a:cubicBezTo>
                        <a:pt x="1668" y="3201"/>
                        <a:pt x="1668" y="3209"/>
                        <a:pt x="1668" y="3217"/>
                      </a:cubicBezTo>
                      <a:cubicBezTo>
                        <a:pt x="1668" y="3224"/>
                        <a:pt x="1668" y="3224"/>
                        <a:pt x="1668" y="3224"/>
                      </a:cubicBezTo>
                      <a:cubicBezTo>
                        <a:pt x="1676" y="3248"/>
                        <a:pt x="1684" y="3264"/>
                        <a:pt x="1668" y="3280"/>
                      </a:cubicBezTo>
                      <a:cubicBezTo>
                        <a:pt x="1660" y="3296"/>
                        <a:pt x="1652" y="3319"/>
                        <a:pt x="1660" y="3367"/>
                      </a:cubicBezTo>
                      <a:cubicBezTo>
                        <a:pt x="1668" y="3391"/>
                        <a:pt x="1652" y="3406"/>
                        <a:pt x="1644" y="3414"/>
                      </a:cubicBezTo>
                      <a:cubicBezTo>
                        <a:pt x="1636" y="3422"/>
                        <a:pt x="1629" y="3430"/>
                        <a:pt x="1629" y="3454"/>
                      </a:cubicBezTo>
                      <a:cubicBezTo>
                        <a:pt x="1629" y="3477"/>
                        <a:pt x="1636" y="3493"/>
                        <a:pt x="1644" y="3509"/>
                      </a:cubicBezTo>
                      <a:cubicBezTo>
                        <a:pt x="1644" y="3525"/>
                        <a:pt x="1652" y="3541"/>
                        <a:pt x="1652" y="3572"/>
                      </a:cubicBezTo>
                      <a:cubicBezTo>
                        <a:pt x="1660" y="3604"/>
                        <a:pt x="1644" y="3612"/>
                        <a:pt x="1629" y="3620"/>
                      </a:cubicBezTo>
                      <a:cubicBezTo>
                        <a:pt x="1629" y="3628"/>
                        <a:pt x="1621" y="3628"/>
                        <a:pt x="1613" y="3635"/>
                      </a:cubicBezTo>
                      <a:cubicBezTo>
                        <a:pt x="1597" y="3651"/>
                        <a:pt x="1597" y="3659"/>
                        <a:pt x="1597" y="3675"/>
                      </a:cubicBezTo>
                      <a:cubicBezTo>
                        <a:pt x="1597" y="3691"/>
                        <a:pt x="1597" y="3691"/>
                        <a:pt x="1597" y="3691"/>
                      </a:cubicBezTo>
                      <a:lnTo>
                        <a:pt x="8" y="1399"/>
                      </a:lnTo>
                      <a:lnTo>
                        <a:pt x="8" y="1399"/>
                      </a:lnTo>
                      <a:cubicBezTo>
                        <a:pt x="1589" y="3675"/>
                        <a:pt x="1589" y="3675"/>
                        <a:pt x="1589" y="3675"/>
                      </a:cubicBezTo>
                      <a:cubicBezTo>
                        <a:pt x="1589" y="3659"/>
                        <a:pt x="1589" y="3644"/>
                        <a:pt x="1605" y="3628"/>
                      </a:cubicBezTo>
                      <a:cubicBezTo>
                        <a:pt x="1613" y="3620"/>
                        <a:pt x="1621" y="3620"/>
                        <a:pt x="1629" y="3612"/>
                      </a:cubicBezTo>
                      <a:cubicBezTo>
                        <a:pt x="1644" y="3604"/>
                        <a:pt x="1652" y="3604"/>
                        <a:pt x="1644" y="3572"/>
                      </a:cubicBezTo>
                      <a:cubicBezTo>
                        <a:pt x="1644" y="3549"/>
                        <a:pt x="1636" y="3533"/>
                        <a:pt x="1636" y="3517"/>
                      </a:cubicBezTo>
                      <a:cubicBezTo>
                        <a:pt x="1629" y="3501"/>
                        <a:pt x="1621" y="3485"/>
                        <a:pt x="1621" y="3454"/>
                      </a:cubicBezTo>
                      <a:cubicBezTo>
                        <a:pt x="1621" y="3430"/>
                        <a:pt x="1636" y="3422"/>
                        <a:pt x="1644" y="3406"/>
                      </a:cubicBezTo>
                      <a:cubicBezTo>
                        <a:pt x="1652" y="3398"/>
                        <a:pt x="1660" y="3391"/>
                        <a:pt x="1652" y="3367"/>
                      </a:cubicBezTo>
                      <a:cubicBezTo>
                        <a:pt x="1644" y="3319"/>
                        <a:pt x="1652" y="3296"/>
                        <a:pt x="1668" y="3280"/>
                      </a:cubicBezTo>
                      <a:cubicBezTo>
                        <a:pt x="1676" y="3264"/>
                        <a:pt x="1668" y="3248"/>
                        <a:pt x="1660" y="3224"/>
                      </a:cubicBezTo>
                      <a:cubicBezTo>
                        <a:pt x="1660" y="3217"/>
                        <a:pt x="1660" y="3217"/>
                        <a:pt x="1660" y="3217"/>
                      </a:cubicBezTo>
                      <a:cubicBezTo>
                        <a:pt x="1660" y="3209"/>
                        <a:pt x="1660" y="3201"/>
                        <a:pt x="1660" y="3201"/>
                      </a:cubicBezTo>
                      <a:cubicBezTo>
                        <a:pt x="1652" y="3185"/>
                        <a:pt x="1644" y="3169"/>
                        <a:pt x="1652" y="3161"/>
                      </a:cubicBezTo>
                      <a:cubicBezTo>
                        <a:pt x="1660" y="3153"/>
                        <a:pt x="1676" y="3145"/>
                        <a:pt x="1692" y="3145"/>
                      </a:cubicBezTo>
                      <a:cubicBezTo>
                        <a:pt x="1708" y="3145"/>
                        <a:pt x="1723" y="3145"/>
                        <a:pt x="1731" y="3145"/>
                      </a:cubicBezTo>
                      <a:cubicBezTo>
                        <a:pt x="1763" y="3145"/>
                        <a:pt x="1787" y="3145"/>
                        <a:pt x="1802" y="3177"/>
                      </a:cubicBezTo>
                      <a:cubicBezTo>
                        <a:pt x="1810" y="3193"/>
                        <a:pt x="1810" y="3201"/>
                        <a:pt x="1818" y="3217"/>
                      </a:cubicBezTo>
                      <a:cubicBezTo>
                        <a:pt x="1818" y="3224"/>
                        <a:pt x="1818" y="3232"/>
                        <a:pt x="1826" y="3232"/>
                      </a:cubicBezTo>
                      <a:cubicBezTo>
                        <a:pt x="1826" y="3232"/>
                        <a:pt x="1834" y="3232"/>
                        <a:pt x="1842" y="3224"/>
                      </a:cubicBezTo>
                      <a:cubicBezTo>
                        <a:pt x="1850" y="3224"/>
                        <a:pt x="1850" y="3224"/>
                        <a:pt x="1850" y="3224"/>
                      </a:cubicBezTo>
                      <a:cubicBezTo>
                        <a:pt x="1882" y="3201"/>
                        <a:pt x="1889" y="3201"/>
                        <a:pt x="1897" y="3169"/>
                      </a:cubicBezTo>
                      <a:cubicBezTo>
                        <a:pt x="1913" y="3145"/>
                        <a:pt x="1992" y="2790"/>
                        <a:pt x="1992" y="2766"/>
                      </a:cubicBezTo>
                      <a:cubicBezTo>
                        <a:pt x="1992" y="2766"/>
                        <a:pt x="1992" y="2766"/>
                        <a:pt x="2000" y="2766"/>
                      </a:cubicBezTo>
                      <a:lnTo>
                        <a:pt x="2000" y="2766"/>
                      </a:lnTo>
                      <a:lnTo>
                        <a:pt x="2000" y="2766"/>
                      </a:lnTo>
                      <a:cubicBezTo>
                        <a:pt x="2403" y="451"/>
                        <a:pt x="2403" y="451"/>
                        <a:pt x="2403" y="451"/>
                      </a:cubicBezTo>
                      <a:cubicBezTo>
                        <a:pt x="1755" y="332"/>
                        <a:pt x="1067" y="182"/>
                        <a:pt x="356" y="16"/>
                      </a:cubicBezTo>
                      <a:cubicBezTo>
                        <a:pt x="8" y="1399"/>
                        <a:pt x="8" y="1399"/>
                        <a:pt x="8" y="1399"/>
                      </a:cubicBezTo>
                      <a:lnTo>
                        <a:pt x="1597" y="3691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0" name="Freeform 132">
                  <a:extLst>
                    <a:ext uri="{FF2B5EF4-FFF2-40B4-BE49-F238E27FC236}">
                      <a16:creationId xmlns:a16="http://schemas.microsoft.com/office/drawing/2014/main" id="{1265A87E-36DA-9D47-B77C-99B0D2D4C2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55351" y="5150178"/>
                  <a:ext cx="1090074" cy="1375348"/>
                </a:xfrm>
                <a:custGeom>
                  <a:avLst/>
                  <a:gdLst>
                    <a:gd name="T0" fmla="*/ 1826 w 2072"/>
                    <a:gd name="T1" fmla="*/ 2615 h 2616"/>
                    <a:gd name="T2" fmla="*/ 1826 w 2072"/>
                    <a:gd name="T3" fmla="*/ 2615 h 2616"/>
                    <a:gd name="T4" fmla="*/ 1826 w 2072"/>
                    <a:gd name="T5" fmla="*/ 2615 h 2616"/>
                    <a:gd name="T6" fmla="*/ 119 w 2072"/>
                    <a:gd name="T7" fmla="*/ 2339 h 2616"/>
                    <a:gd name="T8" fmla="*/ 48 w 2072"/>
                    <a:gd name="T9" fmla="*/ 2331 h 2616"/>
                    <a:gd name="T10" fmla="*/ 48 w 2072"/>
                    <a:gd name="T11" fmla="*/ 2331 h 2616"/>
                    <a:gd name="T12" fmla="*/ 32 w 2072"/>
                    <a:gd name="T13" fmla="*/ 2323 h 2616"/>
                    <a:gd name="T14" fmla="*/ 24 w 2072"/>
                    <a:gd name="T15" fmla="*/ 2323 h 2616"/>
                    <a:gd name="T16" fmla="*/ 8 w 2072"/>
                    <a:gd name="T17" fmla="*/ 2323 h 2616"/>
                    <a:gd name="T18" fmla="*/ 0 w 2072"/>
                    <a:gd name="T19" fmla="*/ 2323 h 2616"/>
                    <a:gd name="T20" fmla="*/ 403 w 2072"/>
                    <a:gd name="T21" fmla="*/ 0 h 2616"/>
                    <a:gd name="T22" fmla="*/ 411 w 2072"/>
                    <a:gd name="T23" fmla="*/ 0 h 2616"/>
                    <a:gd name="T24" fmla="*/ 1423 w 2072"/>
                    <a:gd name="T25" fmla="*/ 166 h 2616"/>
                    <a:gd name="T26" fmla="*/ 1423 w 2072"/>
                    <a:gd name="T27" fmla="*/ 166 h 2616"/>
                    <a:gd name="T28" fmla="*/ 1360 w 2072"/>
                    <a:gd name="T29" fmla="*/ 624 h 2616"/>
                    <a:gd name="T30" fmla="*/ 2048 w 2072"/>
                    <a:gd name="T31" fmla="*/ 703 h 2616"/>
                    <a:gd name="T32" fmla="*/ 2071 w 2072"/>
                    <a:gd name="T33" fmla="*/ 735 h 2616"/>
                    <a:gd name="T34" fmla="*/ 1826 w 2072"/>
                    <a:gd name="T35" fmla="*/ 2615 h 2616"/>
                    <a:gd name="T36" fmla="*/ 8 w 2072"/>
                    <a:gd name="T37" fmla="*/ 2315 h 2616"/>
                    <a:gd name="T38" fmla="*/ 8 w 2072"/>
                    <a:gd name="T39" fmla="*/ 2315 h 2616"/>
                    <a:gd name="T40" fmla="*/ 32 w 2072"/>
                    <a:gd name="T41" fmla="*/ 2315 h 2616"/>
                    <a:gd name="T42" fmla="*/ 32 w 2072"/>
                    <a:gd name="T43" fmla="*/ 2315 h 2616"/>
                    <a:gd name="T44" fmla="*/ 48 w 2072"/>
                    <a:gd name="T45" fmla="*/ 2323 h 2616"/>
                    <a:gd name="T46" fmla="*/ 48 w 2072"/>
                    <a:gd name="T47" fmla="*/ 2323 h 2616"/>
                    <a:gd name="T48" fmla="*/ 119 w 2072"/>
                    <a:gd name="T49" fmla="*/ 2339 h 2616"/>
                    <a:gd name="T50" fmla="*/ 1826 w 2072"/>
                    <a:gd name="T51" fmla="*/ 2607 h 2616"/>
                    <a:gd name="T52" fmla="*/ 2064 w 2072"/>
                    <a:gd name="T53" fmla="*/ 735 h 2616"/>
                    <a:gd name="T54" fmla="*/ 2048 w 2072"/>
                    <a:gd name="T55" fmla="*/ 711 h 2616"/>
                    <a:gd name="T56" fmla="*/ 1352 w 2072"/>
                    <a:gd name="T57" fmla="*/ 632 h 2616"/>
                    <a:gd name="T58" fmla="*/ 1415 w 2072"/>
                    <a:gd name="T59" fmla="*/ 174 h 2616"/>
                    <a:gd name="T60" fmla="*/ 411 w 2072"/>
                    <a:gd name="T61" fmla="*/ 8 h 2616"/>
                    <a:gd name="T62" fmla="*/ 8 w 2072"/>
                    <a:gd name="T63" fmla="*/ 2315 h 2616"/>
                    <a:gd name="T64" fmla="*/ 1826 w 2072"/>
                    <a:gd name="T65" fmla="*/ 2615 h 26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72" h="2616">
                      <a:moveTo>
                        <a:pt x="1826" y="2615"/>
                      </a:moveTo>
                      <a:lnTo>
                        <a:pt x="1826" y="2615"/>
                      </a:lnTo>
                      <a:lnTo>
                        <a:pt x="1826" y="2615"/>
                      </a:lnTo>
                      <a:cubicBezTo>
                        <a:pt x="925" y="2497"/>
                        <a:pt x="356" y="2386"/>
                        <a:pt x="119" y="2339"/>
                      </a:cubicBezTo>
                      <a:cubicBezTo>
                        <a:pt x="87" y="2339"/>
                        <a:pt x="63" y="2331"/>
                        <a:pt x="48" y="2331"/>
                      </a:cubicBezTo>
                      <a:lnTo>
                        <a:pt x="48" y="2331"/>
                      </a:lnTo>
                      <a:cubicBezTo>
                        <a:pt x="40" y="2331"/>
                        <a:pt x="40" y="2323"/>
                        <a:pt x="32" y="2323"/>
                      </a:cubicBezTo>
                      <a:cubicBezTo>
                        <a:pt x="24" y="2323"/>
                        <a:pt x="24" y="2323"/>
                        <a:pt x="24" y="2323"/>
                      </a:cubicBezTo>
                      <a:cubicBezTo>
                        <a:pt x="16" y="2323"/>
                        <a:pt x="8" y="2323"/>
                        <a:pt x="8" y="2323"/>
                      </a:cubicBezTo>
                      <a:cubicBezTo>
                        <a:pt x="0" y="2323"/>
                        <a:pt x="0" y="2323"/>
                        <a:pt x="0" y="2323"/>
                      </a:cubicBezTo>
                      <a:cubicBezTo>
                        <a:pt x="403" y="0"/>
                        <a:pt x="403" y="0"/>
                        <a:pt x="403" y="0"/>
                      </a:cubicBezTo>
                      <a:cubicBezTo>
                        <a:pt x="411" y="0"/>
                        <a:pt x="411" y="0"/>
                        <a:pt x="411" y="0"/>
                      </a:cubicBezTo>
                      <a:cubicBezTo>
                        <a:pt x="759" y="63"/>
                        <a:pt x="1099" y="118"/>
                        <a:pt x="1423" y="166"/>
                      </a:cubicBezTo>
                      <a:lnTo>
                        <a:pt x="1423" y="166"/>
                      </a:lnTo>
                      <a:cubicBezTo>
                        <a:pt x="1360" y="624"/>
                        <a:pt x="1360" y="624"/>
                        <a:pt x="1360" y="624"/>
                      </a:cubicBezTo>
                      <a:cubicBezTo>
                        <a:pt x="2048" y="703"/>
                        <a:pt x="2048" y="703"/>
                        <a:pt x="2048" y="703"/>
                      </a:cubicBezTo>
                      <a:cubicBezTo>
                        <a:pt x="2071" y="735"/>
                        <a:pt x="2071" y="735"/>
                        <a:pt x="2071" y="735"/>
                      </a:cubicBezTo>
                      <a:cubicBezTo>
                        <a:pt x="1826" y="2615"/>
                        <a:pt x="1826" y="2615"/>
                        <a:pt x="1826" y="2615"/>
                      </a:cubicBezTo>
                      <a:lnTo>
                        <a:pt x="8" y="2315"/>
                      </a:lnTo>
                      <a:lnTo>
                        <a:pt x="8" y="2315"/>
                      </a:lnTo>
                      <a:cubicBezTo>
                        <a:pt x="16" y="2315"/>
                        <a:pt x="24" y="2315"/>
                        <a:pt x="32" y="2315"/>
                      </a:cubicBezTo>
                      <a:lnTo>
                        <a:pt x="32" y="2315"/>
                      </a:lnTo>
                      <a:cubicBezTo>
                        <a:pt x="40" y="2323"/>
                        <a:pt x="40" y="2323"/>
                        <a:pt x="48" y="2323"/>
                      </a:cubicBezTo>
                      <a:lnTo>
                        <a:pt x="48" y="2323"/>
                      </a:lnTo>
                      <a:cubicBezTo>
                        <a:pt x="63" y="2323"/>
                        <a:pt x="87" y="2331"/>
                        <a:pt x="119" y="2339"/>
                      </a:cubicBezTo>
                      <a:cubicBezTo>
                        <a:pt x="356" y="2386"/>
                        <a:pt x="925" y="2497"/>
                        <a:pt x="1826" y="2607"/>
                      </a:cubicBezTo>
                      <a:cubicBezTo>
                        <a:pt x="2064" y="735"/>
                        <a:pt x="2064" y="735"/>
                        <a:pt x="2064" y="735"/>
                      </a:cubicBezTo>
                      <a:cubicBezTo>
                        <a:pt x="2048" y="711"/>
                        <a:pt x="2048" y="711"/>
                        <a:pt x="2048" y="711"/>
                      </a:cubicBezTo>
                      <a:cubicBezTo>
                        <a:pt x="1352" y="632"/>
                        <a:pt x="1352" y="632"/>
                        <a:pt x="1352" y="632"/>
                      </a:cubicBezTo>
                      <a:cubicBezTo>
                        <a:pt x="1415" y="174"/>
                        <a:pt x="1415" y="174"/>
                        <a:pt x="1415" y="174"/>
                      </a:cubicBezTo>
                      <a:cubicBezTo>
                        <a:pt x="1099" y="126"/>
                        <a:pt x="759" y="71"/>
                        <a:pt x="411" y="8"/>
                      </a:cubicBezTo>
                      <a:cubicBezTo>
                        <a:pt x="8" y="2315"/>
                        <a:pt x="8" y="2315"/>
                        <a:pt x="8" y="2315"/>
                      </a:cubicBezTo>
                      <a:lnTo>
                        <a:pt x="1826" y="2615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1" name="Freeform 138">
                  <a:extLst>
                    <a:ext uri="{FF2B5EF4-FFF2-40B4-BE49-F238E27FC236}">
                      <a16:creationId xmlns:a16="http://schemas.microsoft.com/office/drawing/2014/main" id="{E5BECAA1-FFEB-D043-8DBA-6F50C0D3E5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78544" y="6374771"/>
                  <a:ext cx="934681" cy="146116"/>
                </a:xfrm>
                <a:custGeom>
                  <a:avLst/>
                  <a:gdLst>
                    <a:gd name="T0" fmla="*/ 0 w 1779"/>
                    <a:gd name="T1" fmla="*/ 0 h 277"/>
                    <a:gd name="T2" fmla="*/ 0 w 1779"/>
                    <a:gd name="T3" fmla="*/ 0 h 277"/>
                    <a:gd name="T4" fmla="*/ 1778 w 1779"/>
                    <a:gd name="T5" fmla="*/ 276 h 277"/>
                    <a:gd name="T6" fmla="*/ 1778 w 1779"/>
                    <a:gd name="T7" fmla="*/ 276 h 277"/>
                    <a:gd name="T8" fmla="*/ 0 w 1779"/>
                    <a:gd name="T9" fmla="*/ 0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79" h="277">
                      <a:moveTo>
                        <a:pt x="0" y="0"/>
                      </a:moveTo>
                      <a:lnTo>
                        <a:pt x="0" y="0"/>
                      </a:lnTo>
                      <a:cubicBezTo>
                        <a:pt x="166" y="31"/>
                        <a:pt x="774" y="158"/>
                        <a:pt x="1778" y="276"/>
                      </a:cubicBezTo>
                      <a:lnTo>
                        <a:pt x="1778" y="276"/>
                      </a:lnTo>
                      <a:cubicBezTo>
                        <a:pt x="774" y="158"/>
                        <a:pt x="166" y="31"/>
                        <a:pt x="0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2" name="Freeform 219">
                  <a:extLst>
                    <a:ext uri="{FF2B5EF4-FFF2-40B4-BE49-F238E27FC236}">
                      <a16:creationId xmlns:a16="http://schemas.microsoft.com/office/drawing/2014/main" id="{DC5D9B3E-CC35-634C-8986-3E130E46C2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753" y="3719166"/>
                  <a:ext cx="1572489" cy="1322004"/>
                </a:xfrm>
                <a:custGeom>
                  <a:avLst/>
                  <a:gdLst>
                    <a:gd name="T0" fmla="*/ 2450 w 2989"/>
                    <a:gd name="T1" fmla="*/ 601 h 2515"/>
                    <a:gd name="T2" fmla="*/ 2450 w 2989"/>
                    <a:gd name="T3" fmla="*/ 601 h 2515"/>
                    <a:gd name="T4" fmla="*/ 2213 w 2989"/>
                    <a:gd name="T5" fmla="*/ 538 h 2515"/>
                    <a:gd name="T6" fmla="*/ 2102 w 2989"/>
                    <a:gd name="T7" fmla="*/ 546 h 2515"/>
                    <a:gd name="T8" fmla="*/ 2015 w 2989"/>
                    <a:gd name="T9" fmla="*/ 538 h 2515"/>
                    <a:gd name="T10" fmla="*/ 1968 w 2989"/>
                    <a:gd name="T11" fmla="*/ 554 h 2515"/>
                    <a:gd name="T12" fmla="*/ 1818 w 2989"/>
                    <a:gd name="T13" fmla="*/ 554 h 2515"/>
                    <a:gd name="T14" fmla="*/ 1707 w 2989"/>
                    <a:gd name="T15" fmla="*/ 554 h 2515"/>
                    <a:gd name="T16" fmla="*/ 1620 w 2989"/>
                    <a:gd name="T17" fmla="*/ 522 h 2515"/>
                    <a:gd name="T18" fmla="*/ 1533 w 2989"/>
                    <a:gd name="T19" fmla="*/ 538 h 2515"/>
                    <a:gd name="T20" fmla="*/ 1454 w 2989"/>
                    <a:gd name="T21" fmla="*/ 522 h 2515"/>
                    <a:gd name="T22" fmla="*/ 1415 w 2989"/>
                    <a:gd name="T23" fmla="*/ 490 h 2515"/>
                    <a:gd name="T24" fmla="*/ 1360 w 2989"/>
                    <a:gd name="T25" fmla="*/ 459 h 2515"/>
                    <a:gd name="T26" fmla="*/ 1272 w 2989"/>
                    <a:gd name="T27" fmla="*/ 451 h 2515"/>
                    <a:gd name="T28" fmla="*/ 1185 w 2989"/>
                    <a:gd name="T29" fmla="*/ 467 h 2515"/>
                    <a:gd name="T30" fmla="*/ 1059 w 2989"/>
                    <a:gd name="T31" fmla="*/ 451 h 2515"/>
                    <a:gd name="T32" fmla="*/ 956 w 2989"/>
                    <a:gd name="T33" fmla="*/ 419 h 2515"/>
                    <a:gd name="T34" fmla="*/ 948 w 2989"/>
                    <a:gd name="T35" fmla="*/ 348 h 2515"/>
                    <a:gd name="T36" fmla="*/ 964 w 2989"/>
                    <a:gd name="T37" fmla="*/ 190 h 2515"/>
                    <a:gd name="T38" fmla="*/ 877 w 2989"/>
                    <a:gd name="T39" fmla="*/ 103 h 2515"/>
                    <a:gd name="T40" fmla="*/ 822 w 2989"/>
                    <a:gd name="T41" fmla="*/ 87 h 2515"/>
                    <a:gd name="T42" fmla="*/ 790 w 2989"/>
                    <a:gd name="T43" fmla="*/ 40 h 2515"/>
                    <a:gd name="T44" fmla="*/ 687 w 2989"/>
                    <a:gd name="T45" fmla="*/ 0 h 2515"/>
                    <a:gd name="T46" fmla="*/ 687 w 2989"/>
                    <a:gd name="T47" fmla="*/ 16 h 2515"/>
                    <a:gd name="T48" fmla="*/ 672 w 2989"/>
                    <a:gd name="T49" fmla="*/ 79 h 2515"/>
                    <a:gd name="T50" fmla="*/ 664 w 2989"/>
                    <a:gd name="T51" fmla="*/ 95 h 2515"/>
                    <a:gd name="T52" fmla="*/ 608 w 2989"/>
                    <a:gd name="T53" fmla="*/ 277 h 2515"/>
                    <a:gd name="T54" fmla="*/ 545 w 2989"/>
                    <a:gd name="T55" fmla="*/ 459 h 2515"/>
                    <a:gd name="T56" fmla="*/ 474 w 2989"/>
                    <a:gd name="T57" fmla="*/ 593 h 2515"/>
                    <a:gd name="T58" fmla="*/ 442 w 2989"/>
                    <a:gd name="T59" fmla="*/ 672 h 2515"/>
                    <a:gd name="T60" fmla="*/ 434 w 2989"/>
                    <a:gd name="T61" fmla="*/ 743 h 2515"/>
                    <a:gd name="T62" fmla="*/ 419 w 2989"/>
                    <a:gd name="T63" fmla="*/ 799 h 2515"/>
                    <a:gd name="T64" fmla="*/ 387 w 2989"/>
                    <a:gd name="T65" fmla="*/ 862 h 2515"/>
                    <a:gd name="T66" fmla="*/ 300 w 2989"/>
                    <a:gd name="T67" fmla="*/ 1067 h 2515"/>
                    <a:gd name="T68" fmla="*/ 253 w 2989"/>
                    <a:gd name="T69" fmla="*/ 1178 h 2515"/>
                    <a:gd name="T70" fmla="*/ 197 w 2989"/>
                    <a:gd name="T71" fmla="*/ 1249 h 2515"/>
                    <a:gd name="T72" fmla="*/ 166 w 2989"/>
                    <a:gd name="T73" fmla="*/ 1289 h 2515"/>
                    <a:gd name="T74" fmla="*/ 102 w 2989"/>
                    <a:gd name="T75" fmla="*/ 1392 h 2515"/>
                    <a:gd name="T76" fmla="*/ 55 w 2989"/>
                    <a:gd name="T77" fmla="*/ 1494 h 2515"/>
                    <a:gd name="T78" fmla="*/ 63 w 2989"/>
                    <a:gd name="T79" fmla="*/ 1605 h 2515"/>
                    <a:gd name="T80" fmla="*/ 15 w 2989"/>
                    <a:gd name="T81" fmla="*/ 1692 h 2515"/>
                    <a:gd name="T82" fmla="*/ 39 w 2989"/>
                    <a:gd name="T83" fmla="*/ 1890 h 2515"/>
                    <a:gd name="T84" fmla="*/ 55 w 2989"/>
                    <a:gd name="T85" fmla="*/ 1913 h 2515"/>
                    <a:gd name="T86" fmla="*/ 2442 w 2989"/>
                    <a:gd name="T87" fmla="*/ 2514 h 2515"/>
                    <a:gd name="T88" fmla="*/ 2616 w 2989"/>
                    <a:gd name="T89" fmla="*/ 1724 h 2515"/>
                    <a:gd name="T90" fmla="*/ 2672 w 2989"/>
                    <a:gd name="T91" fmla="*/ 1629 h 2515"/>
                    <a:gd name="T92" fmla="*/ 2680 w 2989"/>
                    <a:gd name="T93" fmla="*/ 1566 h 2515"/>
                    <a:gd name="T94" fmla="*/ 2672 w 2989"/>
                    <a:gd name="T95" fmla="*/ 1479 h 2515"/>
                    <a:gd name="T96" fmla="*/ 2616 w 2989"/>
                    <a:gd name="T97" fmla="*/ 1376 h 2515"/>
                    <a:gd name="T98" fmla="*/ 2798 w 2989"/>
                    <a:gd name="T99" fmla="*/ 1178 h 2515"/>
                    <a:gd name="T100" fmla="*/ 2814 w 2989"/>
                    <a:gd name="T101" fmla="*/ 1115 h 2515"/>
                    <a:gd name="T102" fmla="*/ 2885 w 2989"/>
                    <a:gd name="T103" fmla="*/ 1036 h 2515"/>
                    <a:gd name="T104" fmla="*/ 2972 w 2989"/>
                    <a:gd name="T105" fmla="*/ 917 h 2515"/>
                    <a:gd name="T106" fmla="*/ 2925 w 2989"/>
                    <a:gd name="T107" fmla="*/ 783 h 2515"/>
                    <a:gd name="T108" fmla="*/ 2877 w 2989"/>
                    <a:gd name="T109" fmla="*/ 680 h 2515"/>
                    <a:gd name="T110" fmla="*/ 2869 w 2989"/>
                    <a:gd name="T111" fmla="*/ 672 h 2515"/>
                    <a:gd name="T112" fmla="*/ 2450 w 2989"/>
                    <a:gd name="T113" fmla="*/ 601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989" h="2515">
                      <a:moveTo>
                        <a:pt x="2450" y="601"/>
                      </a:moveTo>
                      <a:lnTo>
                        <a:pt x="2450" y="601"/>
                      </a:lnTo>
                      <a:cubicBezTo>
                        <a:pt x="2395" y="570"/>
                        <a:pt x="2237" y="530"/>
                        <a:pt x="2213" y="538"/>
                      </a:cubicBezTo>
                      <a:cubicBezTo>
                        <a:pt x="2190" y="554"/>
                        <a:pt x="2126" y="554"/>
                        <a:pt x="2102" y="546"/>
                      </a:cubicBezTo>
                      <a:cubicBezTo>
                        <a:pt x="2071" y="538"/>
                        <a:pt x="2031" y="522"/>
                        <a:pt x="2015" y="538"/>
                      </a:cubicBezTo>
                      <a:cubicBezTo>
                        <a:pt x="2000" y="546"/>
                        <a:pt x="2047" y="554"/>
                        <a:pt x="1968" y="554"/>
                      </a:cubicBezTo>
                      <a:cubicBezTo>
                        <a:pt x="1897" y="546"/>
                        <a:pt x="1834" y="546"/>
                        <a:pt x="1818" y="554"/>
                      </a:cubicBezTo>
                      <a:cubicBezTo>
                        <a:pt x="1802" y="570"/>
                        <a:pt x="1731" y="585"/>
                        <a:pt x="1707" y="554"/>
                      </a:cubicBezTo>
                      <a:cubicBezTo>
                        <a:pt x="1684" y="522"/>
                        <a:pt x="1636" y="506"/>
                        <a:pt x="1620" y="522"/>
                      </a:cubicBezTo>
                      <a:cubicBezTo>
                        <a:pt x="1604" y="530"/>
                        <a:pt x="1549" y="554"/>
                        <a:pt x="1533" y="538"/>
                      </a:cubicBezTo>
                      <a:cubicBezTo>
                        <a:pt x="1518" y="514"/>
                        <a:pt x="1470" y="522"/>
                        <a:pt x="1454" y="522"/>
                      </a:cubicBezTo>
                      <a:cubicBezTo>
                        <a:pt x="1438" y="522"/>
                        <a:pt x="1438" y="514"/>
                        <a:pt x="1415" y="490"/>
                      </a:cubicBezTo>
                      <a:cubicBezTo>
                        <a:pt x="1399" y="467"/>
                        <a:pt x="1391" y="459"/>
                        <a:pt x="1360" y="459"/>
                      </a:cubicBezTo>
                      <a:cubicBezTo>
                        <a:pt x="1320" y="459"/>
                        <a:pt x="1312" y="467"/>
                        <a:pt x="1272" y="451"/>
                      </a:cubicBezTo>
                      <a:cubicBezTo>
                        <a:pt x="1233" y="427"/>
                        <a:pt x="1225" y="451"/>
                        <a:pt x="1185" y="467"/>
                      </a:cubicBezTo>
                      <a:cubicBezTo>
                        <a:pt x="1146" y="475"/>
                        <a:pt x="1083" y="475"/>
                        <a:pt x="1059" y="451"/>
                      </a:cubicBezTo>
                      <a:cubicBezTo>
                        <a:pt x="1027" y="427"/>
                        <a:pt x="972" y="427"/>
                        <a:pt x="956" y="419"/>
                      </a:cubicBezTo>
                      <a:cubicBezTo>
                        <a:pt x="940" y="403"/>
                        <a:pt x="940" y="380"/>
                        <a:pt x="948" y="348"/>
                      </a:cubicBezTo>
                      <a:cubicBezTo>
                        <a:pt x="948" y="309"/>
                        <a:pt x="996" y="230"/>
                        <a:pt x="964" y="190"/>
                      </a:cubicBezTo>
                      <a:cubicBezTo>
                        <a:pt x="940" y="143"/>
                        <a:pt x="917" y="103"/>
                        <a:pt x="877" y="103"/>
                      </a:cubicBezTo>
                      <a:cubicBezTo>
                        <a:pt x="845" y="103"/>
                        <a:pt x="830" y="127"/>
                        <a:pt x="822" y="87"/>
                      </a:cubicBezTo>
                      <a:cubicBezTo>
                        <a:pt x="814" y="48"/>
                        <a:pt x="822" y="48"/>
                        <a:pt x="790" y="40"/>
                      </a:cubicBezTo>
                      <a:cubicBezTo>
                        <a:pt x="774" y="32"/>
                        <a:pt x="727" y="16"/>
                        <a:pt x="687" y="0"/>
                      </a:cubicBezTo>
                      <a:cubicBezTo>
                        <a:pt x="687" y="0"/>
                        <a:pt x="687" y="8"/>
                        <a:pt x="687" y="16"/>
                      </a:cubicBezTo>
                      <a:cubicBezTo>
                        <a:pt x="680" y="40"/>
                        <a:pt x="680" y="56"/>
                        <a:pt x="672" y="79"/>
                      </a:cubicBezTo>
                      <a:cubicBezTo>
                        <a:pt x="664" y="95"/>
                        <a:pt x="672" y="64"/>
                        <a:pt x="664" y="95"/>
                      </a:cubicBezTo>
                      <a:cubicBezTo>
                        <a:pt x="656" y="135"/>
                        <a:pt x="616" y="222"/>
                        <a:pt x="608" y="277"/>
                      </a:cubicBezTo>
                      <a:cubicBezTo>
                        <a:pt x="592" y="325"/>
                        <a:pt x="569" y="403"/>
                        <a:pt x="545" y="459"/>
                      </a:cubicBezTo>
                      <a:cubicBezTo>
                        <a:pt x="521" y="514"/>
                        <a:pt x="490" y="538"/>
                        <a:pt x="474" y="593"/>
                      </a:cubicBezTo>
                      <a:cubicBezTo>
                        <a:pt x="458" y="649"/>
                        <a:pt x="442" y="633"/>
                        <a:pt x="442" y="672"/>
                      </a:cubicBezTo>
                      <a:cubicBezTo>
                        <a:pt x="442" y="712"/>
                        <a:pt x="450" y="720"/>
                        <a:pt x="434" y="743"/>
                      </a:cubicBezTo>
                      <a:cubicBezTo>
                        <a:pt x="419" y="759"/>
                        <a:pt x="427" y="767"/>
                        <a:pt x="419" y="799"/>
                      </a:cubicBezTo>
                      <a:cubicBezTo>
                        <a:pt x="411" y="838"/>
                        <a:pt x="403" y="799"/>
                        <a:pt x="387" y="862"/>
                      </a:cubicBezTo>
                      <a:cubicBezTo>
                        <a:pt x="363" y="925"/>
                        <a:pt x="308" y="1028"/>
                        <a:pt x="300" y="1067"/>
                      </a:cubicBezTo>
                      <a:cubicBezTo>
                        <a:pt x="284" y="1099"/>
                        <a:pt x="276" y="1162"/>
                        <a:pt x="253" y="1178"/>
                      </a:cubicBezTo>
                      <a:cubicBezTo>
                        <a:pt x="229" y="1202"/>
                        <a:pt x="205" y="1218"/>
                        <a:pt x="197" y="1249"/>
                      </a:cubicBezTo>
                      <a:cubicBezTo>
                        <a:pt x="189" y="1289"/>
                        <a:pt x="158" y="1242"/>
                        <a:pt x="166" y="1289"/>
                      </a:cubicBezTo>
                      <a:cubicBezTo>
                        <a:pt x="174" y="1329"/>
                        <a:pt x="110" y="1376"/>
                        <a:pt x="102" y="1392"/>
                      </a:cubicBezTo>
                      <a:cubicBezTo>
                        <a:pt x="87" y="1407"/>
                        <a:pt x="63" y="1439"/>
                        <a:pt x="55" y="1494"/>
                      </a:cubicBezTo>
                      <a:cubicBezTo>
                        <a:pt x="47" y="1550"/>
                        <a:pt x="87" y="1581"/>
                        <a:pt x="63" y="1605"/>
                      </a:cubicBezTo>
                      <a:cubicBezTo>
                        <a:pt x="39" y="1629"/>
                        <a:pt x="15" y="1660"/>
                        <a:pt x="15" y="1692"/>
                      </a:cubicBezTo>
                      <a:cubicBezTo>
                        <a:pt x="15" y="1716"/>
                        <a:pt x="0" y="1826"/>
                        <a:pt x="39" y="1890"/>
                      </a:cubicBezTo>
                      <a:cubicBezTo>
                        <a:pt x="47" y="1898"/>
                        <a:pt x="47" y="1906"/>
                        <a:pt x="55" y="1913"/>
                      </a:cubicBezTo>
                      <a:cubicBezTo>
                        <a:pt x="371" y="2008"/>
                        <a:pt x="1296" y="2261"/>
                        <a:pt x="2442" y="2514"/>
                      </a:cubicBezTo>
                      <a:cubicBezTo>
                        <a:pt x="2474" y="2364"/>
                        <a:pt x="2616" y="1747"/>
                        <a:pt x="2616" y="1724"/>
                      </a:cubicBezTo>
                      <a:cubicBezTo>
                        <a:pt x="2616" y="1700"/>
                        <a:pt x="2656" y="1653"/>
                        <a:pt x="2672" y="1629"/>
                      </a:cubicBezTo>
                      <a:cubicBezTo>
                        <a:pt x="2680" y="1605"/>
                        <a:pt x="2664" y="1589"/>
                        <a:pt x="2680" y="1566"/>
                      </a:cubicBezTo>
                      <a:cubicBezTo>
                        <a:pt x="2688" y="1550"/>
                        <a:pt x="2727" y="1502"/>
                        <a:pt x="2672" y="1479"/>
                      </a:cubicBezTo>
                      <a:cubicBezTo>
                        <a:pt x="2616" y="1447"/>
                        <a:pt x="2624" y="1415"/>
                        <a:pt x="2616" y="1376"/>
                      </a:cubicBezTo>
                      <a:cubicBezTo>
                        <a:pt x="2616" y="1329"/>
                        <a:pt x="2798" y="1194"/>
                        <a:pt x="2798" y="1178"/>
                      </a:cubicBezTo>
                      <a:cubicBezTo>
                        <a:pt x="2798" y="1162"/>
                        <a:pt x="2790" y="1139"/>
                        <a:pt x="2814" y="1115"/>
                      </a:cubicBezTo>
                      <a:cubicBezTo>
                        <a:pt x="2838" y="1091"/>
                        <a:pt x="2885" y="1060"/>
                        <a:pt x="2885" y="1036"/>
                      </a:cubicBezTo>
                      <a:cubicBezTo>
                        <a:pt x="2885" y="1020"/>
                        <a:pt x="2948" y="933"/>
                        <a:pt x="2972" y="917"/>
                      </a:cubicBezTo>
                      <a:cubicBezTo>
                        <a:pt x="2988" y="902"/>
                        <a:pt x="2972" y="815"/>
                        <a:pt x="2925" y="783"/>
                      </a:cubicBezTo>
                      <a:cubicBezTo>
                        <a:pt x="2901" y="759"/>
                        <a:pt x="2885" y="712"/>
                        <a:pt x="2877" y="680"/>
                      </a:cubicBezTo>
                      <a:cubicBezTo>
                        <a:pt x="2869" y="672"/>
                        <a:pt x="2869" y="672"/>
                        <a:pt x="2869" y="672"/>
                      </a:cubicBezTo>
                      <a:cubicBezTo>
                        <a:pt x="2869" y="672"/>
                        <a:pt x="2506" y="625"/>
                        <a:pt x="2450" y="60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3" name="Freeform 220">
                  <a:extLst>
                    <a:ext uri="{FF2B5EF4-FFF2-40B4-BE49-F238E27FC236}">
                      <a16:creationId xmlns:a16="http://schemas.microsoft.com/office/drawing/2014/main" id="{E6114546-A5EC-7B47-9BD5-30F2F6CAFB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753" y="3714527"/>
                  <a:ext cx="1567851" cy="1326643"/>
                </a:xfrm>
                <a:custGeom>
                  <a:avLst/>
                  <a:gdLst>
                    <a:gd name="T0" fmla="*/ 47 w 2981"/>
                    <a:gd name="T1" fmla="*/ 1929 h 2523"/>
                    <a:gd name="T2" fmla="*/ 15 w 2981"/>
                    <a:gd name="T3" fmla="*/ 1724 h 2523"/>
                    <a:gd name="T4" fmla="*/ 47 w 2981"/>
                    <a:gd name="T5" fmla="*/ 1502 h 2523"/>
                    <a:gd name="T6" fmla="*/ 166 w 2981"/>
                    <a:gd name="T7" fmla="*/ 1273 h 2523"/>
                    <a:gd name="T8" fmla="*/ 253 w 2981"/>
                    <a:gd name="T9" fmla="*/ 1186 h 2523"/>
                    <a:gd name="T10" fmla="*/ 379 w 2981"/>
                    <a:gd name="T11" fmla="*/ 870 h 2523"/>
                    <a:gd name="T12" fmla="*/ 434 w 2981"/>
                    <a:gd name="T13" fmla="*/ 744 h 2523"/>
                    <a:gd name="T14" fmla="*/ 474 w 2981"/>
                    <a:gd name="T15" fmla="*/ 601 h 2523"/>
                    <a:gd name="T16" fmla="*/ 632 w 2981"/>
                    <a:gd name="T17" fmla="*/ 182 h 2523"/>
                    <a:gd name="T18" fmla="*/ 672 w 2981"/>
                    <a:gd name="T19" fmla="*/ 87 h 2523"/>
                    <a:gd name="T20" fmla="*/ 687 w 2981"/>
                    <a:gd name="T21" fmla="*/ 0 h 2523"/>
                    <a:gd name="T22" fmla="*/ 830 w 2981"/>
                    <a:gd name="T23" fmla="*/ 95 h 2523"/>
                    <a:gd name="T24" fmla="*/ 956 w 2981"/>
                    <a:gd name="T25" fmla="*/ 182 h 2523"/>
                    <a:gd name="T26" fmla="*/ 956 w 2981"/>
                    <a:gd name="T27" fmla="*/ 420 h 2523"/>
                    <a:gd name="T28" fmla="*/ 1185 w 2981"/>
                    <a:gd name="T29" fmla="*/ 467 h 2523"/>
                    <a:gd name="T30" fmla="*/ 1312 w 2981"/>
                    <a:gd name="T31" fmla="*/ 467 h 2523"/>
                    <a:gd name="T32" fmla="*/ 1423 w 2981"/>
                    <a:gd name="T33" fmla="*/ 498 h 2523"/>
                    <a:gd name="T34" fmla="*/ 1533 w 2981"/>
                    <a:gd name="T35" fmla="*/ 538 h 2523"/>
                    <a:gd name="T36" fmla="*/ 1715 w 2981"/>
                    <a:gd name="T37" fmla="*/ 562 h 2523"/>
                    <a:gd name="T38" fmla="*/ 1968 w 2981"/>
                    <a:gd name="T39" fmla="*/ 554 h 2523"/>
                    <a:gd name="T40" fmla="*/ 2039 w 2981"/>
                    <a:gd name="T41" fmla="*/ 530 h 2523"/>
                    <a:gd name="T42" fmla="*/ 2221 w 2981"/>
                    <a:gd name="T43" fmla="*/ 546 h 2523"/>
                    <a:gd name="T44" fmla="*/ 2885 w 2981"/>
                    <a:gd name="T45" fmla="*/ 688 h 2523"/>
                    <a:gd name="T46" fmla="*/ 2893 w 2981"/>
                    <a:gd name="T47" fmla="*/ 1044 h 2523"/>
                    <a:gd name="T48" fmla="*/ 2798 w 2981"/>
                    <a:gd name="T49" fmla="*/ 1186 h 2523"/>
                    <a:gd name="T50" fmla="*/ 2672 w 2981"/>
                    <a:gd name="T51" fmla="*/ 1479 h 2523"/>
                    <a:gd name="T52" fmla="*/ 2680 w 2981"/>
                    <a:gd name="T53" fmla="*/ 1605 h 2523"/>
                    <a:gd name="T54" fmla="*/ 2442 w 2981"/>
                    <a:gd name="T55" fmla="*/ 2522 h 2523"/>
                    <a:gd name="T56" fmla="*/ 2616 w 2981"/>
                    <a:gd name="T57" fmla="*/ 1732 h 2523"/>
                    <a:gd name="T58" fmla="*/ 2672 w 2981"/>
                    <a:gd name="T59" fmla="*/ 1574 h 2523"/>
                    <a:gd name="T60" fmla="*/ 2616 w 2981"/>
                    <a:gd name="T61" fmla="*/ 1408 h 2523"/>
                    <a:gd name="T62" fmla="*/ 2798 w 2981"/>
                    <a:gd name="T63" fmla="*/ 1186 h 2523"/>
                    <a:gd name="T64" fmla="*/ 2964 w 2981"/>
                    <a:gd name="T65" fmla="*/ 925 h 2523"/>
                    <a:gd name="T66" fmla="*/ 2869 w 2981"/>
                    <a:gd name="T67" fmla="*/ 688 h 2523"/>
                    <a:gd name="T68" fmla="*/ 2150 w 2981"/>
                    <a:gd name="T69" fmla="*/ 562 h 2523"/>
                    <a:gd name="T70" fmla="*/ 2015 w 2981"/>
                    <a:gd name="T71" fmla="*/ 554 h 2523"/>
                    <a:gd name="T72" fmla="*/ 1881 w 2981"/>
                    <a:gd name="T73" fmla="*/ 562 h 2523"/>
                    <a:gd name="T74" fmla="*/ 1636 w 2981"/>
                    <a:gd name="T75" fmla="*/ 530 h 2523"/>
                    <a:gd name="T76" fmla="*/ 1486 w 2981"/>
                    <a:gd name="T77" fmla="*/ 530 h 2523"/>
                    <a:gd name="T78" fmla="*/ 1407 w 2981"/>
                    <a:gd name="T79" fmla="*/ 498 h 2523"/>
                    <a:gd name="T80" fmla="*/ 1272 w 2981"/>
                    <a:gd name="T81" fmla="*/ 459 h 2523"/>
                    <a:gd name="T82" fmla="*/ 1130 w 2981"/>
                    <a:gd name="T83" fmla="*/ 483 h 2523"/>
                    <a:gd name="T84" fmla="*/ 940 w 2981"/>
                    <a:gd name="T85" fmla="*/ 356 h 2523"/>
                    <a:gd name="T86" fmla="*/ 877 w 2981"/>
                    <a:gd name="T87" fmla="*/ 111 h 2523"/>
                    <a:gd name="T88" fmla="*/ 814 w 2981"/>
                    <a:gd name="T89" fmla="*/ 87 h 2523"/>
                    <a:gd name="T90" fmla="*/ 680 w 2981"/>
                    <a:gd name="T91" fmla="*/ 56 h 2523"/>
                    <a:gd name="T92" fmla="*/ 640 w 2981"/>
                    <a:gd name="T93" fmla="*/ 190 h 2523"/>
                    <a:gd name="T94" fmla="*/ 482 w 2981"/>
                    <a:gd name="T95" fmla="*/ 601 h 2523"/>
                    <a:gd name="T96" fmla="*/ 434 w 2981"/>
                    <a:gd name="T97" fmla="*/ 751 h 2523"/>
                    <a:gd name="T98" fmla="*/ 387 w 2981"/>
                    <a:gd name="T99" fmla="*/ 870 h 2523"/>
                    <a:gd name="T100" fmla="*/ 253 w 2981"/>
                    <a:gd name="T101" fmla="*/ 1186 h 2523"/>
                    <a:gd name="T102" fmla="*/ 174 w 2981"/>
                    <a:gd name="T103" fmla="*/ 1281 h 2523"/>
                    <a:gd name="T104" fmla="*/ 102 w 2981"/>
                    <a:gd name="T105" fmla="*/ 1400 h 2523"/>
                    <a:gd name="T106" fmla="*/ 23 w 2981"/>
                    <a:gd name="T107" fmla="*/ 1700 h 25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981" h="2523">
                      <a:moveTo>
                        <a:pt x="2442" y="2522"/>
                      </a:moveTo>
                      <a:lnTo>
                        <a:pt x="2442" y="2522"/>
                      </a:lnTo>
                      <a:lnTo>
                        <a:pt x="2442" y="2522"/>
                      </a:lnTo>
                      <a:cubicBezTo>
                        <a:pt x="1304" y="2277"/>
                        <a:pt x="387" y="2024"/>
                        <a:pt x="47" y="1929"/>
                      </a:cubicBezTo>
                      <a:lnTo>
                        <a:pt x="47" y="1929"/>
                      </a:lnTo>
                      <a:lnTo>
                        <a:pt x="47" y="1929"/>
                      </a:lnTo>
                      <a:cubicBezTo>
                        <a:pt x="47" y="1921"/>
                        <a:pt x="39" y="1906"/>
                        <a:pt x="31" y="1898"/>
                      </a:cubicBezTo>
                      <a:cubicBezTo>
                        <a:pt x="0" y="1850"/>
                        <a:pt x="8" y="1763"/>
                        <a:pt x="15" y="1724"/>
                      </a:cubicBezTo>
                      <a:cubicBezTo>
                        <a:pt x="15" y="1708"/>
                        <a:pt x="15" y="1700"/>
                        <a:pt x="15" y="1700"/>
                      </a:cubicBezTo>
                      <a:cubicBezTo>
                        <a:pt x="15" y="1668"/>
                        <a:pt x="31" y="1637"/>
                        <a:pt x="63" y="1613"/>
                      </a:cubicBezTo>
                      <a:cubicBezTo>
                        <a:pt x="71" y="1605"/>
                        <a:pt x="71" y="1589"/>
                        <a:pt x="63" y="1566"/>
                      </a:cubicBezTo>
                      <a:cubicBezTo>
                        <a:pt x="55" y="1550"/>
                        <a:pt x="47" y="1526"/>
                        <a:pt x="47" y="1502"/>
                      </a:cubicBezTo>
                      <a:cubicBezTo>
                        <a:pt x="55" y="1463"/>
                        <a:pt x="71" y="1423"/>
                        <a:pt x="95" y="1400"/>
                      </a:cubicBezTo>
                      <a:cubicBezTo>
                        <a:pt x="102" y="1400"/>
                        <a:pt x="102" y="1400"/>
                        <a:pt x="102" y="1392"/>
                      </a:cubicBezTo>
                      <a:cubicBezTo>
                        <a:pt x="118" y="1376"/>
                        <a:pt x="166" y="1328"/>
                        <a:pt x="158" y="1297"/>
                      </a:cubicBezTo>
                      <a:cubicBezTo>
                        <a:pt x="158" y="1281"/>
                        <a:pt x="158" y="1273"/>
                        <a:pt x="166" y="1273"/>
                      </a:cubicBezTo>
                      <a:cubicBezTo>
                        <a:pt x="166" y="1273"/>
                        <a:pt x="174" y="1273"/>
                        <a:pt x="181" y="1273"/>
                      </a:cubicBezTo>
                      <a:lnTo>
                        <a:pt x="181" y="1273"/>
                      </a:lnTo>
                      <a:cubicBezTo>
                        <a:pt x="189" y="1273"/>
                        <a:pt x="189" y="1273"/>
                        <a:pt x="197" y="1257"/>
                      </a:cubicBezTo>
                      <a:cubicBezTo>
                        <a:pt x="205" y="1226"/>
                        <a:pt x="221" y="1202"/>
                        <a:pt x="253" y="1186"/>
                      </a:cubicBezTo>
                      <a:cubicBezTo>
                        <a:pt x="268" y="1170"/>
                        <a:pt x="276" y="1131"/>
                        <a:pt x="284" y="1099"/>
                      </a:cubicBezTo>
                      <a:cubicBezTo>
                        <a:pt x="292" y="1091"/>
                        <a:pt x="292" y="1084"/>
                        <a:pt x="292" y="1075"/>
                      </a:cubicBezTo>
                      <a:cubicBezTo>
                        <a:pt x="300" y="1060"/>
                        <a:pt x="316" y="1028"/>
                        <a:pt x="324" y="997"/>
                      </a:cubicBezTo>
                      <a:cubicBezTo>
                        <a:pt x="348" y="957"/>
                        <a:pt x="371" y="902"/>
                        <a:pt x="379" y="870"/>
                      </a:cubicBezTo>
                      <a:cubicBezTo>
                        <a:pt x="387" y="838"/>
                        <a:pt x="395" y="831"/>
                        <a:pt x="403" y="823"/>
                      </a:cubicBezTo>
                      <a:cubicBezTo>
                        <a:pt x="411" y="823"/>
                        <a:pt x="411" y="823"/>
                        <a:pt x="411" y="807"/>
                      </a:cubicBezTo>
                      <a:cubicBezTo>
                        <a:pt x="419" y="799"/>
                        <a:pt x="419" y="791"/>
                        <a:pt x="419" y="783"/>
                      </a:cubicBezTo>
                      <a:cubicBezTo>
                        <a:pt x="419" y="767"/>
                        <a:pt x="419" y="759"/>
                        <a:pt x="434" y="744"/>
                      </a:cubicBezTo>
                      <a:cubicBezTo>
                        <a:pt x="442" y="736"/>
                        <a:pt x="442" y="728"/>
                        <a:pt x="442" y="704"/>
                      </a:cubicBezTo>
                      <a:cubicBezTo>
                        <a:pt x="442" y="696"/>
                        <a:pt x="442" y="688"/>
                        <a:pt x="442" y="680"/>
                      </a:cubicBezTo>
                      <a:cubicBezTo>
                        <a:pt x="442" y="657"/>
                        <a:pt x="442" y="649"/>
                        <a:pt x="450" y="641"/>
                      </a:cubicBezTo>
                      <a:cubicBezTo>
                        <a:pt x="458" y="633"/>
                        <a:pt x="466" y="625"/>
                        <a:pt x="474" y="601"/>
                      </a:cubicBezTo>
                      <a:cubicBezTo>
                        <a:pt x="482" y="570"/>
                        <a:pt x="490" y="546"/>
                        <a:pt x="506" y="522"/>
                      </a:cubicBezTo>
                      <a:cubicBezTo>
                        <a:pt x="521" y="506"/>
                        <a:pt x="529" y="491"/>
                        <a:pt x="537" y="467"/>
                      </a:cubicBezTo>
                      <a:cubicBezTo>
                        <a:pt x="561" y="411"/>
                        <a:pt x="585" y="340"/>
                        <a:pt x="600" y="285"/>
                      </a:cubicBezTo>
                      <a:cubicBezTo>
                        <a:pt x="608" y="253"/>
                        <a:pt x="624" y="222"/>
                        <a:pt x="632" y="182"/>
                      </a:cubicBezTo>
                      <a:cubicBezTo>
                        <a:pt x="640" y="151"/>
                        <a:pt x="656" y="127"/>
                        <a:pt x="656" y="103"/>
                      </a:cubicBezTo>
                      <a:cubicBezTo>
                        <a:pt x="664" y="87"/>
                        <a:pt x="664" y="87"/>
                        <a:pt x="664" y="87"/>
                      </a:cubicBezTo>
                      <a:lnTo>
                        <a:pt x="664" y="87"/>
                      </a:lnTo>
                      <a:cubicBezTo>
                        <a:pt x="672" y="87"/>
                        <a:pt x="672" y="87"/>
                        <a:pt x="672" y="87"/>
                      </a:cubicBezTo>
                      <a:cubicBezTo>
                        <a:pt x="672" y="72"/>
                        <a:pt x="672" y="64"/>
                        <a:pt x="672" y="56"/>
                      </a:cubicBezTo>
                      <a:cubicBezTo>
                        <a:pt x="680" y="48"/>
                        <a:pt x="680" y="32"/>
                        <a:pt x="680" y="24"/>
                      </a:cubicBezTo>
                      <a:cubicBezTo>
                        <a:pt x="680" y="16"/>
                        <a:pt x="687" y="8"/>
                        <a:pt x="687" y="8"/>
                      </a:cubicBezTo>
                      <a:cubicBezTo>
                        <a:pt x="687" y="0"/>
                        <a:pt x="687" y="0"/>
                        <a:pt x="687" y="0"/>
                      </a:cubicBezTo>
                      <a:lnTo>
                        <a:pt x="687" y="0"/>
                      </a:lnTo>
                      <a:cubicBezTo>
                        <a:pt x="743" y="24"/>
                        <a:pt x="782" y="40"/>
                        <a:pt x="790" y="40"/>
                      </a:cubicBezTo>
                      <a:cubicBezTo>
                        <a:pt x="822" y="48"/>
                        <a:pt x="822" y="56"/>
                        <a:pt x="822" y="87"/>
                      </a:cubicBezTo>
                      <a:cubicBezTo>
                        <a:pt x="822" y="87"/>
                        <a:pt x="830" y="87"/>
                        <a:pt x="830" y="95"/>
                      </a:cubicBezTo>
                      <a:cubicBezTo>
                        <a:pt x="830" y="119"/>
                        <a:pt x="838" y="119"/>
                        <a:pt x="838" y="119"/>
                      </a:cubicBezTo>
                      <a:lnTo>
                        <a:pt x="845" y="111"/>
                      </a:lnTo>
                      <a:cubicBezTo>
                        <a:pt x="854" y="111"/>
                        <a:pt x="869" y="103"/>
                        <a:pt x="877" y="103"/>
                      </a:cubicBezTo>
                      <a:cubicBezTo>
                        <a:pt x="917" y="103"/>
                        <a:pt x="932" y="143"/>
                        <a:pt x="956" y="182"/>
                      </a:cubicBezTo>
                      <a:cubicBezTo>
                        <a:pt x="964" y="182"/>
                        <a:pt x="964" y="190"/>
                        <a:pt x="972" y="190"/>
                      </a:cubicBezTo>
                      <a:cubicBezTo>
                        <a:pt x="988" y="230"/>
                        <a:pt x="972" y="277"/>
                        <a:pt x="956" y="317"/>
                      </a:cubicBezTo>
                      <a:cubicBezTo>
                        <a:pt x="956" y="333"/>
                        <a:pt x="948" y="340"/>
                        <a:pt x="948" y="356"/>
                      </a:cubicBezTo>
                      <a:cubicBezTo>
                        <a:pt x="940" y="388"/>
                        <a:pt x="948" y="411"/>
                        <a:pt x="956" y="420"/>
                      </a:cubicBezTo>
                      <a:cubicBezTo>
                        <a:pt x="964" y="427"/>
                        <a:pt x="980" y="427"/>
                        <a:pt x="988" y="427"/>
                      </a:cubicBezTo>
                      <a:cubicBezTo>
                        <a:pt x="1012" y="435"/>
                        <a:pt x="1043" y="435"/>
                        <a:pt x="1059" y="451"/>
                      </a:cubicBezTo>
                      <a:cubicBezTo>
                        <a:pt x="1075" y="467"/>
                        <a:pt x="1098" y="475"/>
                        <a:pt x="1130" y="475"/>
                      </a:cubicBezTo>
                      <a:cubicBezTo>
                        <a:pt x="1154" y="475"/>
                        <a:pt x="1170" y="475"/>
                        <a:pt x="1185" y="467"/>
                      </a:cubicBezTo>
                      <a:cubicBezTo>
                        <a:pt x="1193" y="467"/>
                        <a:pt x="1209" y="459"/>
                        <a:pt x="1209" y="459"/>
                      </a:cubicBezTo>
                      <a:cubicBezTo>
                        <a:pt x="1225" y="451"/>
                        <a:pt x="1233" y="443"/>
                        <a:pt x="1241" y="443"/>
                      </a:cubicBezTo>
                      <a:cubicBezTo>
                        <a:pt x="1249" y="443"/>
                        <a:pt x="1265" y="451"/>
                        <a:pt x="1272" y="451"/>
                      </a:cubicBezTo>
                      <a:cubicBezTo>
                        <a:pt x="1288" y="459"/>
                        <a:pt x="1304" y="467"/>
                        <a:pt x="1312" y="467"/>
                      </a:cubicBezTo>
                      <a:cubicBezTo>
                        <a:pt x="1320" y="467"/>
                        <a:pt x="1320" y="467"/>
                        <a:pt x="1328" y="459"/>
                      </a:cubicBezTo>
                      <a:cubicBezTo>
                        <a:pt x="1336" y="459"/>
                        <a:pt x="1344" y="459"/>
                        <a:pt x="1360" y="459"/>
                      </a:cubicBezTo>
                      <a:cubicBezTo>
                        <a:pt x="1391" y="459"/>
                        <a:pt x="1399" y="467"/>
                        <a:pt x="1415" y="491"/>
                      </a:cubicBezTo>
                      <a:cubicBezTo>
                        <a:pt x="1423" y="498"/>
                        <a:pt x="1423" y="498"/>
                        <a:pt x="1423" y="498"/>
                      </a:cubicBezTo>
                      <a:cubicBezTo>
                        <a:pt x="1423" y="498"/>
                        <a:pt x="1423" y="506"/>
                        <a:pt x="1431" y="506"/>
                      </a:cubicBezTo>
                      <a:cubicBezTo>
                        <a:pt x="1438" y="530"/>
                        <a:pt x="1446" y="530"/>
                        <a:pt x="1454" y="530"/>
                      </a:cubicBezTo>
                      <a:cubicBezTo>
                        <a:pt x="1462" y="530"/>
                        <a:pt x="1470" y="522"/>
                        <a:pt x="1486" y="522"/>
                      </a:cubicBezTo>
                      <a:cubicBezTo>
                        <a:pt x="1502" y="522"/>
                        <a:pt x="1525" y="530"/>
                        <a:pt x="1533" y="538"/>
                      </a:cubicBezTo>
                      <a:cubicBezTo>
                        <a:pt x="1541" y="546"/>
                        <a:pt x="1549" y="546"/>
                        <a:pt x="1557" y="546"/>
                      </a:cubicBezTo>
                      <a:cubicBezTo>
                        <a:pt x="1573" y="546"/>
                        <a:pt x="1604" y="530"/>
                        <a:pt x="1620" y="522"/>
                      </a:cubicBezTo>
                      <a:cubicBezTo>
                        <a:pt x="1620" y="522"/>
                        <a:pt x="1628" y="522"/>
                        <a:pt x="1636" y="522"/>
                      </a:cubicBezTo>
                      <a:cubicBezTo>
                        <a:pt x="1660" y="522"/>
                        <a:pt x="1691" y="530"/>
                        <a:pt x="1715" y="562"/>
                      </a:cubicBezTo>
                      <a:cubicBezTo>
                        <a:pt x="1723" y="570"/>
                        <a:pt x="1739" y="578"/>
                        <a:pt x="1755" y="578"/>
                      </a:cubicBezTo>
                      <a:cubicBezTo>
                        <a:pt x="1778" y="578"/>
                        <a:pt x="1810" y="570"/>
                        <a:pt x="1818" y="562"/>
                      </a:cubicBezTo>
                      <a:cubicBezTo>
                        <a:pt x="1826" y="554"/>
                        <a:pt x="1850" y="554"/>
                        <a:pt x="1881" y="554"/>
                      </a:cubicBezTo>
                      <a:cubicBezTo>
                        <a:pt x="1905" y="554"/>
                        <a:pt x="1937" y="554"/>
                        <a:pt x="1968" y="554"/>
                      </a:cubicBezTo>
                      <a:cubicBezTo>
                        <a:pt x="2000" y="554"/>
                        <a:pt x="2008" y="554"/>
                        <a:pt x="2008" y="554"/>
                      </a:cubicBezTo>
                      <a:lnTo>
                        <a:pt x="2008" y="554"/>
                      </a:lnTo>
                      <a:cubicBezTo>
                        <a:pt x="2008" y="554"/>
                        <a:pt x="2008" y="546"/>
                        <a:pt x="2015" y="538"/>
                      </a:cubicBezTo>
                      <a:cubicBezTo>
                        <a:pt x="2015" y="538"/>
                        <a:pt x="2023" y="530"/>
                        <a:pt x="2039" y="530"/>
                      </a:cubicBezTo>
                      <a:cubicBezTo>
                        <a:pt x="2055" y="530"/>
                        <a:pt x="2079" y="538"/>
                        <a:pt x="2102" y="546"/>
                      </a:cubicBezTo>
                      <a:cubicBezTo>
                        <a:pt x="2110" y="554"/>
                        <a:pt x="2134" y="554"/>
                        <a:pt x="2150" y="554"/>
                      </a:cubicBezTo>
                      <a:cubicBezTo>
                        <a:pt x="2174" y="554"/>
                        <a:pt x="2197" y="546"/>
                        <a:pt x="2213" y="546"/>
                      </a:cubicBezTo>
                      <a:cubicBezTo>
                        <a:pt x="2213" y="546"/>
                        <a:pt x="2213" y="546"/>
                        <a:pt x="2221" y="546"/>
                      </a:cubicBezTo>
                      <a:cubicBezTo>
                        <a:pt x="2268" y="546"/>
                        <a:pt x="2403" y="578"/>
                        <a:pt x="2450" y="601"/>
                      </a:cubicBezTo>
                      <a:cubicBezTo>
                        <a:pt x="2506" y="633"/>
                        <a:pt x="2861" y="680"/>
                        <a:pt x="2869" y="680"/>
                      </a:cubicBezTo>
                      <a:cubicBezTo>
                        <a:pt x="2885" y="680"/>
                        <a:pt x="2885" y="680"/>
                        <a:pt x="2885" y="680"/>
                      </a:cubicBezTo>
                      <a:cubicBezTo>
                        <a:pt x="2885" y="688"/>
                        <a:pt x="2885" y="688"/>
                        <a:pt x="2885" y="688"/>
                      </a:cubicBezTo>
                      <a:cubicBezTo>
                        <a:pt x="2885" y="712"/>
                        <a:pt x="2901" y="759"/>
                        <a:pt x="2925" y="783"/>
                      </a:cubicBezTo>
                      <a:cubicBezTo>
                        <a:pt x="2964" y="815"/>
                        <a:pt x="2980" y="862"/>
                        <a:pt x="2980" y="902"/>
                      </a:cubicBezTo>
                      <a:cubicBezTo>
                        <a:pt x="2980" y="910"/>
                        <a:pt x="2980" y="925"/>
                        <a:pt x="2972" y="925"/>
                      </a:cubicBezTo>
                      <a:cubicBezTo>
                        <a:pt x="2948" y="949"/>
                        <a:pt x="2893" y="1028"/>
                        <a:pt x="2893" y="1044"/>
                      </a:cubicBezTo>
                      <a:cubicBezTo>
                        <a:pt x="2893" y="1060"/>
                        <a:pt x="2869" y="1084"/>
                        <a:pt x="2846" y="1099"/>
                      </a:cubicBezTo>
                      <a:cubicBezTo>
                        <a:pt x="2838" y="1107"/>
                        <a:pt x="2830" y="1115"/>
                        <a:pt x="2814" y="1123"/>
                      </a:cubicBezTo>
                      <a:cubicBezTo>
                        <a:pt x="2790" y="1147"/>
                        <a:pt x="2798" y="1170"/>
                        <a:pt x="2798" y="1186"/>
                      </a:cubicBezTo>
                      <a:lnTo>
                        <a:pt x="2798" y="1186"/>
                      </a:lnTo>
                      <a:cubicBezTo>
                        <a:pt x="2806" y="1194"/>
                        <a:pt x="2790" y="1202"/>
                        <a:pt x="2743" y="1241"/>
                      </a:cubicBezTo>
                      <a:cubicBezTo>
                        <a:pt x="2695" y="1289"/>
                        <a:pt x="2616" y="1352"/>
                        <a:pt x="2624" y="1384"/>
                      </a:cubicBezTo>
                      <a:cubicBezTo>
                        <a:pt x="2624" y="1392"/>
                        <a:pt x="2624" y="1400"/>
                        <a:pt x="2624" y="1408"/>
                      </a:cubicBezTo>
                      <a:cubicBezTo>
                        <a:pt x="2624" y="1439"/>
                        <a:pt x="2624" y="1455"/>
                        <a:pt x="2672" y="1479"/>
                      </a:cubicBezTo>
                      <a:cubicBezTo>
                        <a:pt x="2688" y="1487"/>
                        <a:pt x="2703" y="1502"/>
                        <a:pt x="2703" y="1510"/>
                      </a:cubicBezTo>
                      <a:cubicBezTo>
                        <a:pt x="2711" y="1534"/>
                        <a:pt x="2695" y="1558"/>
                        <a:pt x="2680" y="1574"/>
                      </a:cubicBezTo>
                      <a:cubicBezTo>
                        <a:pt x="2680" y="1581"/>
                        <a:pt x="2680" y="1581"/>
                        <a:pt x="2680" y="1581"/>
                      </a:cubicBezTo>
                      <a:cubicBezTo>
                        <a:pt x="2672" y="1589"/>
                        <a:pt x="2672" y="1597"/>
                        <a:pt x="2680" y="1605"/>
                      </a:cubicBezTo>
                      <a:cubicBezTo>
                        <a:pt x="2680" y="1613"/>
                        <a:pt x="2680" y="1629"/>
                        <a:pt x="2672" y="1637"/>
                      </a:cubicBezTo>
                      <a:cubicBezTo>
                        <a:pt x="2664" y="1645"/>
                        <a:pt x="2664" y="1645"/>
                        <a:pt x="2664" y="1645"/>
                      </a:cubicBezTo>
                      <a:cubicBezTo>
                        <a:pt x="2648" y="1668"/>
                        <a:pt x="2624" y="1716"/>
                        <a:pt x="2624" y="1732"/>
                      </a:cubicBezTo>
                      <a:cubicBezTo>
                        <a:pt x="2624" y="1755"/>
                        <a:pt x="2490" y="2340"/>
                        <a:pt x="2442" y="2522"/>
                      </a:cubicBezTo>
                      <a:close/>
                      <a:moveTo>
                        <a:pt x="55" y="1921"/>
                      </a:moveTo>
                      <a:lnTo>
                        <a:pt x="55" y="1921"/>
                      </a:lnTo>
                      <a:cubicBezTo>
                        <a:pt x="395" y="2016"/>
                        <a:pt x="1304" y="2269"/>
                        <a:pt x="2442" y="2514"/>
                      </a:cubicBezTo>
                      <a:cubicBezTo>
                        <a:pt x="2521" y="2143"/>
                        <a:pt x="2616" y="1748"/>
                        <a:pt x="2616" y="1732"/>
                      </a:cubicBezTo>
                      <a:cubicBezTo>
                        <a:pt x="2616" y="1716"/>
                        <a:pt x="2640" y="1668"/>
                        <a:pt x="2656" y="1645"/>
                      </a:cubicBezTo>
                      <a:cubicBezTo>
                        <a:pt x="2664" y="1637"/>
                        <a:pt x="2664" y="1637"/>
                        <a:pt x="2664" y="1637"/>
                      </a:cubicBezTo>
                      <a:cubicBezTo>
                        <a:pt x="2672" y="1629"/>
                        <a:pt x="2672" y="1613"/>
                        <a:pt x="2672" y="1605"/>
                      </a:cubicBezTo>
                      <a:cubicBezTo>
                        <a:pt x="2664" y="1597"/>
                        <a:pt x="2664" y="1581"/>
                        <a:pt x="2672" y="1574"/>
                      </a:cubicBezTo>
                      <a:lnTo>
                        <a:pt x="2672" y="1574"/>
                      </a:lnTo>
                      <a:cubicBezTo>
                        <a:pt x="2688" y="1558"/>
                        <a:pt x="2703" y="1534"/>
                        <a:pt x="2695" y="1518"/>
                      </a:cubicBezTo>
                      <a:cubicBezTo>
                        <a:pt x="2695" y="1502"/>
                        <a:pt x="2688" y="1495"/>
                        <a:pt x="2672" y="1487"/>
                      </a:cubicBezTo>
                      <a:cubicBezTo>
                        <a:pt x="2624" y="1463"/>
                        <a:pt x="2616" y="1439"/>
                        <a:pt x="2616" y="1408"/>
                      </a:cubicBezTo>
                      <a:cubicBezTo>
                        <a:pt x="2616" y="1400"/>
                        <a:pt x="2616" y="1392"/>
                        <a:pt x="2616" y="1384"/>
                      </a:cubicBezTo>
                      <a:cubicBezTo>
                        <a:pt x="2608" y="1352"/>
                        <a:pt x="2672" y="1297"/>
                        <a:pt x="2743" y="1234"/>
                      </a:cubicBezTo>
                      <a:cubicBezTo>
                        <a:pt x="2767" y="1218"/>
                        <a:pt x="2790" y="1194"/>
                        <a:pt x="2798" y="1186"/>
                      </a:cubicBezTo>
                      <a:lnTo>
                        <a:pt x="2798" y="1186"/>
                      </a:lnTo>
                      <a:cubicBezTo>
                        <a:pt x="2790" y="1170"/>
                        <a:pt x="2782" y="1147"/>
                        <a:pt x="2814" y="1115"/>
                      </a:cubicBezTo>
                      <a:cubicBezTo>
                        <a:pt x="2822" y="1107"/>
                        <a:pt x="2830" y="1099"/>
                        <a:pt x="2838" y="1091"/>
                      </a:cubicBezTo>
                      <a:cubicBezTo>
                        <a:pt x="2861" y="1075"/>
                        <a:pt x="2885" y="1060"/>
                        <a:pt x="2885" y="1044"/>
                      </a:cubicBezTo>
                      <a:cubicBezTo>
                        <a:pt x="2885" y="1028"/>
                        <a:pt x="2948" y="941"/>
                        <a:pt x="2964" y="925"/>
                      </a:cubicBezTo>
                      <a:cubicBezTo>
                        <a:pt x="2972" y="917"/>
                        <a:pt x="2972" y="910"/>
                        <a:pt x="2972" y="902"/>
                      </a:cubicBezTo>
                      <a:cubicBezTo>
                        <a:pt x="2972" y="862"/>
                        <a:pt x="2956" y="815"/>
                        <a:pt x="2925" y="791"/>
                      </a:cubicBezTo>
                      <a:cubicBezTo>
                        <a:pt x="2893" y="767"/>
                        <a:pt x="2885" y="728"/>
                        <a:pt x="2877" y="688"/>
                      </a:cubicBezTo>
                      <a:cubicBezTo>
                        <a:pt x="2869" y="688"/>
                        <a:pt x="2869" y="688"/>
                        <a:pt x="2869" y="688"/>
                      </a:cubicBezTo>
                      <a:cubicBezTo>
                        <a:pt x="2854" y="688"/>
                        <a:pt x="2506" y="641"/>
                        <a:pt x="2450" y="609"/>
                      </a:cubicBezTo>
                      <a:cubicBezTo>
                        <a:pt x="2403" y="585"/>
                        <a:pt x="2268" y="546"/>
                        <a:pt x="2221" y="546"/>
                      </a:cubicBezTo>
                      <a:cubicBezTo>
                        <a:pt x="2213" y="546"/>
                        <a:pt x="2213" y="554"/>
                        <a:pt x="2213" y="554"/>
                      </a:cubicBezTo>
                      <a:cubicBezTo>
                        <a:pt x="2197" y="554"/>
                        <a:pt x="2182" y="562"/>
                        <a:pt x="2150" y="562"/>
                      </a:cubicBezTo>
                      <a:cubicBezTo>
                        <a:pt x="2134" y="562"/>
                        <a:pt x="2110" y="562"/>
                        <a:pt x="2102" y="554"/>
                      </a:cubicBezTo>
                      <a:cubicBezTo>
                        <a:pt x="2087" y="546"/>
                        <a:pt x="2055" y="538"/>
                        <a:pt x="2039" y="538"/>
                      </a:cubicBezTo>
                      <a:cubicBezTo>
                        <a:pt x="2023" y="538"/>
                        <a:pt x="2023" y="538"/>
                        <a:pt x="2015" y="546"/>
                      </a:cubicBezTo>
                      <a:cubicBezTo>
                        <a:pt x="2015" y="546"/>
                        <a:pt x="2015" y="546"/>
                        <a:pt x="2015" y="554"/>
                      </a:cubicBezTo>
                      <a:cubicBezTo>
                        <a:pt x="2015" y="554"/>
                        <a:pt x="2023" y="562"/>
                        <a:pt x="2015" y="562"/>
                      </a:cubicBezTo>
                      <a:cubicBezTo>
                        <a:pt x="2015" y="562"/>
                        <a:pt x="2015" y="562"/>
                        <a:pt x="2008" y="562"/>
                      </a:cubicBezTo>
                      <a:cubicBezTo>
                        <a:pt x="2000" y="562"/>
                        <a:pt x="1984" y="562"/>
                        <a:pt x="1968" y="562"/>
                      </a:cubicBezTo>
                      <a:cubicBezTo>
                        <a:pt x="1937" y="562"/>
                        <a:pt x="1905" y="562"/>
                        <a:pt x="1881" y="562"/>
                      </a:cubicBezTo>
                      <a:cubicBezTo>
                        <a:pt x="1842" y="562"/>
                        <a:pt x="1826" y="562"/>
                        <a:pt x="1818" y="570"/>
                      </a:cubicBezTo>
                      <a:cubicBezTo>
                        <a:pt x="1810" y="578"/>
                        <a:pt x="1778" y="585"/>
                        <a:pt x="1755" y="585"/>
                      </a:cubicBezTo>
                      <a:cubicBezTo>
                        <a:pt x="1731" y="585"/>
                        <a:pt x="1715" y="578"/>
                        <a:pt x="1707" y="562"/>
                      </a:cubicBezTo>
                      <a:cubicBezTo>
                        <a:pt x="1684" y="538"/>
                        <a:pt x="1652" y="530"/>
                        <a:pt x="1636" y="530"/>
                      </a:cubicBezTo>
                      <a:cubicBezTo>
                        <a:pt x="1628" y="530"/>
                        <a:pt x="1628" y="530"/>
                        <a:pt x="1620" y="530"/>
                      </a:cubicBezTo>
                      <a:cubicBezTo>
                        <a:pt x="1612" y="538"/>
                        <a:pt x="1581" y="554"/>
                        <a:pt x="1557" y="554"/>
                      </a:cubicBezTo>
                      <a:cubicBezTo>
                        <a:pt x="1541" y="554"/>
                        <a:pt x="1533" y="546"/>
                        <a:pt x="1533" y="546"/>
                      </a:cubicBezTo>
                      <a:cubicBezTo>
                        <a:pt x="1525" y="538"/>
                        <a:pt x="1510" y="530"/>
                        <a:pt x="1486" y="530"/>
                      </a:cubicBezTo>
                      <a:cubicBezTo>
                        <a:pt x="1478" y="530"/>
                        <a:pt x="1462" y="530"/>
                        <a:pt x="1454" y="538"/>
                      </a:cubicBezTo>
                      <a:cubicBezTo>
                        <a:pt x="1438" y="538"/>
                        <a:pt x="1438" y="530"/>
                        <a:pt x="1423" y="514"/>
                      </a:cubicBezTo>
                      <a:cubicBezTo>
                        <a:pt x="1423" y="506"/>
                        <a:pt x="1415" y="506"/>
                        <a:pt x="1415" y="498"/>
                      </a:cubicBezTo>
                      <a:cubicBezTo>
                        <a:pt x="1407" y="498"/>
                        <a:pt x="1407" y="498"/>
                        <a:pt x="1407" y="498"/>
                      </a:cubicBezTo>
                      <a:cubicBezTo>
                        <a:pt x="1391" y="475"/>
                        <a:pt x="1383" y="467"/>
                        <a:pt x="1360" y="467"/>
                      </a:cubicBezTo>
                      <a:cubicBezTo>
                        <a:pt x="1344" y="467"/>
                        <a:pt x="1336" y="467"/>
                        <a:pt x="1328" y="467"/>
                      </a:cubicBezTo>
                      <a:cubicBezTo>
                        <a:pt x="1328" y="467"/>
                        <a:pt x="1320" y="475"/>
                        <a:pt x="1312" y="475"/>
                      </a:cubicBezTo>
                      <a:cubicBezTo>
                        <a:pt x="1296" y="475"/>
                        <a:pt x="1288" y="467"/>
                        <a:pt x="1272" y="459"/>
                      </a:cubicBezTo>
                      <a:cubicBezTo>
                        <a:pt x="1257" y="459"/>
                        <a:pt x="1249" y="451"/>
                        <a:pt x="1241" y="451"/>
                      </a:cubicBezTo>
                      <a:cubicBezTo>
                        <a:pt x="1233" y="451"/>
                        <a:pt x="1225" y="459"/>
                        <a:pt x="1217" y="459"/>
                      </a:cubicBezTo>
                      <a:cubicBezTo>
                        <a:pt x="1209" y="467"/>
                        <a:pt x="1201" y="467"/>
                        <a:pt x="1185" y="475"/>
                      </a:cubicBezTo>
                      <a:cubicBezTo>
                        <a:pt x="1170" y="483"/>
                        <a:pt x="1154" y="483"/>
                        <a:pt x="1130" y="483"/>
                      </a:cubicBezTo>
                      <a:cubicBezTo>
                        <a:pt x="1098" y="483"/>
                        <a:pt x="1067" y="475"/>
                        <a:pt x="1051" y="459"/>
                      </a:cubicBezTo>
                      <a:cubicBezTo>
                        <a:pt x="1035" y="443"/>
                        <a:pt x="1012" y="443"/>
                        <a:pt x="988" y="435"/>
                      </a:cubicBezTo>
                      <a:cubicBezTo>
                        <a:pt x="972" y="435"/>
                        <a:pt x="964" y="435"/>
                        <a:pt x="956" y="427"/>
                      </a:cubicBezTo>
                      <a:cubicBezTo>
                        <a:pt x="940" y="411"/>
                        <a:pt x="932" y="388"/>
                        <a:pt x="940" y="356"/>
                      </a:cubicBezTo>
                      <a:cubicBezTo>
                        <a:pt x="940" y="340"/>
                        <a:pt x="948" y="325"/>
                        <a:pt x="956" y="317"/>
                      </a:cubicBezTo>
                      <a:cubicBezTo>
                        <a:pt x="964" y="277"/>
                        <a:pt x="980" y="230"/>
                        <a:pt x="964" y="198"/>
                      </a:cubicBezTo>
                      <a:cubicBezTo>
                        <a:pt x="956" y="190"/>
                        <a:pt x="956" y="190"/>
                        <a:pt x="956" y="182"/>
                      </a:cubicBezTo>
                      <a:cubicBezTo>
                        <a:pt x="932" y="143"/>
                        <a:pt x="909" y="111"/>
                        <a:pt x="877" y="111"/>
                      </a:cubicBezTo>
                      <a:cubicBezTo>
                        <a:pt x="869" y="111"/>
                        <a:pt x="861" y="119"/>
                        <a:pt x="854" y="119"/>
                      </a:cubicBezTo>
                      <a:cubicBezTo>
                        <a:pt x="845" y="119"/>
                        <a:pt x="845" y="119"/>
                        <a:pt x="838" y="119"/>
                      </a:cubicBezTo>
                      <a:cubicBezTo>
                        <a:pt x="830" y="119"/>
                        <a:pt x="822" y="111"/>
                        <a:pt x="822" y="95"/>
                      </a:cubicBezTo>
                      <a:cubicBezTo>
                        <a:pt x="822" y="95"/>
                        <a:pt x="822" y="87"/>
                        <a:pt x="814" y="87"/>
                      </a:cubicBezTo>
                      <a:cubicBezTo>
                        <a:pt x="814" y="56"/>
                        <a:pt x="814" y="56"/>
                        <a:pt x="790" y="48"/>
                      </a:cubicBezTo>
                      <a:cubicBezTo>
                        <a:pt x="774" y="40"/>
                        <a:pt x="727" y="24"/>
                        <a:pt x="687" y="8"/>
                      </a:cubicBezTo>
                      <a:cubicBezTo>
                        <a:pt x="687" y="16"/>
                        <a:pt x="687" y="16"/>
                        <a:pt x="687" y="24"/>
                      </a:cubicBezTo>
                      <a:cubicBezTo>
                        <a:pt x="687" y="40"/>
                        <a:pt x="680" y="48"/>
                        <a:pt x="680" y="56"/>
                      </a:cubicBezTo>
                      <a:cubicBezTo>
                        <a:pt x="680" y="64"/>
                        <a:pt x="680" y="72"/>
                        <a:pt x="672" y="87"/>
                      </a:cubicBezTo>
                      <a:cubicBezTo>
                        <a:pt x="672" y="95"/>
                        <a:pt x="672" y="95"/>
                        <a:pt x="672" y="95"/>
                      </a:cubicBezTo>
                      <a:cubicBezTo>
                        <a:pt x="664" y="95"/>
                        <a:pt x="664" y="103"/>
                        <a:pt x="664" y="111"/>
                      </a:cubicBezTo>
                      <a:cubicBezTo>
                        <a:pt x="664" y="127"/>
                        <a:pt x="648" y="158"/>
                        <a:pt x="640" y="190"/>
                      </a:cubicBezTo>
                      <a:cubicBezTo>
                        <a:pt x="624" y="222"/>
                        <a:pt x="616" y="253"/>
                        <a:pt x="608" y="285"/>
                      </a:cubicBezTo>
                      <a:cubicBezTo>
                        <a:pt x="592" y="340"/>
                        <a:pt x="569" y="420"/>
                        <a:pt x="545" y="467"/>
                      </a:cubicBezTo>
                      <a:cubicBezTo>
                        <a:pt x="537" y="491"/>
                        <a:pt x="521" y="506"/>
                        <a:pt x="514" y="522"/>
                      </a:cubicBezTo>
                      <a:cubicBezTo>
                        <a:pt x="498" y="546"/>
                        <a:pt x="490" y="570"/>
                        <a:pt x="482" y="601"/>
                      </a:cubicBezTo>
                      <a:cubicBezTo>
                        <a:pt x="474" y="633"/>
                        <a:pt x="466" y="641"/>
                        <a:pt x="458" y="649"/>
                      </a:cubicBezTo>
                      <a:cubicBezTo>
                        <a:pt x="450" y="657"/>
                        <a:pt x="450" y="657"/>
                        <a:pt x="450" y="680"/>
                      </a:cubicBezTo>
                      <a:cubicBezTo>
                        <a:pt x="450" y="688"/>
                        <a:pt x="450" y="696"/>
                        <a:pt x="450" y="704"/>
                      </a:cubicBezTo>
                      <a:cubicBezTo>
                        <a:pt x="450" y="728"/>
                        <a:pt x="450" y="736"/>
                        <a:pt x="434" y="751"/>
                      </a:cubicBezTo>
                      <a:cubicBezTo>
                        <a:pt x="427" y="759"/>
                        <a:pt x="427" y="767"/>
                        <a:pt x="427" y="783"/>
                      </a:cubicBezTo>
                      <a:cubicBezTo>
                        <a:pt x="427" y="791"/>
                        <a:pt x="427" y="799"/>
                        <a:pt x="419" y="815"/>
                      </a:cubicBezTo>
                      <a:cubicBezTo>
                        <a:pt x="419" y="823"/>
                        <a:pt x="411" y="831"/>
                        <a:pt x="411" y="831"/>
                      </a:cubicBezTo>
                      <a:cubicBezTo>
                        <a:pt x="403" y="831"/>
                        <a:pt x="395" y="838"/>
                        <a:pt x="387" y="870"/>
                      </a:cubicBezTo>
                      <a:cubicBezTo>
                        <a:pt x="379" y="910"/>
                        <a:pt x="355" y="957"/>
                        <a:pt x="332" y="1004"/>
                      </a:cubicBezTo>
                      <a:cubicBezTo>
                        <a:pt x="316" y="1036"/>
                        <a:pt x="308" y="1060"/>
                        <a:pt x="300" y="1075"/>
                      </a:cubicBezTo>
                      <a:cubicBezTo>
                        <a:pt x="300" y="1084"/>
                        <a:pt x="300" y="1091"/>
                        <a:pt x="292" y="1099"/>
                      </a:cubicBezTo>
                      <a:cubicBezTo>
                        <a:pt x="284" y="1139"/>
                        <a:pt x="276" y="1170"/>
                        <a:pt x="253" y="1186"/>
                      </a:cubicBezTo>
                      <a:cubicBezTo>
                        <a:pt x="229" y="1210"/>
                        <a:pt x="213" y="1226"/>
                        <a:pt x="205" y="1257"/>
                      </a:cubicBezTo>
                      <a:cubicBezTo>
                        <a:pt x="197" y="1273"/>
                        <a:pt x="197" y="1281"/>
                        <a:pt x="181" y="1281"/>
                      </a:cubicBezTo>
                      <a:cubicBezTo>
                        <a:pt x="181" y="1281"/>
                        <a:pt x="181" y="1281"/>
                        <a:pt x="174" y="1281"/>
                      </a:cubicBezTo>
                      <a:lnTo>
                        <a:pt x="174" y="1281"/>
                      </a:lnTo>
                      <a:cubicBezTo>
                        <a:pt x="174" y="1281"/>
                        <a:pt x="174" y="1281"/>
                        <a:pt x="166" y="1281"/>
                      </a:cubicBezTo>
                      <a:cubicBezTo>
                        <a:pt x="166" y="1281"/>
                        <a:pt x="166" y="1281"/>
                        <a:pt x="166" y="1297"/>
                      </a:cubicBezTo>
                      <a:cubicBezTo>
                        <a:pt x="174" y="1337"/>
                        <a:pt x="126" y="1376"/>
                        <a:pt x="110" y="1400"/>
                      </a:cubicBezTo>
                      <a:cubicBezTo>
                        <a:pt x="102" y="1400"/>
                        <a:pt x="102" y="1400"/>
                        <a:pt x="102" y="1400"/>
                      </a:cubicBezTo>
                      <a:cubicBezTo>
                        <a:pt x="79" y="1431"/>
                        <a:pt x="63" y="1463"/>
                        <a:pt x="55" y="1502"/>
                      </a:cubicBezTo>
                      <a:cubicBezTo>
                        <a:pt x="55" y="1526"/>
                        <a:pt x="63" y="1550"/>
                        <a:pt x="71" y="1566"/>
                      </a:cubicBezTo>
                      <a:cubicBezTo>
                        <a:pt x="79" y="1589"/>
                        <a:pt x="79" y="1605"/>
                        <a:pt x="63" y="1621"/>
                      </a:cubicBezTo>
                      <a:cubicBezTo>
                        <a:pt x="39" y="1645"/>
                        <a:pt x="23" y="1676"/>
                        <a:pt x="23" y="1700"/>
                      </a:cubicBezTo>
                      <a:cubicBezTo>
                        <a:pt x="23" y="1700"/>
                        <a:pt x="23" y="1708"/>
                        <a:pt x="23" y="1724"/>
                      </a:cubicBezTo>
                      <a:cubicBezTo>
                        <a:pt x="15" y="1763"/>
                        <a:pt x="8" y="1842"/>
                        <a:pt x="39" y="1890"/>
                      </a:cubicBezTo>
                      <a:cubicBezTo>
                        <a:pt x="47" y="1906"/>
                        <a:pt x="55" y="1914"/>
                        <a:pt x="55" y="1921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4" name="Freeform 221">
                  <a:extLst>
                    <a:ext uri="{FF2B5EF4-FFF2-40B4-BE49-F238E27FC236}">
                      <a16:creationId xmlns:a16="http://schemas.microsoft.com/office/drawing/2014/main" id="{FED8D559-32D4-E84F-81E0-621E000C55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3649" y="3120785"/>
                  <a:ext cx="1289534" cy="955554"/>
                </a:xfrm>
                <a:custGeom>
                  <a:avLst/>
                  <a:gdLst>
                    <a:gd name="T0" fmla="*/ 2332 w 2451"/>
                    <a:gd name="T1" fmla="*/ 1020 h 1819"/>
                    <a:gd name="T2" fmla="*/ 656 w 2451"/>
                    <a:gd name="T3" fmla="*/ 0 h 1819"/>
                    <a:gd name="T4" fmla="*/ 719 w 2451"/>
                    <a:gd name="T5" fmla="*/ 95 h 1819"/>
                    <a:gd name="T6" fmla="*/ 767 w 2451"/>
                    <a:gd name="T7" fmla="*/ 174 h 1819"/>
                    <a:gd name="T8" fmla="*/ 743 w 2451"/>
                    <a:gd name="T9" fmla="*/ 261 h 1819"/>
                    <a:gd name="T10" fmla="*/ 703 w 2451"/>
                    <a:gd name="T11" fmla="*/ 293 h 1819"/>
                    <a:gd name="T12" fmla="*/ 759 w 2451"/>
                    <a:gd name="T13" fmla="*/ 364 h 1819"/>
                    <a:gd name="T14" fmla="*/ 759 w 2451"/>
                    <a:gd name="T15" fmla="*/ 458 h 1819"/>
                    <a:gd name="T16" fmla="*/ 727 w 2451"/>
                    <a:gd name="T17" fmla="*/ 553 h 1819"/>
                    <a:gd name="T18" fmla="*/ 672 w 2451"/>
                    <a:gd name="T19" fmla="*/ 648 h 1819"/>
                    <a:gd name="T20" fmla="*/ 664 w 2451"/>
                    <a:gd name="T21" fmla="*/ 743 h 1819"/>
                    <a:gd name="T22" fmla="*/ 577 w 2451"/>
                    <a:gd name="T23" fmla="*/ 830 h 1819"/>
                    <a:gd name="T24" fmla="*/ 443 w 2451"/>
                    <a:gd name="T25" fmla="*/ 814 h 1819"/>
                    <a:gd name="T26" fmla="*/ 506 w 2451"/>
                    <a:gd name="T27" fmla="*/ 751 h 1819"/>
                    <a:gd name="T28" fmla="*/ 529 w 2451"/>
                    <a:gd name="T29" fmla="*/ 767 h 1819"/>
                    <a:gd name="T30" fmla="*/ 569 w 2451"/>
                    <a:gd name="T31" fmla="*/ 791 h 1819"/>
                    <a:gd name="T32" fmla="*/ 616 w 2451"/>
                    <a:gd name="T33" fmla="*/ 664 h 1819"/>
                    <a:gd name="T34" fmla="*/ 624 w 2451"/>
                    <a:gd name="T35" fmla="*/ 593 h 1819"/>
                    <a:gd name="T36" fmla="*/ 640 w 2451"/>
                    <a:gd name="T37" fmla="*/ 522 h 1819"/>
                    <a:gd name="T38" fmla="*/ 616 w 2451"/>
                    <a:gd name="T39" fmla="*/ 427 h 1819"/>
                    <a:gd name="T40" fmla="*/ 545 w 2451"/>
                    <a:gd name="T41" fmla="*/ 387 h 1819"/>
                    <a:gd name="T42" fmla="*/ 419 w 2451"/>
                    <a:gd name="T43" fmla="*/ 324 h 1819"/>
                    <a:gd name="T44" fmla="*/ 71 w 2451"/>
                    <a:gd name="T45" fmla="*/ 127 h 1819"/>
                    <a:gd name="T46" fmla="*/ 23 w 2451"/>
                    <a:gd name="T47" fmla="*/ 277 h 1819"/>
                    <a:gd name="T48" fmla="*/ 63 w 2451"/>
                    <a:gd name="T49" fmla="*/ 451 h 1819"/>
                    <a:gd name="T50" fmla="*/ 79 w 2451"/>
                    <a:gd name="T51" fmla="*/ 648 h 1819"/>
                    <a:gd name="T52" fmla="*/ 47 w 2451"/>
                    <a:gd name="T53" fmla="*/ 775 h 1819"/>
                    <a:gd name="T54" fmla="*/ 110 w 2451"/>
                    <a:gd name="T55" fmla="*/ 798 h 1819"/>
                    <a:gd name="T56" fmla="*/ 94 w 2451"/>
                    <a:gd name="T57" fmla="*/ 846 h 1819"/>
                    <a:gd name="T58" fmla="*/ 55 w 2451"/>
                    <a:gd name="T59" fmla="*/ 885 h 1819"/>
                    <a:gd name="T60" fmla="*/ 110 w 2451"/>
                    <a:gd name="T61" fmla="*/ 941 h 1819"/>
                    <a:gd name="T62" fmla="*/ 71 w 2451"/>
                    <a:gd name="T63" fmla="*/ 964 h 1819"/>
                    <a:gd name="T64" fmla="*/ 47 w 2451"/>
                    <a:gd name="T65" fmla="*/ 1035 h 1819"/>
                    <a:gd name="T66" fmla="*/ 23 w 2451"/>
                    <a:gd name="T67" fmla="*/ 1012 h 1819"/>
                    <a:gd name="T68" fmla="*/ 8 w 2451"/>
                    <a:gd name="T69" fmla="*/ 1028 h 1819"/>
                    <a:gd name="T70" fmla="*/ 23 w 2451"/>
                    <a:gd name="T71" fmla="*/ 1138 h 1819"/>
                    <a:gd name="T72" fmla="*/ 158 w 2451"/>
                    <a:gd name="T73" fmla="*/ 1225 h 1819"/>
                    <a:gd name="T74" fmla="*/ 300 w 2451"/>
                    <a:gd name="T75" fmla="*/ 1328 h 1819"/>
                    <a:gd name="T76" fmla="*/ 292 w 2451"/>
                    <a:gd name="T77" fmla="*/ 1557 h 1819"/>
                    <a:gd name="T78" fmla="*/ 521 w 2451"/>
                    <a:gd name="T79" fmla="*/ 1605 h 1819"/>
                    <a:gd name="T80" fmla="*/ 696 w 2451"/>
                    <a:gd name="T81" fmla="*/ 1597 h 1819"/>
                    <a:gd name="T82" fmla="*/ 790 w 2451"/>
                    <a:gd name="T83" fmla="*/ 1660 h 1819"/>
                    <a:gd name="T84" fmla="*/ 956 w 2451"/>
                    <a:gd name="T85" fmla="*/ 1660 h 1819"/>
                    <a:gd name="T86" fmla="*/ 1154 w 2451"/>
                    <a:gd name="T87" fmla="*/ 1692 h 1819"/>
                    <a:gd name="T88" fmla="*/ 1351 w 2451"/>
                    <a:gd name="T89" fmla="*/ 1676 h 1819"/>
                    <a:gd name="T90" fmla="*/ 1549 w 2451"/>
                    <a:gd name="T91" fmla="*/ 1676 h 1819"/>
                    <a:gd name="T92" fmla="*/ 2205 w 2451"/>
                    <a:gd name="T93" fmla="*/ 1810 h 1819"/>
                    <a:gd name="T94" fmla="*/ 2213 w 2451"/>
                    <a:gd name="T95" fmla="*/ 1763 h 1819"/>
                    <a:gd name="T96" fmla="*/ 2229 w 2451"/>
                    <a:gd name="T97" fmla="*/ 1486 h 18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451" h="1819">
                      <a:moveTo>
                        <a:pt x="2332" y="1020"/>
                      </a:moveTo>
                      <a:lnTo>
                        <a:pt x="2332" y="1020"/>
                      </a:lnTo>
                      <a:cubicBezTo>
                        <a:pt x="2340" y="996"/>
                        <a:pt x="2427" y="538"/>
                        <a:pt x="2450" y="427"/>
                      </a:cubicBezTo>
                      <a:cubicBezTo>
                        <a:pt x="1351" y="198"/>
                        <a:pt x="656" y="0"/>
                        <a:pt x="656" y="0"/>
                      </a:cubicBezTo>
                      <a:cubicBezTo>
                        <a:pt x="672" y="8"/>
                        <a:pt x="687" y="0"/>
                        <a:pt x="696" y="24"/>
                      </a:cubicBezTo>
                      <a:cubicBezTo>
                        <a:pt x="703" y="40"/>
                        <a:pt x="696" y="71"/>
                        <a:pt x="719" y="95"/>
                      </a:cubicBezTo>
                      <a:cubicBezTo>
                        <a:pt x="735" y="111"/>
                        <a:pt x="751" y="111"/>
                        <a:pt x="759" y="127"/>
                      </a:cubicBezTo>
                      <a:cubicBezTo>
                        <a:pt x="767" y="142"/>
                        <a:pt x="774" y="150"/>
                        <a:pt x="767" y="174"/>
                      </a:cubicBezTo>
                      <a:cubicBezTo>
                        <a:pt x="767" y="206"/>
                        <a:pt x="759" y="221"/>
                        <a:pt x="751" y="229"/>
                      </a:cubicBezTo>
                      <a:cubicBezTo>
                        <a:pt x="743" y="237"/>
                        <a:pt x="735" y="245"/>
                        <a:pt x="743" y="261"/>
                      </a:cubicBezTo>
                      <a:cubicBezTo>
                        <a:pt x="743" y="277"/>
                        <a:pt x="743" y="277"/>
                        <a:pt x="727" y="277"/>
                      </a:cubicBezTo>
                      <a:cubicBezTo>
                        <a:pt x="703" y="277"/>
                        <a:pt x="687" y="269"/>
                        <a:pt x="703" y="293"/>
                      </a:cubicBezTo>
                      <a:cubicBezTo>
                        <a:pt x="727" y="308"/>
                        <a:pt x="727" y="316"/>
                        <a:pt x="735" y="332"/>
                      </a:cubicBezTo>
                      <a:cubicBezTo>
                        <a:pt x="743" y="340"/>
                        <a:pt x="767" y="340"/>
                        <a:pt x="759" y="364"/>
                      </a:cubicBezTo>
                      <a:cubicBezTo>
                        <a:pt x="751" y="387"/>
                        <a:pt x="735" y="380"/>
                        <a:pt x="743" y="403"/>
                      </a:cubicBezTo>
                      <a:cubicBezTo>
                        <a:pt x="743" y="427"/>
                        <a:pt x="751" y="443"/>
                        <a:pt x="759" y="458"/>
                      </a:cubicBezTo>
                      <a:cubicBezTo>
                        <a:pt x="767" y="466"/>
                        <a:pt x="767" y="498"/>
                        <a:pt x="759" y="514"/>
                      </a:cubicBezTo>
                      <a:cubicBezTo>
                        <a:pt x="751" y="538"/>
                        <a:pt x="743" y="545"/>
                        <a:pt x="727" y="553"/>
                      </a:cubicBezTo>
                      <a:cubicBezTo>
                        <a:pt x="711" y="569"/>
                        <a:pt x="703" y="585"/>
                        <a:pt x="687" y="601"/>
                      </a:cubicBezTo>
                      <a:cubicBezTo>
                        <a:pt x="672" y="617"/>
                        <a:pt x="664" y="624"/>
                        <a:pt x="672" y="648"/>
                      </a:cubicBezTo>
                      <a:cubicBezTo>
                        <a:pt x="680" y="672"/>
                        <a:pt x="680" y="680"/>
                        <a:pt x="672" y="696"/>
                      </a:cubicBezTo>
                      <a:cubicBezTo>
                        <a:pt x="664" y="711"/>
                        <a:pt x="664" y="719"/>
                        <a:pt x="664" y="743"/>
                      </a:cubicBezTo>
                      <a:cubicBezTo>
                        <a:pt x="656" y="767"/>
                        <a:pt x="656" y="767"/>
                        <a:pt x="640" y="791"/>
                      </a:cubicBezTo>
                      <a:cubicBezTo>
                        <a:pt x="616" y="814"/>
                        <a:pt x="624" y="814"/>
                        <a:pt x="577" y="830"/>
                      </a:cubicBezTo>
                      <a:cubicBezTo>
                        <a:pt x="537" y="846"/>
                        <a:pt x="553" y="870"/>
                        <a:pt x="506" y="854"/>
                      </a:cubicBezTo>
                      <a:cubicBezTo>
                        <a:pt x="458" y="838"/>
                        <a:pt x="427" y="838"/>
                        <a:pt x="443" y="814"/>
                      </a:cubicBezTo>
                      <a:cubicBezTo>
                        <a:pt x="450" y="791"/>
                        <a:pt x="474" y="783"/>
                        <a:pt x="482" y="759"/>
                      </a:cubicBezTo>
                      <a:cubicBezTo>
                        <a:pt x="498" y="735"/>
                        <a:pt x="506" y="727"/>
                        <a:pt x="506" y="751"/>
                      </a:cubicBezTo>
                      <a:cubicBezTo>
                        <a:pt x="506" y="775"/>
                        <a:pt x="482" y="798"/>
                        <a:pt x="506" y="798"/>
                      </a:cubicBezTo>
                      <a:cubicBezTo>
                        <a:pt x="529" y="798"/>
                        <a:pt x="514" y="783"/>
                        <a:pt x="529" y="767"/>
                      </a:cubicBezTo>
                      <a:cubicBezTo>
                        <a:pt x="545" y="759"/>
                        <a:pt x="537" y="735"/>
                        <a:pt x="553" y="759"/>
                      </a:cubicBezTo>
                      <a:cubicBezTo>
                        <a:pt x="561" y="775"/>
                        <a:pt x="545" y="783"/>
                        <a:pt x="569" y="791"/>
                      </a:cubicBezTo>
                      <a:cubicBezTo>
                        <a:pt x="593" y="791"/>
                        <a:pt x="608" y="759"/>
                        <a:pt x="616" y="735"/>
                      </a:cubicBezTo>
                      <a:cubicBezTo>
                        <a:pt x="616" y="704"/>
                        <a:pt x="632" y="672"/>
                        <a:pt x="616" y="664"/>
                      </a:cubicBezTo>
                      <a:cubicBezTo>
                        <a:pt x="593" y="664"/>
                        <a:pt x="577" y="656"/>
                        <a:pt x="593" y="640"/>
                      </a:cubicBezTo>
                      <a:cubicBezTo>
                        <a:pt x="616" y="624"/>
                        <a:pt x="608" y="609"/>
                        <a:pt x="624" y="593"/>
                      </a:cubicBezTo>
                      <a:cubicBezTo>
                        <a:pt x="632" y="577"/>
                        <a:pt x="664" y="585"/>
                        <a:pt x="664" y="569"/>
                      </a:cubicBezTo>
                      <a:cubicBezTo>
                        <a:pt x="664" y="545"/>
                        <a:pt x="656" y="522"/>
                        <a:pt x="640" y="522"/>
                      </a:cubicBezTo>
                      <a:cubicBezTo>
                        <a:pt x="624" y="522"/>
                        <a:pt x="624" y="530"/>
                        <a:pt x="624" y="498"/>
                      </a:cubicBezTo>
                      <a:cubicBezTo>
                        <a:pt x="616" y="466"/>
                        <a:pt x="624" y="451"/>
                        <a:pt x="616" y="427"/>
                      </a:cubicBezTo>
                      <a:cubicBezTo>
                        <a:pt x="608" y="395"/>
                        <a:pt x="593" y="380"/>
                        <a:pt x="585" y="395"/>
                      </a:cubicBezTo>
                      <a:cubicBezTo>
                        <a:pt x="569" y="411"/>
                        <a:pt x="561" y="411"/>
                        <a:pt x="545" y="387"/>
                      </a:cubicBezTo>
                      <a:cubicBezTo>
                        <a:pt x="537" y="364"/>
                        <a:pt x="521" y="348"/>
                        <a:pt x="498" y="348"/>
                      </a:cubicBezTo>
                      <a:cubicBezTo>
                        <a:pt x="474" y="348"/>
                        <a:pt x="474" y="348"/>
                        <a:pt x="419" y="324"/>
                      </a:cubicBezTo>
                      <a:cubicBezTo>
                        <a:pt x="363" y="300"/>
                        <a:pt x="174" y="269"/>
                        <a:pt x="87" y="134"/>
                      </a:cubicBezTo>
                      <a:cubicBezTo>
                        <a:pt x="87" y="134"/>
                        <a:pt x="71" y="111"/>
                        <a:pt x="71" y="127"/>
                      </a:cubicBezTo>
                      <a:cubicBezTo>
                        <a:pt x="71" y="150"/>
                        <a:pt x="79" y="142"/>
                        <a:pt x="71" y="158"/>
                      </a:cubicBezTo>
                      <a:cubicBezTo>
                        <a:pt x="63" y="174"/>
                        <a:pt x="16" y="229"/>
                        <a:pt x="23" y="277"/>
                      </a:cubicBezTo>
                      <a:cubicBezTo>
                        <a:pt x="31" y="316"/>
                        <a:pt x="55" y="332"/>
                        <a:pt x="63" y="371"/>
                      </a:cubicBezTo>
                      <a:cubicBezTo>
                        <a:pt x="71" y="411"/>
                        <a:pt x="71" y="411"/>
                        <a:pt x="63" y="451"/>
                      </a:cubicBezTo>
                      <a:cubicBezTo>
                        <a:pt x="55" y="498"/>
                        <a:pt x="63" y="561"/>
                        <a:pt x="71" y="601"/>
                      </a:cubicBezTo>
                      <a:cubicBezTo>
                        <a:pt x="79" y="640"/>
                        <a:pt x="87" y="609"/>
                        <a:pt x="79" y="648"/>
                      </a:cubicBezTo>
                      <a:cubicBezTo>
                        <a:pt x="71" y="680"/>
                        <a:pt x="71" y="704"/>
                        <a:pt x="63" y="727"/>
                      </a:cubicBezTo>
                      <a:cubicBezTo>
                        <a:pt x="55" y="751"/>
                        <a:pt x="39" y="759"/>
                        <a:pt x="47" y="775"/>
                      </a:cubicBezTo>
                      <a:cubicBezTo>
                        <a:pt x="63" y="798"/>
                        <a:pt x="63" y="775"/>
                        <a:pt x="79" y="775"/>
                      </a:cubicBezTo>
                      <a:cubicBezTo>
                        <a:pt x="87" y="783"/>
                        <a:pt x="103" y="791"/>
                        <a:pt x="110" y="798"/>
                      </a:cubicBezTo>
                      <a:cubicBezTo>
                        <a:pt x="126" y="814"/>
                        <a:pt x="142" y="814"/>
                        <a:pt x="134" y="822"/>
                      </a:cubicBezTo>
                      <a:cubicBezTo>
                        <a:pt x="118" y="830"/>
                        <a:pt x="126" y="846"/>
                        <a:pt x="94" y="846"/>
                      </a:cubicBezTo>
                      <a:cubicBezTo>
                        <a:pt x="71" y="846"/>
                        <a:pt x="55" y="814"/>
                        <a:pt x="55" y="822"/>
                      </a:cubicBezTo>
                      <a:cubicBezTo>
                        <a:pt x="55" y="838"/>
                        <a:pt x="47" y="854"/>
                        <a:pt x="55" y="885"/>
                      </a:cubicBezTo>
                      <a:cubicBezTo>
                        <a:pt x="55" y="917"/>
                        <a:pt x="23" y="933"/>
                        <a:pt x="63" y="941"/>
                      </a:cubicBezTo>
                      <a:cubicBezTo>
                        <a:pt x="103" y="941"/>
                        <a:pt x="103" y="925"/>
                        <a:pt x="110" y="941"/>
                      </a:cubicBezTo>
                      <a:cubicBezTo>
                        <a:pt x="126" y="949"/>
                        <a:pt x="126" y="957"/>
                        <a:pt x="110" y="957"/>
                      </a:cubicBezTo>
                      <a:cubicBezTo>
                        <a:pt x="94" y="957"/>
                        <a:pt x="71" y="949"/>
                        <a:pt x="71" y="964"/>
                      </a:cubicBezTo>
                      <a:cubicBezTo>
                        <a:pt x="63" y="980"/>
                        <a:pt x="63" y="988"/>
                        <a:pt x="63" y="1004"/>
                      </a:cubicBezTo>
                      <a:cubicBezTo>
                        <a:pt x="71" y="1020"/>
                        <a:pt x="55" y="1020"/>
                        <a:pt x="47" y="1035"/>
                      </a:cubicBezTo>
                      <a:cubicBezTo>
                        <a:pt x="39" y="1059"/>
                        <a:pt x="47" y="1091"/>
                        <a:pt x="31" y="1067"/>
                      </a:cubicBezTo>
                      <a:cubicBezTo>
                        <a:pt x="23" y="1044"/>
                        <a:pt x="16" y="1044"/>
                        <a:pt x="23" y="1012"/>
                      </a:cubicBezTo>
                      <a:cubicBezTo>
                        <a:pt x="31" y="972"/>
                        <a:pt x="39" y="957"/>
                        <a:pt x="23" y="972"/>
                      </a:cubicBezTo>
                      <a:cubicBezTo>
                        <a:pt x="8" y="988"/>
                        <a:pt x="0" y="1004"/>
                        <a:pt x="8" y="1028"/>
                      </a:cubicBezTo>
                      <a:cubicBezTo>
                        <a:pt x="16" y="1051"/>
                        <a:pt x="8" y="1083"/>
                        <a:pt x="16" y="1107"/>
                      </a:cubicBezTo>
                      <a:cubicBezTo>
                        <a:pt x="23" y="1123"/>
                        <a:pt x="23" y="1130"/>
                        <a:pt x="23" y="1138"/>
                      </a:cubicBezTo>
                      <a:cubicBezTo>
                        <a:pt x="63" y="1154"/>
                        <a:pt x="110" y="1170"/>
                        <a:pt x="126" y="1178"/>
                      </a:cubicBezTo>
                      <a:cubicBezTo>
                        <a:pt x="158" y="1186"/>
                        <a:pt x="150" y="1186"/>
                        <a:pt x="158" y="1225"/>
                      </a:cubicBezTo>
                      <a:cubicBezTo>
                        <a:pt x="166" y="1265"/>
                        <a:pt x="181" y="1241"/>
                        <a:pt x="213" y="1241"/>
                      </a:cubicBezTo>
                      <a:cubicBezTo>
                        <a:pt x="253" y="1241"/>
                        <a:pt x="276" y="1281"/>
                        <a:pt x="300" y="1328"/>
                      </a:cubicBezTo>
                      <a:cubicBezTo>
                        <a:pt x="332" y="1368"/>
                        <a:pt x="284" y="1447"/>
                        <a:pt x="284" y="1486"/>
                      </a:cubicBezTo>
                      <a:cubicBezTo>
                        <a:pt x="276" y="1518"/>
                        <a:pt x="276" y="1541"/>
                        <a:pt x="292" y="1557"/>
                      </a:cubicBezTo>
                      <a:cubicBezTo>
                        <a:pt x="308" y="1565"/>
                        <a:pt x="363" y="1565"/>
                        <a:pt x="395" y="1589"/>
                      </a:cubicBezTo>
                      <a:cubicBezTo>
                        <a:pt x="419" y="1613"/>
                        <a:pt x="482" y="1613"/>
                        <a:pt x="521" y="1605"/>
                      </a:cubicBezTo>
                      <a:cubicBezTo>
                        <a:pt x="561" y="1589"/>
                        <a:pt x="569" y="1565"/>
                        <a:pt x="608" y="1589"/>
                      </a:cubicBezTo>
                      <a:cubicBezTo>
                        <a:pt x="648" y="1605"/>
                        <a:pt x="656" y="1597"/>
                        <a:pt x="696" y="1597"/>
                      </a:cubicBezTo>
                      <a:cubicBezTo>
                        <a:pt x="727" y="1597"/>
                        <a:pt x="735" y="1605"/>
                        <a:pt x="751" y="1628"/>
                      </a:cubicBezTo>
                      <a:cubicBezTo>
                        <a:pt x="774" y="1652"/>
                        <a:pt x="774" y="1660"/>
                        <a:pt x="790" y="1660"/>
                      </a:cubicBezTo>
                      <a:cubicBezTo>
                        <a:pt x="806" y="1660"/>
                        <a:pt x="854" y="1652"/>
                        <a:pt x="869" y="1676"/>
                      </a:cubicBezTo>
                      <a:cubicBezTo>
                        <a:pt x="885" y="1692"/>
                        <a:pt x="940" y="1668"/>
                        <a:pt x="956" y="1660"/>
                      </a:cubicBezTo>
                      <a:cubicBezTo>
                        <a:pt x="972" y="1644"/>
                        <a:pt x="1020" y="1660"/>
                        <a:pt x="1043" y="1692"/>
                      </a:cubicBezTo>
                      <a:cubicBezTo>
                        <a:pt x="1067" y="1723"/>
                        <a:pt x="1138" y="1708"/>
                        <a:pt x="1154" y="1692"/>
                      </a:cubicBezTo>
                      <a:cubicBezTo>
                        <a:pt x="1170" y="1684"/>
                        <a:pt x="1233" y="1684"/>
                        <a:pt x="1304" y="1692"/>
                      </a:cubicBezTo>
                      <a:cubicBezTo>
                        <a:pt x="1383" y="1692"/>
                        <a:pt x="1336" y="1684"/>
                        <a:pt x="1351" y="1676"/>
                      </a:cubicBezTo>
                      <a:cubicBezTo>
                        <a:pt x="1367" y="1660"/>
                        <a:pt x="1407" y="1676"/>
                        <a:pt x="1438" y="1684"/>
                      </a:cubicBezTo>
                      <a:cubicBezTo>
                        <a:pt x="1462" y="1692"/>
                        <a:pt x="1526" y="1692"/>
                        <a:pt x="1549" y="1676"/>
                      </a:cubicBezTo>
                      <a:cubicBezTo>
                        <a:pt x="1573" y="1668"/>
                        <a:pt x="1731" y="1708"/>
                        <a:pt x="1786" y="1739"/>
                      </a:cubicBezTo>
                      <a:cubicBezTo>
                        <a:pt x="1842" y="1763"/>
                        <a:pt x="2205" y="1810"/>
                        <a:pt x="2205" y="1810"/>
                      </a:cubicBezTo>
                      <a:cubicBezTo>
                        <a:pt x="2213" y="1818"/>
                        <a:pt x="2213" y="1818"/>
                        <a:pt x="2213" y="1818"/>
                      </a:cubicBezTo>
                      <a:cubicBezTo>
                        <a:pt x="2213" y="1794"/>
                        <a:pt x="2213" y="1771"/>
                        <a:pt x="2213" y="1763"/>
                      </a:cubicBezTo>
                      <a:cubicBezTo>
                        <a:pt x="2213" y="1739"/>
                        <a:pt x="2237" y="1700"/>
                        <a:pt x="2221" y="1676"/>
                      </a:cubicBezTo>
                      <a:cubicBezTo>
                        <a:pt x="2213" y="1660"/>
                        <a:pt x="2205" y="1518"/>
                        <a:pt x="2229" y="1486"/>
                      </a:cubicBezTo>
                      <a:cubicBezTo>
                        <a:pt x="2245" y="1455"/>
                        <a:pt x="2324" y="1051"/>
                        <a:pt x="2332" y="102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5" name="Freeform 222">
                  <a:extLst>
                    <a:ext uri="{FF2B5EF4-FFF2-40B4-BE49-F238E27FC236}">
                      <a16:creationId xmlns:a16="http://schemas.microsoft.com/office/drawing/2014/main" id="{FD25CCAC-3284-9248-998E-25FEC6C252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3649" y="3116146"/>
                  <a:ext cx="1294173" cy="960193"/>
                </a:xfrm>
                <a:custGeom>
                  <a:avLst/>
                  <a:gdLst>
                    <a:gd name="T0" fmla="*/ 1486 w 2459"/>
                    <a:gd name="T1" fmla="*/ 1700 h 1827"/>
                    <a:gd name="T2" fmla="*/ 1304 w 2459"/>
                    <a:gd name="T3" fmla="*/ 1700 h 1827"/>
                    <a:gd name="T4" fmla="*/ 893 w 2459"/>
                    <a:gd name="T5" fmla="*/ 1692 h 1827"/>
                    <a:gd name="T6" fmla="*/ 696 w 2459"/>
                    <a:gd name="T7" fmla="*/ 1605 h 1827"/>
                    <a:gd name="T8" fmla="*/ 466 w 2459"/>
                    <a:gd name="T9" fmla="*/ 1621 h 1827"/>
                    <a:gd name="T10" fmla="*/ 292 w 2459"/>
                    <a:gd name="T11" fmla="*/ 1320 h 1827"/>
                    <a:gd name="T12" fmla="*/ 23 w 2459"/>
                    <a:gd name="T13" fmla="*/ 1146 h 1827"/>
                    <a:gd name="T14" fmla="*/ 23 w 2459"/>
                    <a:gd name="T15" fmla="*/ 972 h 1827"/>
                    <a:gd name="T16" fmla="*/ 39 w 2459"/>
                    <a:gd name="T17" fmla="*/ 1075 h 1827"/>
                    <a:gd name="T18" fmla="*/ 87 w 2459"/>
                    <a:gd name="T19" fmla="*/ 957 h 1827"/>
                    <a:gd name="T20" fmla="*/ 39 w 2459"/>
                    <a:gd name="T21" fmla="*/ 941 h 1827"/>
                    <a:gd name="T22" fmla="*/ 94 w 2459"/>
                    <a:gd name="T23" fmla="*/ 846 h 1827"/>
                    <a:gd name="T24" fmla="*/ 79 w 2459"/>
                    <a:gd name="T25" fmla="*/ 791 h 1827"/>
                    <a:gd name="T26" fmla="*/ 71 w 2459"/>
                    <a:gd name="T27" fmla="*/ 656 h 1827"/>
                    <a:gd name="T28" fmla="*/ 63 w 2459"/>
                    <a:gd name="T29" fmla="*/ 379 h 1827"/>
                    <a:gd name="T30" fmla="*/ 71 w 2459"/>
                    <a:gd name="T31" fmla="*/ 126 h 1827"/>
                    <a:gd name="T32" fmla="*/ 553 w 2459"/>
                    <a:gd name="T33" fmla="*/ 395 h 1827"/>
                    <a:gd name="T34" fmla="*/ 632 w 2459"/>
                    <a:gd name="T35" fmla="*/ 522 h 1827"/>
                    <a:gd name="T36" fmla="*/ 616 w 2459"/>
                    <a:gd name="T37" fmla="*/ 625 h 1827"/>
                    <a:gd name="T38" fmla="*/ 545 w 2459"/>
                    <a:gd name="T39" fmla="*/ 783 h 1827"/>
                    <a:gd name="T40" fmla="*/ 498 w 2459"/>
                    <a:gd name="T41" fmla="*/ 806 h 1827"/>
                    <a:gd name="T42" fmla="*/ 443 w 2459"/>
                    <a:gd name="T43" fmla="*/ 830 h 1827"/>
                    <a:gd name="T44" fmla="*/ 632 w 2459"/>
                    <a:gd name="T45" fmla="*/ 791 h 1827"/>
                    <a:gd name="T46" fmla="*/ 687 w 2459"/>
                    <a:gd name="T47" fmla="*/ 609 h 1827"/>
                    <a:gd name="T48" fmla="*/ 743 w 2459"/>
                    <a:gd name="T49" fmla="*/ 388 h 1827"/>
                    <a:gd name="T50" fmla="*/ 719 w 2459"/>
                    <a:gd name="T51" fmla="*/ 277 h 1827"/>
                    <a:gd name="T52" fmla="*/ 767 w 2459"/>
                    <a:gd name="T53" fmla="*/ 182 h 1827"/>
                    <a:gd name="T54" fmla="*/ 672 w 2459"/>
                    <a:gd name="T55" fmla="*/ 16 h 1827"/>
                    <a:gd name="T56" fmla="*/ 2340 w 2459"/>
                    <a:gd name="T57" fmla="*/ 1028 h 1827"/>
                    <a:gd name="T58" fmla="*/ 1557 w 2459"/>
                    <a:gd name="T59" fmla="*/ 1684 h 1827"/>
                    <a:gd name="T60" fmla="*/ 2221 w 2459"/>
                    <a:gd name="T61" fmla="*/ 1684 h 1827"/>
                    <a:gd name="T62" fmla="*/ 703 w 2459"/>
                    <a:gd name="T63" fmla="*/ 55 h 1827"/>
                    <a:gd name="T64" fmla="*/ 743 w 2459"/>
                    <a:gd name="T65" fmla="*/ 269 h 1827"/>
                    <a:gd name="T66" fmla="*/ 703 w 2459"/>
                    <a:gd name="T67" fmla="*/ 293 h 1827"/>
                    <a:gd name="T68" fmla="*/ 767 w 2459"/>
                    <a:gd name="T69" fmla="*/ 459 h 1827"/>
                    <a:gd name="T70" fmla="*/ 680 w 2459"/>
                    <a:gd name="T71" fmla="*/ 656 h 1827"/>
                    <a:gd name="T72" fmla="*/ 577 w 2459"/>
                    <a:gd name="T73" fmla="*/ 846 h 1827"/>
                    <a:gd name="T74" fmla="*/ 482 w 2459"/>
                    <a:gd name="T75" fmla="*/ 767 h 1827"/>
                    <a:gd name="T76" fmla="*/ 529 w 2459"/>
                    <a:gd name="T77" fmla="*/ 775 h 1827"/>
                    <a:gd name="T78" fmla="*/ 616 w 2459"/>
                    <a:gd name="T79" fmla="*/ 712 h 1827"/>
                    <a:gd name="T80" fmla="*/ 656 w 2459"/>
                    <a:gd name="T81" fmla="*/ 577 h 1827"/>
                    <a:gd name="T82" fmla="*/ 616 w 2459"/>
                    <a:gd name="T83" fmla="*/ 435 h 1827"/>
                    <a:gd name="T84" fmla="*/ 419 w 2459"/>
                    <a:gd name="T85" fmla="*/ 340 h 1827"/>
                    <a:gd name="T86" fmla="*/ 63 w 2459"/>
                    <a:gd name="T87" fmla="*/ 182 h 1827"/>
                    <a:gd name="T88" fmla="*/ 79 w 2459"/>
                    <a:gd name="T89" fmla="*/ 609 h 1827"/>
                    <a:gd name="T90" fmla="*/ 55 w 2459"/>
                    <a:gd name="T91" fmla="*/ 783 h 1827"/>
                    <a:gd name="T92" fmla="*/ 126 w 2459"/>
                    <a:gd name="T93" fmla="*/ 814 h 1827"/>
                    <a:gd name="T94" fmla="*/ 55 w 2459"/>
                    <a:gd name="T95" fmla="*/ 838 h 1827"/>
                    <a:gd name="T96" fmla="*/ 118 w 2459"/>
                    <a:gd name="T97" fmla="*/ 941 h 1827"/>
                    <a:gd name="T98" fmla="*/ 63 w 2459"/>
                    <a:gd name="T99" fmla="*/ 1036 h 1827"/>
                    <a:gd name="T100" fmla="*/ 23 w 2459"/>
                    <a:gd name="T101" fmla="*/ 996 h 1827"/>
                    <a:gd name="T102" fmla="*/ 31 w 2459"/>
                    <a:gd name="T103" fmla="*/ 1138 h 1827"/>
                    <a:gd name="T104" fmla="*/ 292 w 2459"/>
                    <a:gd name="T105" fmla="*/ 1320 h 1827"/>
                    <a:gd name="T106" fmla="*/ 466 w 2459"/>
                    <a:gd name="T107" fmla="*/ 1613 h 1827"/>
                    <a:gd name="T108" fmla="*/ 696 w 2459"/>
                    <a:gd name="T109" fmla="*/ 1597 h 1827"/>
                    <a:gd name="T110" fmla="*/ 893 w 2459"/>
                    <a:gd name="T111" fmla="*/ 1684 h 1827"/>
                    <a:gd name="T112" fmla="*/ 1304 w 2459"/>
                    <a:gd name="T113" fmla="*/ 1692 h 1827"/>
                    <a:gd name="T114" fmla="*/ 1549 w 2459"/>
                    <a:gd name="T115" fmla="*/ 1684 h 18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459" h="1827">
                      <a:moveTo>
                        <a:pt x="2221" y="1826"/>
                      </a:moveTo>
                      <a:lnTo>
                        <a:pt x="2221" y="1826"/>
                      </a:lnTo>
                      <a:cubicBezTo>
                        <a:pt x="2205" y="1826"/>
                        <a:pt x="2205" y="1826"/>
                        <a:pt x="2205" y="1826"/>
                      </a:cubicBezTo>
                      <a:cubicBezTo>
                        <a:pt x="2190" y="1826"/>
                        <a:pt x="1842" y="1779"/>
                        <a:pt x="1786" y="1747"/>
                      </a:cubicBezTo>
                      <a:cubicBezTo>
                        <a:pt x="1739" y="1723"/>
                        <a:pt x="1604" y="1684"/>
                        <a:pt x="1557" y="1684"/>
                      </a:cubicBezTo>
                      <a:cubicBezTo>
                        <a:pt x="1549" y="1684"/>
                        <a:pt x="1549" y="1692"/>
                        <a:pt x="1549" y="1692"/>
                      </a:cubicBezTo>
                      <a:cubicBezTo>
                        <a:pt x="1533" y="1692"/>
                        <a:pt x="1518" y="1700"/>
                        <a:pt x="1486" y="1700"/>
                      </a:cubicBezTo>
                      <a:cubicBezTo>
                        <a:pt x="1470" y="1700"/>
                        <a:pt x="1446" y="1700"/>
                        <a:pt x="1438" y="1692"/>
                      </a:cubicBezTo>
                      <a:cubicBezTo>
                        <a:pt x="1423" y="1684"/>
                        <a:pt x="1391" y="1676"/>
                        <a:pt x="1375" y="1676"/>
                      </a:cubicBezTo>
                      <a:cubicBezTo>
                        <a:pt x="1359" y="1676"/>
                        <a:pt x="1359" y="1676"/>
                        <a:pt x="1351" y="1684"/>
                      </a:cubicBezTo>
                      <a:cubicBezTo>
                        <a:pt x="1351" y="1684"/>
                        <a:pt x="1351" y="1684"/>
                        <a:pt x="1351" y="1692"/>
                      </a:cubicBezTo>
                      <a:cubicBezTo>
                        <a:pt x="1351" y="1692"/>
                        <a:pt x="1359" y="1700"/>
                        <a:pt x="1351" y="1700"/>
                      </a:cubicBezTo>
                      <a:cubicBezTo>
                        <a:pt x="1351" y="1700"/>
                        <a:pt x="1351" y="1700"/>
                        <a:pt x="1344" y="1700"/>
                      </a:cubicBezTo>
                      <a:cubicBezTo>
                        <a:pt x="1336" y="1700"/>
                        <a:pt x="1320" y="1700"/>
                        <a:pt x="1304" y="1700"/>
                      </a:cubicBezTo>
                      <a:cubicBezTo>
                        <a:pt x="1273" y="1700"/>
                        <a:pt x="1241" y="1700"/>
                        <a:pt x="1217" y="1700"/>
                      </a:cubicBezTo>
                      <a:cubicBezTo>
                        <a:pt x="1178" y="1700"/>
                        <a:pt x="1162" y="1700"/>
                        <a:pt x="1154" y="1708"/>
                      </a:cubicBezTo>
                      <a:cubicBezTo>
                        <a:pt x="1146" y="1716"/>
                        <a:pt x="1114" y="1723"/>
                        <a:pt x="1091" y="1723"/>
                      </a:cubicBezTo>
                      <a:cubicBezTo>
                        <a:pt x="1067" y="1723"/>
                        <a:pt x="1051" y="1716"/>
                        <a:pt x="1043" y="1700"/>
                      </a:cubicBezTo>
                      <a:cubicBezTo>
                        <a:pt x="1020" y="1676"/>
                        <a:pt x="988" y="1668"/>
                        <a:pt x="972" y="1668"/>
                      </a:cubicBezTo>
                      <a:cubicBezTo>
                        <a:pt x="964" y="1668"/>
                        <a:pt x="964" y="1668"/>
                        <a:pt x="956" y="1668"/>
                      </a:cubicBezTo>
                      <a:cubicBezTo>
                        <a:pt x="948" y="1676"/>
                        <a:pt x="917" y="1692"/>
                        <a:pt x="893" y="1692"/>
                      </a:cubicBezTo>
                      <a:cubicBezTo>
                        <a:pt x="877" y="1692"/>
                        <a:pt x="869" y="1684"/>
                        <a:pt x="869" y="1684"/>
                      </a:cubicBezTo>
                      <a:cubicBezTo>
                        <a:pt x="861" y="1676"/>
                        <a:pt x="846" y="1668"/>
                        <a:pt x="822" y="1668"/>
                      </a:cubicBezTo>
                      <a:cubicBezTo>
                        <a:pt x="814" y="1668"/>
                        <a:pt x="798" y="1668"/>
                        <a:pt x="790" y="1676"/>
                      </a:cubicBezTo>
                      <a:cubicBezTo>
                        <a:pt x="774" y="1676"/>
                        <a:pt x="774" y="1668"/>
                        <a:pt x="759" y="1652"/>
                      </a:cubicBezTo>
                      <a:cubicBezTo>
                        <a:pt x="759" y="1644"/>
                        <a:pt x="751" y="1644"/>
                        <a:pt x="751" y="1636"/>
                      </a:cubicBezTo>
                      <a:cubicBezTo>
                        <a:pt x="743" y="1636"/>
                        <a:pt x="743" y="1636"/>
                        <a:pt x="743" y="1636"/>
                      </a:cubicBezTo>
                      <a:cubicBezTo>
                        <a:pt x="727" y="1613"/>
                        <a:pt x="719" y="1605"/>
                        <a:pt x="696" y="1605"/>
                      </a:cubicBezTo>
                      <a:cubicBezTo>
                        <a:pt x="680" y="1605"/>
                        <a:pt x="672" y="1605"/>
                        <a:pt x="664" y="1605"/>
                      </a:cubicBezTo>
                      <a:cubicBezTo>
                        <a:pt x="664" y="1605"/>
                        <a:pt x="656" y="1613"/>
                        <a:pt x="648" y="1613"/>
                      </a:cubicBezTo>
                      <a:cubicBezTo>
                        <a:pt x="632" y="1613"/>
                        <a:pt x="624" y="1605"/>
                        <a:pt x="608" y="1597"/>
                      </a:cubicBezTo>
                      <a:cubicBezTo>
                        <a:pt x="593" y="1597"/>
                        <a:pt x="585" y="1589"/>
                        <a:pt x="577" y="1589"/>
                      </a:cubicBezTo>
                      <a:cubicBezTo>
                        <a:pt x="569" y="1589"/>
                        <a:pt x="561" y="1597"/>
                        <a:pt x="553" y="1597"/>
                      </a:cubicBezTo>
                      <a:cubicBezTo>
                        <a:pt x="545" y="1605"/>
                        <a:pt x="537" y="1605"/>
                        <a:pt x="521" y="1613"/>
                      </a:cubicBezTo>
                      <a:cubicBezTo>
                        <a:pt x="506" y="1621"/>
                        <a:pt x="490" y="1621"/>
                        <a:pt x="466" y="1621"/>
                      </a:cubicBezTo>
                      <a:cubicBezTo>
                        <a:pt x="434" y="1621"/>
                        <a:pt x="403" y="1613"/>
                        <a:pt x="387" y="1597"/>
                      </a:cubicBezTo>
                      <a:cubicBezTo>
                        <a:pt x="371" y="1581"/>
                        <a:pt x="348" y="1581"/>
                        <a:pt x="324" y="1573"/>
                      </a:cubicBezTo>
                      <a:cubicBezTo>
                        <a:pt x="308" y="1573"/>
                        <a:pt x="300" y="1573"/>
                        <a:pt x="292" y="1565"/>
                      </a:cubicBezTo>
                      <a:cubicBezTo>
                        <a:pt x="276" y="1549"/>
                        <a:pt x="268" y="1526"/>
                        <a:pt x="276" y="1494"/>
                      </a:cubicBezTo>
                      <a:cubicBezTo>
                        <a:pt x="276" y="1478"/>
                        <a:pt x="284" y="1463"/>
                        <a:pt x="292" y="1455"/>
                      </a:cubicBezTo>
                      <a:cubicBezTo>
                        <a:pt x="300" y="1415"/>
                        <a:pt x="316" y="1368"/>
                        <a:pt x="300" y="1336"/>
                      </a:cubicBezTo>
                      <a:cubicBezTo>
                        <a:pt x="292" y="1328"/>
                        <a:pt x="292" y="1328"/>
                        <a:pt x="292" y="1320"/>
                      </a:cubicBezTo>
                      <a:cubicBezTo>
                        <a:pt x="268" y="1281"/>
                        <a:pt x="245" y="1249"/>
                        <a:pt x="213" y="1249"/>
                      </a:cubicBezTo>
                      <a:cubicBezTo>
                        <a:pt x="205" y="1249"/>
                        <a:pt x="197" y="1257"/>
                        <a:pt x="190" y="1257"/>
                      </a:cubicBezTo>
                      <a:cubicBezTo>
                        <a:pt x="181" y="1257"/>
                        <a:pt x="181" y="1257"/>
                        <a:pt x="174" y="1257"/>
                      </a:cubicBezTo>
                      <a:cubicBezTo>
                        <a:pt x="166" y="1257"/>
                        <a:pt x="158" y="1249"/>
                        <a:pt x="158" y="1233"/>
                      </a:cubicBezTo>
                      <a:cubicBezTo>
                        <a:pt x="158" y="1233"/>
                        <a:pt x="158" y="1225"/>
                        <a:pt x="150" y="1225"/>
                      </a:cubicBezTo>
                      <a:cubicBezTo>
                        <a:pt x="150" y="1194"/>
                        <a:pt x="150" y="1194"/>
                        <a:pt x="126" y="1186"/>
                      </a:cubicBezTo>
                      <a:cubicBezTo>
                        <a:pt x="110" y="1178"/>
                        <a:pt x="63" y="1162"/>
                        <a:pt x="23" y="1146"/>
                      </a:cubicBezTo>
                      <a:lnTo>
                        <a:pt x="23" y="1146"/>
                      </a:lnTo>
                      <a:lnTo>
                        <a:pt x="23" y="1146"/>
                      </a:lnTo>
                      <a:cubicBezTo>
                        <a:pt x="23" y="1138"/>
                        <a:pt x="23" y="1138"/>
                        <a:pt x="16" y="1131"/>
                      </a:cubicBezTo>
                      <a:cubicBezTo>
                        <a:pt x="16" y="1131"/>
                        <a:pt x="16" y="1123"/>
                        <a:pt x="16" y="1115"/>
                      </a:cubicBezTo>
                      <a:cubicBezTo>
                        <a:pt x="8" y="1099"/>
                        <a:pt x="8" y="1083"/>
                        <a:pt x="8" y="1067"/>
                      </a:cubicBezTo>
                      <a:cubicBezTo>
                        <a:pt x="8" y="1059"/>
                        <a:pt x="8" y="1043"/>
                        <a:pt x="8" y="1036"/>
                      </a:cubicBezTo>
                      <a:cubicBezTo>
                        <a:pt x="0" y="1012"/>
                        <a:pt x="8" y="988"/>
                        <a:pt x="23" y="972"/>
                      </a:cubicBezTo>
                      <a:cubicBezTo>
                        <a:pt x="23" y="972"/>
                        <a:pt x="23" y="965"/>
                        <a:pt x="31" y="965"/>
                      </a:cubicBezTo>
                      <a:lnTo>
                        <a:pt x="31" y="972"/>
                      </a:lnTo>
                      <a:cubicBezTo>
                        <a:pt x="39" y="972"/>
                        <a:pt x="31" y="980"/>
                        <a:pt x="31" y="996"/>
                      </a:cubicBezTo>
                      <a:cubicBezTo>
                        <a:pt x="31" y="1004"/>
                        <a:pt x="31" y="1012"/>
                        <a:pt x="23" y="1020"/>
                      </a:cubicBezTo>
                      <a:cubicBezTo>
                        <a:pt x="23" y="1052"/>
                        <a:pt x="23" y="1052"/>
                        <a:pt x="31" y="1067"/>
                      </a:cubicBezTo>
                      <a:cubicBezTo>
                        <a:pt x="39" y="1075"/>
                        <a:pt x="39" y="1075"/>
                        <a:pt x="39" y="1075"/>
                      </a:cubicBezTo>
                      <a:lnTo>
                        <a:pt x="39" y="1075"/>
                      </a:lnTo>
                      <a:cubicBezTo>
                        <a:pt x="39" y="1075"/>
                        <a:pt x="39" y="1075"/>
                        <a:pt x="39" y="1067"/>
                      </a:cubicBezTo>
                      <a:cubicBezTo>
                        <a:pt x="39" y="1059"/>
                        <a:pt x="39" y="1052"/>
                        <a:pt x="39" y="1043"/>
                      </a:cubicBezTo>
                      <a:cubicBezTo>
                        <a:pt x="47" y="1036"/>
                        <a:pt x="47" y="1036"/>
                        <a:pt x="55" y="1028"/>
                      </a:cubicBezTo>
                      <a:cubicBezTo>
                        <a:pt x="63" y="1028"/>
                        <a:pt x="63" y="1020"/>
                        <a:pt x="63" y="1012"/>
                      </a:cubicBezTo>
                      <a:cubicBezTo>
                        <a:pt x="63" y="996"/>
                        <a:pt x="63" y="988"/>
                        <a:pt x="63" y="972"/>
                      </a:cubicBezTo>
                      <a:cubicBezTo>
                        <a:pt x="63" y="965"/>
                        <a:pt x="71" y="957"/>
                        <a:pt x="79" y="957"/>
                      </a:cubicBezTo>
                      <a:lnTo>
                        <a:pt x="87" y="957"/>
                      </a:lnTo>
                      <a:cubicBezTo>
                        <a:pt x="94" y="965"/>
                        <a:pt x="103" y="965"/>
                        <a:pt x="103" y="965"/>
                      </a:cubicBezTo>
                      <a:cubicBezTo>
                        <a:pt x="118" y="957"/>
                        <a:pt x="118" y="957"/>
                        <a:pt x="118" y="957"/>
                      </a:cubicBezTo>
                      <a:cubicBezTo>
                        <a:pt x="118" y="957"/>
                        <a:pt x="118" y="957"/>
                        <a:pt x="110" y="949"/>
                      </a:cubicBezTo>
                      <a:cubicBezTo>
                        <a:pt x="110" y="941"/>
                        <a:pt x="110" y="941"/>
                        <a:pt x="103" y="941"/>
                      </a:cubicBezTo>
                      <a:lnTo>
                        <a:pt x="103" y="949"/>
                      </a:lnTo>
                      <a:cubicBezTo>
                        <a:pt x="94" y="949"/>
                        <a:pt x="79" y="949"/>
                        <a:pt x="63" y="949"/>
                      </a:cubicBezTo>
                      <a:cubicBezTo>
                        <a:pt x="55" y="949"/>
                        <a:pt x="47" y="949"/>
                        <a:pt x="39" y="941"/>
                      </a:cubicBezTo>
                      <a:cubicBezTo>
                        <a:pt x="39" y="933"/>
                        <a:pt x="39" y="933"/>
                        <a:pt x="47" y="925"/>
                      </a:cubicBezTo>
                      <a:cubicBezTo>
                        <a:pt x="47" y="917"/>
                        <a:pt x="47" y="901"/>
                        <a:pt x="47" y="893"/>
                      </a:cubicBezTo>
                      <a:cubicBezTo>
                        <a:pt x="47" y="862"/>
                        <a:pt x="47" y="854"/>
                        <a:pt x="47" y="838"/>
                      </a:cubicBezTo>
                      <a:cubicBezTo>
                        <a:pt x="47" y="830"/>
                        <a:pt x="47" y="830"/>
                        <a:pt x="47" y="830"/>
                      </a:cubicBezTo>
                      <a:cubicBezTo>
                        <a:pt x="55" y="830"/>
                        <a:pt x="55" y="830"/>
                        <a:pt x="55" y="830"/>
                      </a:cubicBezTo>
                      <a:cubicBezTo>
                        <a:pt x="63" y="830"/>
                        <a:pt x="63" y="830"/>
                        <a:pt x="63" y="830"/>
                      </a:cubicBezTo>
                      <a:cubicBezTo>
                        <a:pt x="71" y="838"/>
                        <a:pt x="79" y="846"/>
                        <a:pt x="94" y="846"/>
                      </a:cubicBezTo>
                      <a:cubicBezTo>
                        <a:pt x="110" y="846"/>
                        <a:pt x="110" y="846"/>
                        <a:pt x="118" y="838"/>
                      </a:cubicBezTo>
                      <a:lnTo>
                        <a:pt x="126" y="830"/>
                      </a:lnTo>
                      <a:cubicBezTo>
                        <a:pt x="134" y="830"/>
                        <a:pt x="134" y="830"/>
                        <a:pt x="134" y="830"/>
                      </a:cubicBezTo>
                      <a:cubicBezTo>
                        <a:pt x="134" y="822"/>
                        <a:pt x="126" y="822"/>
                        <a:pt x="126" y="822"/>
                      </a:cubicBezTo>
                      <a:cubicBezTo>
                        <a:pt x="118" y="822"/>
                        <a:pt x="110" y="814"/>
                        <a:pt x="110" y="814"/>
                      </a:cubicBezTo>
                      <a:cubicBezTo>
                        <a:pt x="103" y="806"/>
                        <a:pt x="94" y="799"/>
                        <a:pt x="87" y="791"/>
                      </a:cubicBezTo>
                      <a:cubicBezTo>
                        <a:pt x="79" y="791"/>
                        <a:pt x="79" y="791"/>
                        <a:pt x="79" y="791"/>
                      </a:cubicBezTo>
                      <a:cubicBezTo>
                        <a:pt x="71" y="791"/>
                        <a:pt x="71" y="791"/>
                        <a:pt x="63" y="791"/>
                      </a:cubicBezTo>
                      <a:cubicBezTo>
                        <a:pt x="63" y="791"/>
                        <a:pt x="63" y="799"/>
                        <a:pt x="55" y="799"/>
                      </a:cubicBezTo>
                      <a:lnTo>
                        <a:pt x="47" y="791"/>
                      </a:lnTo>
                      <a:cubicBezTo>
                        <a:pt x="39" y="775"/>
                        <a:pt x="39" y="767"/>
                        <a:pt x="47" y="751"/>
                      </a:cubicBezTo>
                      <a:cubicBezTo>
                        <a:pt x="55" y="751"/>
                        <a:pt x="55" y="743"/>
                        <a:pt x="55" y="735"/>
                      </a:cubicBezTo>
                      <a:cubicBezTo>
                        <a:pt x="63" y="719"/>
                        <a:pt x="63" y="704"/>
                        <a:pt x="63" y="696"/>
                      </a:cubicBezTo>
                      <a:cubicBezTo>
                        <a:pt x="71" y="680"/>
                        <a:pt x="71" y="672"/>
                        <a:pt x="71" y="656"/>
                      </a:cubicBezTo>
                      <a:cubicBezTo>
                        <a:pt x="71" y="648"/>
                        <a:pt x="71" y="648"/>
                        <a:pt x="71" y="648"/>
                      </a:cubicBezTo>
                      <a:cubicBezTo>
                        <a:pt x="79" y="632"/>
                        <a:pt x="79" y="632"/>
                        <a:pt x="79" y="632"/>
                      </a:cubicBezTo>
                      <a:cubicBezTo>
                        <a:pt x="71" y="632"/>
                        <a:pt x="71" y="625"/>
                        <a:pt x="71" y="609"/>
                      </a:cubicBezTo>
                      <a:cubicBezTo>
                        <a:pt x="71" y="601"/>
                        <a:pt x="71" y="601"/>
                        <a:pt x="71" y="601"/>
                      </a:cubicBezTo>
                      <a:cubicBezTo>
                        <a:pt x="63" y="561"/>
                        <a:pt x="55" y="506"/>
                        <a:pt x="63" y="459"/>
                      </a:cubicBezTo>
                      <a:cubicBezTo>
                        <a:pt x="63" y="451"/>
                        <a:pt x="63" y="443"/>
                        <a:pt x="63" y="443"/>
                      </a:cubicBezTo>
                      <a:cubicBezTo>
                        <a:pt x="63" y="411"/>
                        <a:pt x="63" y="411"/>
                        <a:pt x="63" y="379"/>
                      </a:cubicBezTo>
                      <a:cubicBezTo>
                        <a:pt x="55" y="364"/>
                        <a:pt x="47" y="348"/>
                        <a:pt x="39" y="340"/>
                      </a:cubicBezTo>
                      <a:cubicBezTo>
                        <a:pt x="31" y="324"/>
                        <a:pt x="23" y="308"/>
                        <a:pt x="23" y="285"/>
                      </a:cubicBezTo>
                      <a:cubicBezTo>
                        <a:pt x="16" y="245"/>
                        <a:pt x="47" y="198"/>
                        <a:pt x="55" y="174"/>
                      </a:cubicBezTo>
                      <a:cubicBezTo>
                        <a:pt x="63" y="174"/>
                        <a:pt x="63" y="166"/>
                        <a:pt x="63" y="166"/>
                      </a:cubicBezTo>
                      <a:cubicBezTo>
                        <a:pt x="71" y="158"/>
                        <a:pt x="71" y="158"/>
                        <a:pt x="71" y="150"/>
                      </a:cubicBezTo>
                      <a:cubicBezTo>
                        <a:pt x="71" y="150"/>
                        <a:pt x="71" y="150"/>
                        <a:pt x="63" y="135"/>
                      </a:cubicBezTo>
                      <a:lnTo>
                        <a:pt x="71" y="126"/>
                      </a:lnTo>
                      <a:lnTo>
                        <a:pt x="71" y="126"/>
                      </a:lnTo>
                      <a:cubicBezTo>
                        <a:pt x="79" y="126"/>
                        <a:pt x="87" y="135"/>
                        <a:pt x="87" y="135"/>
                      </a:cubicBezTo>
                      <a:cubicBezTo>
                        <a:pt x="158" y="245"/>
                        <a:pt x="300" y="293"/>
                        <a:pt x="379" y="316"/>
                      </a:cubicBezTo>
                      <a:cubicBezTo>
                        <a:pt x="395" y="324"/>
                        <a:pt x="411" y="324"/>
                        <a:pt x="419" y="332"/>
                      </a:cubicBezTo>
                      <a:cubicBezTo>
                        <a:pt x="434" y="332"/>
                        <a:pt x="443" y="340"/>
                        <a:pt x="450" y="340"/>
                      </a:cubicBezTo>
                      <a:cubicBezTo>
                        <a:pt x="474" y="356"/>
                        <a:pt x="474" y="356"/>
                        <a:pt x="498" y="356"/>
                      </a:cubicBezTo>
                      <a:cubicBezTo>
                        <a:pt x="529" y="356"/>
                        <a:pt x="537" y="372"/>
                        <a:pt x="553" y="395"/>
                      </a:cubicBezTo>
                      <a:cubicBezTo>
                        <a:pt x="553" y="403"/>
                        <a:pt x="561" y="411"/>
                        <a:pt x="569" y="411"/>
                      </a:cubicBezTo>
                      <a:lnTo>
                        <a:pt x="577" y="403"/>
                      </a:lnTo>
                      <a:cubicBezTo>
                        <a:pt x="577" y="395"/>
                        <a:pt x="585" y="395"/>
                        <a:pt x="593" y="395"/>
                      </a:cubicBezTo>
                      <a:cubicBezTo>
                        <a:pt x="601" y="395"/>
                        <a:pt x="616" y="411"/>
                        <a:pt x="616" y="435"/>
                      </a:cubicBezTo>
                      <a:cubicBezTo>
                        <a:pt x="624" y="443"/>
                        <a:pt x="624" y="451"/>
                        <a:pt x="624" y="466"/>
                      </a:cubicBezTo>
                      <a:cubicBezTo>
                        <a:pt x="624" y="474"/>
                        <a:pt x="624" y="490"/>
                        <a:pt x="624" y="506"/>
                      </a:cubicBezTo>
                      <a:cubicBezTo>
                        <a:pt x="624" y="514"/>
                        <a:pt x="624" y="522"/>
                        <a:pt x="632" y="522"/>
                      </a:cubicBezTo>
                      <a:lnTo>
                        <a:pt x="632" y="522"/>
                      </a:lnTo>
                      <a:cubicBezTo>
                        <a:pt x="632" y="522"/>
                        <a:pt x="632" y="522"/>
                        <a:pt x="640" y="522"/>
                      </a:cubicBezTo>
                      <a:cubicBezTo>
                        <a:pt x="648" y="522"/>
                        <a:pt x="648" y="522"/>
                        <a:pt x="656" y="530"/>
                      </a:cubicBezTo>
                      <a:cubicBezTo>
                        <a:pt x="664" y="538"/>
                        <a:pt x="664" y="561"/>
                        <a:pt x="664" y="577"/>
                      </a:cubicBezTo>
                      <a:cubicBezTo>
                        <a:pt x="664" y="585"/>
                        <a:pt x="656" y="593"/>
                        <a:pt x="640" y="593"/>
                      </a:cubicBezTo>
                      <a:cubicBezTo>
                        <a:pt x="640" y="593"/>
                        <a:pt x="632" y="601"/>
                        <a:pt x="624" y="601"/>
                      </a:cubicBezTo>
                      <a:cubicBezTo>
                        <a:pt x="616" y="609"/>
                        <a:pt x="616" y="617"/>
                        <a:pt x="616" y="625"/>
                      </a:cubicBezTo>
                      <a:cubicBezTo>
                        <a:pt x="608" y="632"/>
                        <a:pt x="608" y="641"/>
                        <a:pt x="593" y="648"/>
                      </a:cubicBezTo>
                      <a:cubicBezTo>
                        <a:pt x="593" y="656"/>
                        <a:pt x="593" y="656"/>
                        <a:pt x="593" y="656"/>
                      </a:cubicBezTo>
                      <a:cubicBezTo>
                        <a:pt x="593" y="664"/>
                        <a:pt x="608" y="672"/>
                        <a:pt x="616" y="672"/>
                      </a:cubicBezTo>
                      <a:cubicBezTo>
                        <a:pt x="632" y="680"/>
                        <a:pt x="624" y="696"/>
                        <a:pt x="624" y="712"/>
                      </a:cubicBezTo>
                      <a:cubicBezTo>
                        <a:pt x="616" y="719"/>
                        <a:pt x="616" y="735"/>
                        <a:pt x="616" y="743"/>
                      </a:cubicBezTo>
                      <a:cubicBezTo>
                        <a:pt x="616" y="767"/>
                        <a:pt x="593" y="806"/>
                        <a:pt x="569" y="799"/>
                      </a:cubicBezTo>
                      <a:cubicBezTo>
                        <a:pt x="553" y="799"/>
                        <a:pt x="545" y="791"/>
                        <a:pt x="545" y="783"/>
                      </a:cubicBezTo>
                      <a:cubicBezTo>
                        <a:pt x="545" y="775"/>
                        <a:pt x="553" y="775"/>
                        <a:pt x="545" y="767"/>
                      </a:cubicBezTo>
                      <a:lnTo>
                        <a:pt x="545" y="759"/>
                      </a:lnTo>
                      <a:cubicBezTo>
                        <a:pt x="545" y="767"/>
                        <a:pt x="545" y="767"/>
                        <a:pt x="545" y="767"/>
                      </a:cubicBezTo>
                      <a:cubicBezTo>
                        <a:pt x="537" y="767"/>
                        <a:pt x="537" y="775"/>
                        <a:pt x="529" y="783"/>
                      </a:cubicBezTo>
                      <a:lnTo>
                        <a:pt x="521" y="791"/>
                      </a:lnTo>
                      <a:cubicBezTo>
                        <a:pt x="521" y="799"/>
                        <a:pt x="521" y="814"/>
                        <a:pt x="506" y="814"/>
                      </a:cubicBezTo>
                      <a:cubicBezTo>
                        <a:pt x="498" y="814"/>
                        <a:pt x="498" y="806"/>
                        <a:pt x="498" y="806"/>
                      </a:cubicBezTo>
                      <a:cubicBezTo>
                        <a:pt x="490" y="799"/>
                        <a:pt x="498" y="791"/>
                        <a:pt x="498" y="783"/>
                      </a:cubicBezTo>
                      <a:cubicBezTo>
                        <a:pt x="498" y="775"/>
                        <a:pt x="506" y="767"/>
                        <a:pt x="506" y="759"/>
                      </a:cubicBezTo>
                      <a:cubicBezTo>
                        <a:pt x="506" y="751"/>
                        <a:pt x="506" y="751"/>
                        <a:pt x="506" y="751"/>
                      </a:cubicBezTo>
                      <a:cubicBezTo>
                        <a:pt x="498" y="751"/>
                        <a:pt x="498" y="751"/>
                        <a:pt x="490" y="767"/>
                      </a:cubicBezTo>
                      <a:cubicBezTo>
                        <a:pt x="482" y="783"/>
                        <a:pt x="474" y="791"/>
                        <a:pt x="466" y="799"/>
                      </a:cubicBezTo>
                      <a:cubicBezTo>
                        <a:pt x="458" y="806"/>
                        <a:pt x="450" y="814"/>
                        <a:pt x="443" y="822"/>
                      </a:cubicBezTo>
                      <a:lnTo>
                        <a:pt x="443" y="830"/>
                      </a:lnTo>
                      <a:cubicBezTo>
                        <a:pt x="443" y="838"/>
                        <a:pt x="458" y="846"/>
                        <a:pt x="482" y="854"/>
                      </a:cubicBezTo>
                      <a:cubicBezTo>
                        <a:pt x="490" y="854"/>
                        <a:pt x="498" y="854"/>
                        <a:pt x="506" y="862"/>
                      </a:cubicBezTo>
                      <a:cubicBezTo>
                        <a:pt x="521" y="862"/>
                        <a:pt x="529" y="862"/>
                        <a:pt x="537" y="862"/>
                      </a:cubicBezTo>
                      <a:cubicBezTo>
                        <a:pt x="537" y="862"/>
                        <a:pt x="545" y="862"/>
                        <a:pt x="545" y="854"/>
                      </a:cubicBezTo>
                      <a:cubicBezTo>
                        <a:pt x="553" y="854"/>
                        <a:pt x="561" y="846"/>
                        <a:pt x="577" y="838"/>
                      </a:cubicBezTo>
                      <a:cubicBezTo>
                        <a:pt x="608" y="830"/>
                        <a:pt x="616" y="822"/>
                        <a:pt x="624" y="806"/>
                      </a:cubicBezTo>
                      <a:cubicBezTo>
                        <a:pt x="624" y="806"/>
                        <a:pt x="632" y="799"/>
                        <a:pt x="632" y="791"/>
                      </a:cubicBezTo>
                      <a:cubicBezTo>
                        <a:pt x="656" y="775"/>
                        <a:pt x="656" y="775"/>
                        <a:pt x="656" y="759"/>
                      </a:cubicBezTo>
                      <a:lnTo>
                        <a:pt x="656" y="751"/>
                      </a:lnTo>
                      <a:lnTo>
                        <a:pt x="656" y="743"/>
                      </a:lnTo>
                      <a:cubicBezTo>
                        <a:pt x="664" y="727"/>
                        <a:pt x="664" y="719"/>
                        <a:pt x="672" y="704"/>
                      </a:cubicBezTo>
                      <a:cubicBezTo>
                        <a:pt x="680" y="688"/>
                        <a:pt x="680" y="688"/>
                        <a:pt x="672" y="656"/>
                      </a:cubicBezTo>
                      <a:cubicBezTo>
                        <a:pt x="664" y="632"/>
                        <a:pt x="672" y="625"/>
                        <a:pt x="680" y="617"/>
                      </a:cubicBezTo>
                      <a:cubicBezTo>
                        <a:pt x="680" y="609"/>
                        <a:pt x="680" y="609"/>
                        <a:pt x="687" y="609"/>
                      </a:cubicBezTo>
                      <a:cubicBezTo>
                        <a:pt x="687" y="601"/>
                        <a:pt x="687" y="601"/>
                        <a:pt x="696" y="593"/>
                      </a:cubicBezTo>
                      <a:cubicBezTo>
                        <a:pt x="703" y="585"/>
                        <a:pt x="711" y="569"/>
                        <a:pt x="727" y="561"/>
                      </a:cubicBezTo>
                      <a:cubicBezTo>
                        <a:pt x="743" y="553"/>
                        <a:pt x="743" y="546"/>
                        <a:pt x="751" y="530"/>
                      </a:cubicBezTo>
                      <a:cubicBezTo>
                        <a:pt x="751" y="522"/>
                        <a:pt x="751" y="522"/>
                        <a:pt x="751" y="522"/>
                      </a:cubicBezTo>
                      <a:cubicBezTo>
                        <a:pt x="767" y="498"/>
                        <a:pt x="767" y="474"/>
                        <a:pt x="759" y="466"/>
                      </a:cubicBezTo>
                      <a:cubicBezTo>
                        <a:pt x="751" y="459"/>
                        <a:pt x="743" y="435"/>
                        <a:pt x="735" y="411"/>
                      </a:cubicBezTo>
                      <a:cubicBezTo>
                        <a:pt x="735" y="395"/>
                        <a:pt x="743" y="395"/>
                        <a:pt x="743" y="388"/>
                      </a:cubicBezTo>
                      <a:cubicBezTo>
                        <a:pt x="751" y="388"/>
                        <a:pt x="751" y="379"/>
                        <a:pt x="759" y="372"/>
                      </a:cubicBezTo>
                      <a:cubicBezTo>
                        <a:pt x="759" y="364"/>
                        <a:pt x="751" y="356"/>
                        <a:pt x="743" y="348"/>
                      </a:cubicBezTo>
                      <a:cubicBezTo>
                        <a:pt x="735" y="348"/>
                        <a:pt x="735" y="348"/>
                        <a:pt x="727" y="340"/>
                      </a:cubicBezTo>
                      <a:lnTo>
                        <a:pt x="727" y="332"/>
                      </a:lnTo>
                      <a:cubicBezTo>
                        <a:pt x="719" y="324"/>
                        <a:pt x="719" y="316"/>
                        <a:pt x="703" y="301"/>
                      </a:cubicBezTo>
                      <a:cubicBezTo>
                        <a:pt x="696" y="301"/>
                        <a:pt x="687" y="293"/>
                        <a:pt x="696" y="285"/>
                      </a:cubicBezTo>
                      <a:cubicBezTo>
                        <a:pt x="696" y="277"/>
                        <a:pt x="703" y="277"/>
                        <a:pt x="719" y="277"/>
                      </a:cubicBezTo>
                      <a:cubicBezTo>
                        <a:pt x="727" y="277"/>
                        <a:pt x="727" y="277"/>
                        <a:pt x="727" y="277"/>
                      </a:cubicBezTo>
                      <a:cubicBezTo>
                        <a:pt x="727" y="277"/>
                        <a:pt x="727" y="277"/>
                        <a:pt x="735" y="277"/>
                      </a:cubicBezTo>
                      <a:lnTo>
                        <a:pt x="735" y="277"/>
                      </a:lnTo>
                      <a:lnTo>
                        <a:pt x="735" y="277"/>
                      </a:lnTo>
                      <a:cubicBezTo>
                        <a:pt x="735" y="277"/>
                        <a:pt x="735" y="277"/>
                        <a:pt x="735" y="269"/>
                      </a:cubicBezTo>
                      <a:cubicBezTo>
                        <a:pt x="735" y="253"/>
                        <a:pt x="743" y="245"/>
                        <a:pt x="743" y="237"/>
                      </a:cubicBezTo>
                      <a:cubicBezTo>
                        <a:pt x="759" y="221"/>
                        <a:pt x="759" y="206"/>
                        <a:pt x="767" y="182"/>
                      </a:cubicBezTo>
                      <a:cubicBezTo>
                        <a:pt x="767" y="166"/>
                        <a:pt x="767" y="158"/>
                        <a:pt x="759" y="150"/>
                      </a:cubicBezTo>
                      <a:cubicBezTo>
                        <a:pt x="759" y="142"/>
                        <a:pt x="759" y="142"/>
                        <a:pt x="759" y="135"/>
                      </a:cubicBezTo>
                      <a:cubicBezTo>
                        <a:pt x="751" y="126"/>
                        <a:pt x="743" y="126"/>
                        <a:pt x="735" y="119"/>
                      </a:cubicBezTo>
                      <a:cubicBezTo>
                        <a:pt x="727" y="119"/>
                        <a:pt x="719" y="111"/>
                        <a:pt x="711" y="103"/>
                      </a:cubicBezTo>
                      <a:cubicBezTo>
                        <a:pt x="696" y="87"/>
                        <a:pt x="696" y="71"/>
                        <a:pt x="696" y="55"/>
                      </a:cubicBezTo>
                      <a:cubicBezTo>
                        <a:pt x="696" y="48"/>
                        <a:pt x="696" y="39"/>
                        <a:pt x="696" y="32"/>
                      </a:cubicBezTo>
                      <a:cubicBezTo>
                        <a:pt x="687" y="16"/>
                        <a:pt x="680" y="16"/>
                        <a:pt x="672" y="16"/>
                      </a:cubicBezTo>
                      <a:cubicBezTo>
                        <a:pt x="672" y="16"/>
                        <a:pt x="664" y="16"/>
                        <a:pt x="656" y="8"/>
                      </a:cubicBezTo>
                      <a:cubicBezTo>
                        <a:pt x="640" y="0"/>
                        <a:pt x="640" y="0"/>
                        <a:pt x="640" y="0"/>
                      </a:cubicBezTo>
                      <a:cubicBezTo>
                        <a:pt x="656" y="0"/>
                        <a:pt x="656" y="0"/>
                        <a:pt x="656" y="0"/>
                      </a:cubicBezTo>
                      <a:cubicBezTo>
                        <a:pt x="664" y="8"/>
                        <a:pt x="1367" y="206"/>
                        <a:pt x="2450" y="427"/>
                      </a:cubicBezTo>
                      <a:cubicBezTo>
                        <a:pt x="2458" y="435"/>
                        <a:pt x="2458" y="435"/>
                        <a:pt x="2458" y="435"/>
                      </a:cubicBezTo>
                      <a:cubicBezTo>
                        <a:pt x="2450" y="435"/>
                        <a:pt x="2450" y="435"/>
                        <a:pt x="2450" y="435"/>
                      </a:cubicBezTo>
                      <a:cubicBezTo>
                        <a:pt x="2427" y="569"/>
                        <a:pt x="2348" y="1004"/>
                        <a:pt x="2340" y="1028"/>
                      </a:cubicBezTo>
                      <a:cubicBezTo>
                        <a:pt x="2340" y="1036"/>
                        <a:pt x="2324" y="1083"/>
                        <a:pt x="2316" y="1138"/>
                      </a:cubicBezTo>
                      <a:cubicBezTo>
                        <a:pt x="2284" y="1273"/>
                        <a:pt x="2245" y="1471"/>
                        <a:pt x="2229" y="1494"/>
                      </a:cubicBezTo>
                      <a:cubicBezTo>
                        <a:pt x="2213" y="1526"/>
                        <a:pt x="2213" y="1660"/>
                        <a:pt x="2229" y="1684"/>
                      </a:cubicBezTo>
                      <a:cubicBezTo>
                        <a:pt x="2237" y="1700"/>
                        <a:pt x="2229" y="1723"/>
                        <a:pt x="2221" y="1747"/>
                      </a:cubicBezTo>
                      <a:cubicBezTo>
                        <a:pt x="2221" y="1755"/>
                        <a:pt x="2221" y="1763"/>
                        <a:pt x="2221" y="1771"/>
                      </a:cubicBezTo>
                      <a:cubicBezTo>
                        <a:pt x="2213" y="1779"/>
                        <a:pt x="2213" y="1795"/>
                        <a:pt x="2221" y="1826"/>
                      </a:cubicBezTo>
                      <a:close/>
                      <a:moveTo>
                        <a:pt x="1557" y="1684"/>
                      </a:moveTo>
                      <a:lnTo>
                        <a:pt x="1557" y="1684"/>
                      </a:lnTo>
                      <a:cubicBezTo>
                        <a:pt x="1604" y="1684"/>
                        <a:pt x="1739" y="1716"/>
                        <a:pt x="1786" y="1739"/>
                      </a:cubicBezTo>
                      <a:cubicBezTo>
                        <a:pt x="1842" y="1771"/>
                        <a:pt x="2197" y="1818"/>
                        <a:pt x="2205" y="1818"/>
                      </a:cubicBezTo>
                      <a:cubicBezTo>
                        <a:pt x="2213" y="1818"/>
                        <a:pt x="2213" y="1818"/>
                        <a:pt x="2213" y="1818"/>
                      </a:cubicBezTo>
                      <a:cubicBezTo>
                        <a:pt x="2213" y="1795"/>
                        <a:pt x="2205" y="1779"/>
                        <a:pt x="2213" y="1771"/>
                      </a:cubicBezTo>
                      <a:cubicBezTo>
                        <a:pt x="2213" y="1763"/>
                        <a:pt x="2213" y="1755"/>
                        <a:pt x="2213" y="1747"/>
                      </a:cubicBezTo>
                      <a:cubicBezTo>
                        <a:pt x="2221" y="1723"/>
                        <a:pt x="2229" y="1700"/>
                        <a:pt x="2221" y="1684"/>
                      </a:cubicBezTo>
                      <a:cubicBezTo>
                        <a:pt x="2205" y="1668"/>
                        <a:pt x="2205" y="1518"/>
                        <a:pt x="2221" y="1486"/>
                      </a:cubicBezTo>
                      <a:cubicBezTo>
                        <a:pt x="2237" y="1471"/>
                        <a:pt x="2284" y="1257"/>
                        <a:pt x="2308" y="1138"/>
                      </a:cubicBezTo>
                      <a:cubicBezTo>
                        <a:pt x="2324" y="1075"/>
                        <a:pt x="2332" y="1036"/>
                        <a:pt x="2332" y="1028"/>
                      </a:cubicBezTo>
                      <a:cubicBezTo>
                        <a:pt x="2340" y="1004"/>
                        <a:pt x="2419" y="577"/>
                        <a:pt x="2443" y="435"/>
                      </a:cubicBezTo>
                      <a:cubicBezTo>
                        <a:pt x="1518" y="245"/>
                        <a:pt x="861" y="63"/>
                        <a:pt x="696" y="24"/>
                      </a:cubicBezTo>
                      <a:lnTo>
                        <a:pt x="696" y="24"/>
                      </a:lnTo>
                      <a:cubicBezTo>
                        <a:pt x="703" y="39"/>
                        <a:pt x="703" y="48"/>
                        <a:pt x="703" y="55"/>
                      </a:cubicBezTo>
                      <a:cubicBezTo>
                        <a:pt x="703" y="71"/>
                        <a:pt x="703" y="87"/>
                        <a:pt x="719" y="95"/>
                      </a:cubicBezTo>
                      <a:cubicBezTo>
                        <a:pt x="727" y="103"/>
                        <a:pt x="735" y="111"/>
                        <a:pt x="743" y="111"/>
                      </a:cubicBezTo>
                      <a:cubicBezTo>
                        <a:pt x="751" y="119"/>
                        <a:pt x="759" y="126"/>
                        <a:pt x="759" y="135"/>
                      </a:cubicBezTo>
                      <a:cubicBezTo>
                        <a:pt x="767" y="142"/>
                        <a:pt x="767" y="142"/>
                        <a:pt x="767" y="142"/>
                      </a:cubicBezTo>
                      <a:cubicBezTo>
                        <a:pt x="767" y="150"/>
                        <a:pt x="774" y="158"/>
                        <a:pt x="774" y="182"/>
                      </a:cubicBezTo>
                      <a:cubicBezTo>
                        <a:pt x="767" y="206"/>
                        <a:pt x="767" y="221"/>
                        <a:pt x="751" y="237"/>
                      </a:cubicBezTo>
                      <a:cubicBezTo>
                        <a:pt x="751" y="245"/>
                        <a:pt x="743" y="253"/>
                        <a:pt x="743" y="269"/>
                      </a:cubicBezTo>
                      <a:cubicBezTo>
                        <a:pt x="743" y="277"/>
                        <a:pt x="743" y="277"/>
                        <a:pt x="743" y="285"/>
                      </a:cubicBezTo>
                      <a:lnTo>
                        <a:pt x="735" y="285"/>
                      </a:lnTo>
                      <a:cubicBezTo>
                        <a:pt x="735" y="285"/>
                        <a:pt x="735" y="285"/>
                        <a:pt x="727" y="285"/>
                      </a:cubicBezTo>
                      <a:lnTo>
                        <a:pt x="727" y="285"/>
                      </a:lnTo>
                      <a:cubicBezTo>
                        <a:pt x="719" y="285"/>
                        <a:pt x="719" y="285"/>
                        <a:pt x="719" y="285"/>
                      </a:cubicBezTo>
                      <a:cubicBezTo>
                        <a:pt x="703" y="285"/>
                        <a:pt x="703" y="285"/>
                        <a:pt x="703" y="285"/>
                      </a:cubicBezTo>
                      <a:lnTo>
                        <a:pt x="703" y="293"/>
                      </a:lnTo>
                      <a:cubicBezTo>
                        <a:pt x="719" y="308"/>
                        <a:pt x="727" y="316"/>
                        <a:pt x="727" y="324"/>
                      </a:cubicBezTo>
                      <a:cubicBezTo>
                        <a:pt x="735" y="332"/>
                        <a:pt x="735" y="332"/>
                        <a:pt x="735" y="340"/>
                      </a:cubicBezTo>
                      <a:cubicBezTo>
                        <a:pt x="735" y="340"/>
                        <a:pt x="743" y="340"/>
                        <a:pt x="751" y="348"/>
                      </a:cubicBezTo>
                      <a:cubicBezTo>
                        <a:pt x="759" y="348"/>
                        <a:pt x="767" y="356"/>
                        <a:pt x="759" y="372"/>
                      </a:cubicBezTo>
                      <a:cubicBezTo>
                        <a:pt x="759" y="379"/>
                        <a:pt x="751" y="388"/>
                        <a:pt x="751" y="395"/>
                      </a:cubicBezTo>
                      <a:cubicBezTo>
                        <a:pt x="743" y="395"/>
                        <a:pt x="743" y="403"/>
                        <a:pt x="743" y="411"/>
                      </a:cubicBezTo>
                      <a:cubicBezTo>
                        <a:pt x="751" y="435"/>
                        <a:pt x="759" y="451"/>
                        <a:pt x="767" y="459"/>
                      </a:cubicBezTo>
                      <a:cubicBezTo>
                        <a:pt x="774" y="474"/>
                        <a:pt x="767" y="506"/>
                        <a:pt x="759" y="522"/>
                      </a:cubicBezTo>
                      <a:cubicBezTo>
                        <a:pt x="759" y="530"/>
                        <a:pt x="759" y="530"/>
                        <a:pt x="759" y="530"/>
                      </a:cubicBezTo>
                      <a:cubicBezTo>
                        <a:pt x="751" y="546"/>
                        <a:pt x="743" y="553"/>
                        <a:pt x="727" y="569"/>
                      </a:cubicBezTo>
                      <a:cubicBezTo>
                        <a:pt x="719" y="577"/>
                        <a:pt x="711" y="585"/>
                        <a:pt x="703" y="601"/>
                      </a:cubicBezTo>
                      <a:cubicBezTo>
                        <a:pt x="696" y="601"/>
                        <a:pt x="696" y="609"/>
                        <a:pt x="687" y="609"/>
                      </a:cubicBezTo>
                      <a:cubicBezTo>
                        <a:pt x="687" y="617"/>
                        <a:pt x="687" y="617"/>
                        <a:pt x="687" y="617"/>
                      </a:cubicBezTo>
                      <a:cubicBezTo>
                        <a:pt x="672" y="632"/>
                        <a:pt x="672" y="632"/>
                        <a:pt x="680" y="656"/>
                      </a:cubicBezTo>
                      <a:cubicBezTo>
                        <a:pt x="687" y="680"/>
                        <a:pt x="687" y="688"/>
                        <a:pt x="680" y="712"/>
                      </a:cubicBezTo>
                      <a:cubicBezTo>
                        <a:pt x="672" y="719"/>
                        <a:pt x="672" y="727"/>
                        <a:pt x="664" y="743"/>
                      </a:cubicBezTo>
                      <a:lnTo>
                        <a:pt x="664" y="751"/>
                      </a:lnTo>
                      <a:cubicBezTo>
                        <a:pt x="664" y="759"/>
                        <a:pt x="664" y="759"/>
                        <a:pt x="664" y="759"/>
                      </a:cubicBezTo>
                      <a:cubicBezTo>
                        <a:pt x="664" y="775"/>
                        <a:pt x="656" y="775"/>
                        <a:pt x="640" y="799"/>
                      </a:cubicBezTo>
                      <a:cubicBezTo>
                        <a:pt x="632" y="806"/>
                        <a:pt x="632" y="806"/>
                        <a:pt x="632" y="814"/>
                      </a:cubicBezTo>
                      <a:cubicBezTo>
                        <a:pt x="616" y="822"/>
                        <a:pt x="616" y="830"/>
                        <a:pt x="577" y="846"/>
                      </a:cubicBezTo>
                      <a:cubicBezTo>
                        <a:pt x="561" y="854"/>
                        <a:pt x="553" y="854"/>
                        <a:pt x="553" y="862"/>
                      </a:cubicBezTo>
                      <a:cubicBezTo>
                        <a:pt x="545" y="870"/>
                        <a:pt x="537" y="878"/>
                        <a:pt x="506" y="862"/>
                      </a:cubicBezTo>
                      <a:cubicBezTo>
                        <a:pt x="498" y="862"/>
                        <a:pt x="490" y="862"/>
                        <a:pt x="482" y="862"/>
                      </a:cubicBezTo>
                      <a:cubicBezTo>
                        <a:pt x="458" y="854"/>
                        <a:pt x="443" y="846"/>
                        <a:pt x="434" y="838"/>
                      </a:cubicBezTo>
                      <a:cubicBezTo>
                        <a:pt x="434" y="830"/>
                        <a:pt x="434" y="822"/>
                        <a:pt x="434" y="822"/>
                      </a:cubicBezTo>
                      <a:cubicBezTo>
                        <a:pt x="443" y="806"/>
                        <a:pt x="450" y="799"/>
                        <a:pt x="458" y="791"/>
                      </a:cubicBezTo>
                      <a:cubicBezTo>
                        <a:pt x="466" y="783"/>
                        <a:pt x="474" y="783"/>
                        <a:pt x="482" y="767"/>
                      </a:cubicBezTo>
                      <a:cubicBezTo>
                        <a:pt x="482" y="759"/>
                        <a:pt x="490" y="743"/>
                        <a:pt x="506" y="743"/>
                      </a:cubicBezTo>
                      <a:cubicBezTo>
                        <a:pt x="506" y="743"/>
                        <a:pt x="514" y="743"/>
                        <a:pt x="514" y="759"/>
                      </a:cubicBezTo>
                      <a:cubicBezTo>
                        <a:pt x="514" y="767"/>
                        <a:pt x="506" y="775"/>
                        <a:pt x="506" y="783"/>
                      </a:cubicBezTo>
                      <a:cubicBezTo>
                        <a:pt x="506" y="791"/>
                        <a:pt x="498" y="799"/>
                        <a:pt x="498" y="799"/>
                      </a:cubicBezTo>
                      <a:cubicBezTo>
                        <a:pt x="506" y="806"/>
                        <a:pt x="506" y="806"/>
                        <a:pt x="506" y="806"/>
                      </a:cubicBezTo>
                      <a:cubicBezTo>
                        <a:pt x="514" y="806"/>
                        <a:pt x="514" y="799"/>
                        <a:pt x="514" y="791"/>
                      </a:cubicBezTo>
                      <a:cubicBezTo>
                        <a:pt x="514" y="791"/>
                        <a:pt x="521" y="783"/>
                        <a:pt x="529" y="775"/>
                      </a:cubicBezTo>
                      <a:cubicBezTo>
                        <a:pt x="529" y="767"/>
                        <a:pt x="537" y="767"/>
                        <a:pt x="537" y="759"/>
                      </a:cubicBezTo>
                      <a:cubicBezTo>
                        <a:pt x="537" y="759"/>
                        <a:pt x="537" y="751"/>
                        <a:pt x="545" y="751"/>
                      </a:cubicBezTo>
                      <a:cubicBezTo>
                        <a:pt x="545" y="751"/>
                        <a:pt x="553" y="759"/>
                        <a:pt x="553" y="767"/>
                      </a:cubicBezTo>
                      <a:cubicBezTo>
                        <a:pt x="553" y="775"/>
                        <a:pt x="553" y="775"/>
                        <a:pt x="553" y="783"/>
                      </a:cubicBezTo>
                      <a:cubicBezTo>
                        <a:pt x="553" y="791"/>
                        <a:pt x="553" y="791"/>
                        <a:pt x="569" y="791"/>
                      </a:cubicBezTo>
                      <a:cubicBezTo>
                        <a:pt x="593" y="799"/>
                        <a:pt x="608" y="767"/>
                        <a:pt x="608" y="743"/>
                      </a:cubicBezTo>
                      <a:cubicBezTo>
                        <a:pt x="608" y="727"/>
                        <a:pt x="616" y="719"/>
                        <a:pt x="616" y="712"/>
                      </a:cubicBezTo>
                      <a:cubicBezTo>
                        <a:pt x="624" y="688"/>
                        <a:pt x="624" y="680"/>
                        <a:pt x="616" y="680"/>
                      </a:cubicBezTo>
                      <a:cubicBezTo>
                        <a:pt x="601" y="672"/>
                        <a:pt x="585" y="672"/>
                        <a:pt x="585" y="664"/>
                      </a:cubicBezTo>
                      <a:cubicBezTo>
                        <a:pt x="585" y="656"/>
                        <a:pt x="585" y="648"/>
                        <a:pt x="593" y="648"/>
                      </a:cubicBezTo>
                      <a:cubicBezTo>
                        <a:pt x="601" y="632"/>
                        <a:pt x="608" y="625"/>
                        <a:pt x="608" y="617"/>
                      </a:cubicBezTo>
                      <a:cubicBezTo>
                        <a:pt x="608" y="609"/>
                        <a:pt x="616" y="609"/>
                        <a:pt x="616" y="601"/>
                      </a:cubicBezTo>
                      <a:cubicBezTo>
                        <a:pt x="624" y="593"/>
                        <a:pt x="632" y="593"/>
                        <a:pt x="640" y="585"/>
                      </a:cubicBezTo>
                      <a:cubicBezTo>
                        <a:pt x="656" y="585"/>
                        <a:pt x="656" y="585"/>
                        <a:pt x="656" y="577"/>
                      </a:cubicBezTo>
                      <a:cubicBezTo>
                        <a:pt x="656" y="561"/>
                        <a:pt x="656" y="538"/>
                        <a:pt x="648" y="530"/>
                      </a:cubicBezTo>
                      <a:lnTo>
                        <a:pt x="640" y="530"/>
                      </a:lnTo>
                      <a:lnTo>
                        <a:pt x="632" y="530"/>
                      </a:lnTo>
                      <a:cubicBezTo>
                        <a:pt x="632" y="530"/>
                        <a:pt x="632" y="530"/>
                        <a:pt x="624" y="530"/>
                      </a:cubicBezTo>
                      <a:cubicBezTo>
                        <a:pt x="624" y="530"/>
                        <a:pt x="616" y="522"/>
                        <a:pt x="616" y="506"/>
                      </a:cubicBezTo>
                      <a:cubicBezTo>
                        <a:pt x="616" y="490"/>
                        <a:pt x="616" y="474"/>
                        <a:pt x="616" y="466"/>
                      </a:cubicBezTo>
                      <a:cubicBezTo>
                        <a:pt x="616" y="459"/>
                        <a:pt x="616" y="443"/>
                        <a:pt x="616" y="435"/>
                      </a:cubicBezTo>
                      <a:cubicBezTo>
                        <a:pt x="608" y="411"/>
                        <a:pt x="601" y="403"/>
                        <a:pt x="593" y="403"/>
                      </a:cubicBezTo>
                      <a:cubicBezTo>
                        <a:pt x="585" y="403"/>
                        <a:pt x="585" y="403"/>
                        <a:pt x="585" y="403"/>
                      </a:cubicBezTo>
                      <a:cubicBezTo>
                        <a:pt x="577" y="419"/>
                        <a:pt x="569" y="419"/>
                        <a:pt x="569" y="419"/>
                      </a:cubicBezTo>
                      <a:cubicBezTo>
                        <a:pt x="561" y="419"/>
                        <a:pt x="553" y="411"/>
                        <a:pt x="545" y="395"/>
                      </a:cubicBezTo>
                      <a:cubicBezTo>
                        <a:pt x="529" y="372"/>
                        <a:pt x="521" y="364"/>
                        <a:pt x="498" y="364"/>
                      </a:cubicBezTo>
                      <a:cubicBezTo>
                        <a:pt x="474" y="364"/>
                        <a:pt x="474" y="364"/>
                        <a:pt x="443" y="348"/>
                      </a:cubicBezTo>
                      <a:cubicBezTo>
                        <a:pt x="434" y="348"/>
                        <a:pt x="427" y="340"/>
                        <a:pt x="419" y="340"/>
                      </a:cubicBezTo>
                      <a:cubicBezTo>
                        <a:pt x="411" y="332"/>
                        <a:pt x="395" y="332"/>
                        <a:pt x="379" y="324"/>
                      </a:cubicBezTo>
                      <a:cubicBezTo>
                        <a:pt x="300" y="301"/>
                        <a:pt x="158" y="253"/>
                        <a:pt x="87" y="142"/>
                      </a:cubicBezTo>
                      <a:cubicBezTo>
                        <a:pt x="79" y="135"/>
                        <a:pt x="79" y="135"/>
                        <a:pt x="71" y="135"/>
                      </a:cubicBezTo>
                      <a:lnTo>
                        <a:pt x="71" y="135"/>
                      </a:lnTo>
                      <a:cubicBezTo>
                        <a:pt x="71" y="142"/>
                        <a:pt x="79" y="150"/>
                        <a:pt x="79" y="150"/>
                      </a:cubicBezTo>
                      <a:cubicBezTo>
                        <a:pt x="79" y="158"/>
                        <a:pt x="79" y="158"/>
                        <a:pt x="71" y="166"/>
                      </a:cubicBezTo>
                      <a:cubicBezTo>
                        <a:pt x="71" y="174"/>
                        <a:pt x="71" y="174"/>
                        <a:pt x="63" y="182"/>
                      </a:cubicBezTo>
                      <a:cubicBezTo>
                        <a:pt x="47" y="206"/>
                        <a:pt x="23" y="245"/>
                        <a:pt x="31" y="285"/>
                      </a:cubicBezTo>
                      <a:cubicBezTo>
                        <a:pt x="31" y="301"/>
                        <a:pt x="39" y="316"/>
                        <a:pt x="47" y="332"/>
                      </a:cubicBezTo>
                      <a:cubicBezTo>
                        <a:pt x="55" y="348"/>
                        <a:pt x="63" y="356"/>
                        <a:pt x="71" y="379"/>
                      </a:cubicBezTo>
                      <a:cubicBezTo>
                        <a:pt x="71" y="411"/>
                        <a:pt x="71" y="411"/>
                        <a:pt x="71" y="443"/>
                      </a:cubicBezTo>
                      <a:cubicBezTo>
                        <a:pt x="71" y="451"/>
                        <a:pt x="71" y="451"/>
                        <a:pt x="63" y="466"/>
                      </a:cubicBezTo>
                      <a:cubicBezTo>
                        <a:pt x="63" y="506"/>
                        <a:pt x="71" y="561"/>
                        <a:pt x="71" y="601"/>
                      </a:cubicBezTo>
                      <a:cubicBezTo>
                        <a:pt x="79" y="609"/>
                        <a:pt x="79" y="609"/>
                        <a:pt x="79" y="609"/>
                      </a:cubicBezTo>
                      <a:cubicBezTo>
                        <a:pt x="79" y="625"/>
                        <a:pt x="79" y="632"/>
                        <a:pt x="79" y="632"/>
                      </a:cubicBezTo>
                      <a:cubicBezTo>
                        <a:pt x="87" y="632"/>
                        <a:pt x="87" y="632"/>
                        <a:pt x="79" y="656"/>
                      </a:cubicBezTo>
                      <a:lnTo>
                        <a:pt x="79" y="656"/>
                      </a:lnTo>
                      <a:cubicBezTo>
                        <a:pt x="79" y="672"/>
                        <a:pt x="79" y="680"/>
                        <a:pt x="71" y="696"/>
                      </a:cubicBezTo>
                      <a:cubicBezTo>
                        <a:pt x="71" y="712"/>
                        <a:pt x="71" y="719"/>
                        <a:pt x="63" y="735"/>
                      </a:cubicBezTo>
                      <a:cubicBezTo>
                        <a:pt x="63" y="743"/>
                        <a:pt x="55" y="751"/>
                        <a:pt x="55" y="759"/>
                      </a:cubicBezTo>
                      <a:cubicBezTo>
                        <a:pt x="47" y="767"/>
                        <a:pt x="47" y="775"/>
                        <a:pt x="55" y="783"/>
                      </a:cubicBezTo>
                      <a:cubicBezTo>
                        <a:pt x="55" y="791"/>
                        <a:pt x="55" y="791"/>
                        <a:pt x="55" y="791"/>
                      </a:cubicBezTo>
                      <a:cubicBezTo>
                        <a:pt x="55" y="791"/>
                        <a:pt x="63" y="791"/>
                        <a:pt x="63" y="783"/>
                      </a:cubicBezTo>
                      <a:lnTo>
                        <a:pt x="71" y="783"/>
                      </a:lnTo>
                      <a:lnTo>
                        <a:pt x="79" y="783"/>
                      </a:lnTo>
                      <a:cubicBezTo>
                        <a:pt x="79" y="783"/>
                        <a:pt x="87" y="783"/>
                        <a:pt x="87" y="791"/>
                      </a:cubicBezTo>
                      <a:cubicBezTo>
                        <a:pt x="94" y="791"/>
                        <a:pt x="110" y="799"/>
                        <a:pt x="118" y="806"/>
                      </a:cubicBezTo>
                      <a:lnTo>
                        <a:pt x="126" y="814"/>
                      </a:lnTo>
                      <a:cubicBezTo>
                        <a:pt x="134" y="822"/>
                        <a:pt x="142" y="822"/>
                        <a:pt x="142" y="830"/>
                      </a:cubicBezTo>
                      <a:cubicBezTo>
                        <a:pt x="142" y="830"/>
                        <a:pt x="134" y="830"/>
                        <a:pt x="134" y="838"/>
                      </a:cubicBezTo>
                      <a:cubicBezTo>
                        <a:pt x="126" y="838"/>
                        <a:pt x="126" y="838"/>
                        <a:pt x="126" y="846"/>
                      </a:cubicBezTo>
                      <a:cubicBezTo>
                        <a:pt x="118" y="846"/>
                        <a:pt x="118" y="854"/>
                        <a:pt x="94" y="854"/>
                      </a:cubicBezTo>
                      <a:cubicBezTo>
                        <a:pt x="79" y="854"/>
                        <a:pt x="71" y="846"/>
                        <a:pt x="63" y="838"/>
                      </a:cubicBezTo>
                      <a:cubicBezTo>
                        <a:pt x="63" y="838"/>
                        <a:pt x="63" y="838"/>
                        <a:pt x="55" y="838"/>
                      </a:cubicBezTo>
                      <a:lnTo>
                        <a:pt x="55" y="838"/>
                      </a:lnTo>
                      <a:lnTo>
                        <a:pt x="55" y="838"/>
                      </a:lnTo>
                      <a:cubicBezTo>
                        <a:pt x="55" y="854"/>
                        <a:pt x="55" y="862"/>
                        <a:pt x="55" y="893"/>
                      </a:cubicBezTo>
                      <a:cubicBezTo>
                        <a:pt x="55" y="909"/>
                        <a:pt x="55" y="917"/>
                        <a:pt x="47" y="925"/>
                      </a:cubicBezTo>
                      <a:cubicBezTo>
                        <a:pt x="47" y="933"/>
                        <a:pt x="47" y="933"/>
                        <a:pt x="47" y="941"/>
                      </a:cubicBezTo>
                      <a:cubicBezTo>
                        <a:pt x="47" y="941"/>
                        <a:pt x="55" y="941"/>
                        <a:pt x="63" y="941"/>
                      </a:cubicBezTo>
                      <a:cubicBezTo>
                        <a:pt x="79" y="941"/>
                        <a:pt x="87" y="941"/>
                        <a:pt x="94" y="941"/>
                      </a:cubicBezTo>
                      <a:cubicBezTo>
                        <a:pt x="110" y="933"/>
                        <a:pt x="110" y="933"/>
                        <a:pt x="118" y="941"/>
                      </a:cubicBezTo>
                      <a:cubicBezTo>
                        <a:pt x="126" y="949"/>
                        <a:pt x="126" y="957"/>
                        <a:pt x="126" y="965"/>
                      </a:cubicBezTo>
                      <a:cubicBezTo>
                        <a:pt x="118" y="965"/>
                        <a:pt x="110" y="965"/>
                        <a:pt x="110" y="972"/>
                      </a:cubicBezTo>
                      <a:cubicBezTo>
                        <a:pt x="103" y="972"/>
                        <a:pt x="94" y="972"/>
                        <a:pt x="87" y="965"/>
                      </a:cubicBezTo>
                      <a:lnTo>
                        <a:pt x="79" y="965"/>
                      </a:lnTo>
                      <a:cubicBezTo>
                        <a:pt x="71" y="965"/>
                        <a:pt x="71" y="965"/>
                        <a:pt x="71" y="972"/>
                      </a:cubicBezTo>
                      <a:cubicBezTo>
                        <a:pt x="71" y="988"/>
                        <a:pt x="71" y="996"/>
                        <a:pt x="71" y="1012"/>
                      </a:cubicBezTo>
                      <a:cubicBezTo>
                        <a:pt x="71" y="1028"/>
                        <a:pt x="63" y="1028"/>
                        <a:pt x="63" y="1036"/>
                      </a:cubicBezTo>
                      <a:cubicBezTo>
                        <a:pt x="55" y="1036"/>
                        <a:pt x="47" y="1043"/>
                        <a:pt x="47" y="1052"/>
                      </a:cubicBezTo>
                      <a:cubicBezTo>
                        <a:pt x="47" y="1052"/>
                        <a:pt x="47" y="1067"/>
                        <a:pt x="47" y="1075"/>
                      </a:cubicBezTo>
                      <a:cubicBezTo>
                        <a:pt x="47" y="1083"/>
                        <a:pt x="47" y="1083"/>
                        <a:pt x="39" y="1083"/>
                      </a:cubicBezTo>
                      <a:cubicBezTo>
                        <a:pt x="39" y="1083"/>
                        <a:pt x="31" y="1083"/>
                        <a:pt x="31" y="1075"/>
                      </a:cubicBezTo>
                      <a:cubicBezTo>
                        <a:pt x="23" y="1075"/>
                        <a:pt x="23" y="1075"/>
                        <a:pt x="23" y="1075"/>
                      </a:cubicBezTo>
                      <a:cubicBezTo>
                        <a:pt x="16" y="1052"/>
                        <a:pt x="16" y="1052"/>
                        <a:pt x="23" y="1020"/>
                      </a:cubicBezTo>
                      <a:cubicBezTo>
                        <a:pt x="23" y="1012"/>
                        <a:pt x="23" y="1004"/>
                        <a:pt x="23" y="996"/>
                      </a:cubicBezTo>
                      <a:cubicBezTo>
                        <a:pt x="23" y="988"/>
                        <a:pt x="23" y="980"/>
                        <a:pt x="23" y="980"/>
                      </a:cubicBezTo>
                      <a:lnTo>
                        <a:pt x="23" y="980"/>
                      </a:lnTo>
                      <a:cubicBezTo>
                        <a:pt x="16" y="996"/>
                        <a:pt x="8" y="1012"/>
                        <a:pt x="8" y="1036"/>
                      </a:cubicBezTo>
                      <a:cubicBezTo>
                        <a:pt x="16" y="1043"/>
                        <a:pt x="16" y="1059"/>
                        <a:pt x="16" y="1067"/>
                      </a:cubicBezTo>
                      <a:cubicBezTo>
                        <a:pt x="16" y="1083"/>
                        <a:pt x="16" y="1099"/>
                        <a:pt x="23" y="1115"/>
                      </a:cubicBezTo>
                      <a:cubicBezTo>
                        <a:pt x="23" y="1123"/>
                        <a:pt x="23" y="1131"/>
                        <a:pt x="23" y="1131"/>
                      </a:cubicBezTo>
                      <a:cubicBezTo>
                        <a:pt x="23" y="1138"/>
                        <a:pt x="31" y="1138"/>
                        <a:pt x="31" y="1138"/>
                      </a:cubicBezTo>
                      <a:cubicBezTo>
                        <a:pt x="79" y="1162"/>
                        <a:pt x="118" y="1178"/>
                        <a:pt x="126" y="1178"/>
                      </a:cubicBezTo>
                      <a:cubicBezTo>
                        <a:pt x="158" y="1186"/>
                        <a:pt x="158" y="1194"/>
                        <a:pt x="158" y="1225"/>
                      </a:cubicBezTo>
                      <a:cubicBezTo>
                        <a:pt x="158" y="1225"/>
                        <a:pt x="166" y="1225"/>
                        <a:pt x="166" y="1233"/>
                      </a:cubicBezTo>
                      <a:cubicBezTo>
                        <a:pt x="166" y="1257"/>
                        <a:pt x="174" y="1257"/>
                        <a:pt x="174" y="1257"/>
                      </a:cubicBezTo>
                      <a:lnTo>
                        <a:pt x="181" y="1249"/>
                      </a:lnTo>
                      <a:cubicBezTo>
                        <a:pt x="190" y="1249"/>
                        <a:pt x="205" y="1241"/>
                        <a:pt x="213" y="1241"/>
                      </a:cubicBezTo>
                      <a:cubicBezTo>
                        <a:pt x="253" y="1241"/>
                        <a:pt x="268" y="1281"/>
                        <a:pt x="292" y="1320"/>
                      </a:cubicBezTo>
                      <a:cubicBezTo>
                        <a:pt x="300" y="1320"/>
                        <a:pt x="300" y="1328"/>
                        <a:pt x="308" y="1328"/>
                      </a:cubicBezTo>
                      <a:cubicBezTo>
                        <a:pt x="324" y="1368"/>
                        <a:pt x="308" y="1415"/>
                        <a:pt x="292" y="1455"/>
                      </a:cubicBezTo>
                      <a:cubicBezTo>
                        <a:pt x="292" y="1471"/>
                        <a:pt x="284" y="1478"/>
                        <a:pt x="284" y="1494"/>
                      </a:cubicBezTo>
                      <a:cubicBezTo>
                        <a:pt x="276" y="1526"/>
                        <a:pt x="284" y="1549"/>
                        <a:pt x="292" y="1558"/>
                      </a:cubicBezTo>
                      <a:cubicBezTo>
                        <a:pt x="300" y="1565"/>
                        <a:pt x="316" y="1565"/>
                        <a:pt x="324" y="1565"/>
                      </a:cubicBezTo>
                      <a:cubicBezTo>
                        <a:pt x="348" y="1573"/>
                        <a:pt x="379" y="1573"/>
                        <a:pt x="395" y="1589"/>
                      </a:cubicBezTo>
                      <a:cubicBezTo>
                        <a:pt x="411" y="1605"/>
                        <a:pt x="434" y="1613"/>
                        <a:pt x="466" y="1613"/>
                      </a:cubicBezTo>
                      <a:cubicBezTo>
                        <a:pt x="490" y="1613"/>
                        <a:pt x="506" y="1613"/>
                        <a:pt x="521" y="1605"/>
                      </a:cubicBezTo>
                      <a:cubicBezTo>
                        <a:pt x="529" y="1605"/>
                        <a:pt x="545" y="1597"/>
                        <a:pt x="545" y="1597"/>
                      </a:cubicBezTo>
                      <a:cubicBezTo>
                        <a:pt x="561" y="1589"/>
                        <a:pt x="569" y="1581"/>
                        <a:pt x="577" y="1581"/>
                      </a:cubicBezTo>
                      <a:cubicBezTo>
                        <a:pt x="585" y="1581"/>
                        <a:pt x="601" y="1589"/>
                        <a:pt x="608" y="1589"/>
                      </a:cubicBezTo>
                      <a:cubicBezTo>
                        <a:pt x="624" y="1597"/>
                        <a:pt x="640" y="1605"/>
                        <a:pt x="648" y="1605"/>
                      </a:cubicBezTo>
                      <a:cubicBezTo>
                        <a:pt x="656" y="1605"/>
                        <a:pt x="656" y="1605"/>
                        <a:pt x="664" y="1597"/>
                      </a:cubicBezTo>
                      <a:cubicBezTo>
                        <a:pt x="672" y="1597"/>
                        <a:pt x="680" y="1597"/>
                        <a:pt x="696" y="1597"/>
                      </a:cubicBezTo>
                      <a:cubicBezTo>
                        <a:pt x="727" y="1597"/>
                        <a:pt x="735" y="1605"/>
                        <a:pt x="751" y="1629"/>
                      </a:cubicBezTo>
                      <a:cubicBezTo>
                        <a:pt x="759" y="1636"/>
                        <a:pt x="759" y="1636"/>
                        <a:pt x="759" y="1636"/>
                      </a:cubicBezTo>
                      <a:cubicBezTo>
                        <a:pt x="759" y="1636"/>
                        <a:pt x="759" y="1644"/>
                        <a:pt x="767" y="1644"/>
                      </a:cubicBezTo>
                      <a:cubicBezTo>
                        <a:pt x="774" y="1668"/>
                        <a:pt x="782" y="1668"/>
                        <a:pt x="790" y="1668"/>
                      </a:cubicBezTo>
                      <a:cubicBezTo>
                        <a:pt x="798" y="1668"/>
                        <a:pt x="806" y="1660"/>
                        <a:pt x="822" y="1660"/>
                      </a:cubicBezTo>
                      <a:cubicBezTo>
                        <a:pt x="838" y="1660"/>
                        <a:pt x="861" y="1668"/>
                        <a:pt x="869" y="1676"/>
                      </a:cubicBezTo>
                      <a:cubicBezTo>
                        <a:pt x="877" y="1684"/>
                        <a:pt x="885" y="1684"/>
                        <a:pt x="893" y="1684"/>
                      </a:cubicBezTo>
                      <a:cubicBezTo>
                        <a:pt x="909" y="1684"/>
                        <a:pt x="940" y="1668"/>
                        <a:pt x="956" y="1660"/>
                      </a:cubicBezTo>
                      <a:cubicBezTo>
                        <a:pt x="956" y="1660"/>
                        <a:pt x="964" y="1660"/>
                        <a:pt x="972" y="1660"/>
                      </a:cubicBezTo>
                      <a:cubicBezTo>
                        <a:pt x="996" y="1660"/>
                        <a:pt x="1027" y="1668"/>
                        <a:pt x="1051" y="1700"/>
                      </a:cubicBezTo>
                      <a:cubicBezTo>
                        <a:pt x="1059" y="1708"/>
                        <a:pt x="1075" y="1716"/>
                        <a:pt x="1091" y="1716"/>
                      </a:cubicBezTo>
                      <a:cubicBezTo>
                        <a:pt x="1114" y="1716"/>
                        <a:pt x="1146" y="1708"/>
                        <a:pt x="1154" y="1700"/>
                      </a:cubicBezTo>
                      <a:cubicBezTo>
                        <a:pt x="1162" y="1692"/>
                        <a:pt x="1186" y="1692"/>
                        <a:pt x="1217" y="1692"/>
                      </a:cubicBezTo>
                      <a:cubicBezTo>
                        <a:pt x="1241" y="1692"/>
                        <a:pt x="1273" y="1692"/>
                        <a:pt x="1304" y="1692"/>
                      </a:cubicBezTo>
                      <a:cubicBezTo>
                        <a:pt x="1336" y="1692"/>
                        <a:pt x="1344" y="1692"/>
                        <a:pt x="1344" y="1692"/>
                      </a:cubicBezTo>
                      <a:lnTo>
                        <a:pt x="1344" y="1692"/>
                      </a:lnTo>
                      <a:cubicBezTo>
                        <a:pt x="1344" y="1692"/>
                        <a:pt x="1344" y="1684"/>
                        <a:pt x="1351" y="1676"/>
                      </a:cubicBezTo>
                      <a:cubicBezTo>
                        <a:pt x="1351" y="1676"/>
                        <a:pt x="1359" y="1668"/>
                        <a:pt x="1375" y="1668"/>
                      </a:cubicBezTo>
                      <a:cubicBezTo>
                        <a:pt x="1391" y="1668"/>
                        <a:pt x="1415" y="1676"/>
                        <a:pt x="1438" y="1684"/>
                      </a:cubicBezTo>
                      <a:cubicBezTo>
                        <a:pt x="1446" y="1692"/>
                        <a:pt x="1470" y="1692"/>
                        <a:pt x="1486" y="1692"/>
                      </a:cubicBezTo>
                      <a:cubicBezTo>
                        <a:pt x="1510" y="1692"/>
                        <a:pt x="1533" y="1684"/>
                        <a:pt x="1549" y="1684"/>
                      </a:cubicBezTo>
                      <a:cubicBezTo>
                        <a:pt x="1549" y="1684"/>
                        <a:pt x="1549" y="1684"/>
                        <a:pt x="1557" y="168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6" name="Freeform 261">
                  <a:extLst>
                    <a:ext uri="{FF2B5EF4-FFF2-40B4-BE49-F238E27FC236}">
                      <a16:creationId xmlns:a16="http://schemas.microsoft.com/office/drawing/2014/main" id="{2C838BD5-202B-2B45-9D2B-87DDD21D51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16733" y="3345758"/>
                  <a:ext cx="1185166" cy="1897192"/>
                </a:xfrm>
                <a:custGeom>
                  <a:avLst/>
                  <a:gdLst>
                    <a:gd name="T0" fmla="*/ 2213 w 2254"/>
                    <a:gd name="T1" fmla="*/ 2364 h 3606"/>
                    <a:gd name="T2" fmla="*/ 2213 w 2254"/>
                    <a:gd name="T3" fmla="*/ 2364 h 3606"/>
                    <a:gd name="T4" fmla="*/ 2142 w 2254"/>
                    <a:gd name="T5" fmla="*/ 2292 h 3606"/>
                    <a:gd name="T6" fmla="*/ 2079 w 2254"/>
                    <a:gd name="T7" fmla="*/ 2395 h 3606"/>
                    <a:gd name="T8" fmla="*/ 2039 w 2254"/>
                    <a:gd name="T9" fmla="*/ 2371 h 3606"/>
                    <a:gd name="T10" fmla="*/ 1992 w 2254"/>
                    <a:gd name="T11" fmla="*/ 2371 h 3606"/>
                    <a:gd name="T12" fmla="*/ 1897 w 2254"/>
                    <a:gd name="T13" fmla="*/ 2348 h 3606"/>
                    <a:gd name="T14" fmla="*/ 1834 w 2254"/>
                    <a:gd name="T15" fmla="*/ 2340 h 3606"/>
                    <a:gd name="T16" fmla="*/ 1778 w 2254"/>
                    <a:gd name="T17" fmla="*/ 2371 h 3606"/>
                    <a:gd name="T18" fmla="*/ 1707 w 2254"/>
                    <a:gd name="T19" fmla="*/ 2348 h 3606"/>
                    <a:gd name="T20" fmla="*/ 1652 w 2254"/>
                    <a:gd name="T21" fmla="*/ 2387 h 3606"/>
                    <a:gd name="T22" fmla="*/ 1620 w 2254"/>
                    <a:gd name="T23" fmla="*/ 2355 h 3606"/>
                    <a:gd name="T24" fmla="*/ 1589 w 2254"/>
                    <a:gd name="T25" fmla="*/ 2229 h 3606"/>
                    <a:gd name="T26" fmla="*/ 1518 w 2254"/>
                    <a:gd name="T27" fmla="*/ 2158 h 3606"/>
                    <a:gd name="T28" fmla="*/ 1494 w 2254"/>
                    <a:gd name="T29" fmla="*/ 2079 h 3606"/>
                    <a:gd name="T30" fmla="*/ 1478 w 2254"/>
                    <a:gd name="T31" fmla="*/ 1960 h 3606"/>
                    <a:gd name="T32" fmla="*/ 1423 w 2254"/>
                    <a:gd name="T33" fmla="*/ 1850 h 3606"/>
                    <a:gd name="T34" fmla="*/ 1439 w 2254"/>
                    <a:gd name="T35" fmla="*/ 1739 h 3606"/>
                    <a:gd name="T36" fmla="*/ 1352 w 2254"/>
                    <a:gd name="T37" fmla="*/ 1747 h 3606"/>
                    <a:gd name="T38" fmla="*/ 1257 w 2254"/>
                    <a:gd name="T39" fmla="*/ 1794 h 3606"/>
                    <a:gd name="T40" fmla="*/ 1225 w 2254"/>
                    <a:gd name="T41" fmla="*/ 1771 h 3606"/>
                    <a:gd name="T42" fmla="*/ 1186 w 2254"/>
                    <a:gd name="T43" fmla="*/ 1739 h 3606"/>
                    <a:gd name="T44" fmla="*/ 1194 w 2254"/>
                    <a:gd name="T45" fmla="*/ 1668 h 3606"/>
                    <a:gd name="T46" fmla="*/ 1241 w 2254"/>
                    <a:gd name="T47" fmla="*/ 1644 h 3606"/>
                    <a:gd name="T48" fmla="*/ 1257 w 2254"/>
                    <a:gd name="T49" fmla="*/ 1565 h 3606"/>
                    <a:gd name="T50" fmla="*/ 1257 w 2254"/>
                    <a:gd name="T51" fmla="*/ 1454 h 3606"/>
                    <a:gd name="T52" fmla="*/ 1304 w 2254"/>
                    <a:gd name="T53" fmla="*/ 1367 h 3606"/>
                    <a:gd name="T54" fmla="*/ 1336 w 2254"/>
                    <a:gd name="T55" fmla="*/ 1249 h 3606"/>
                    <a:gd name="T56" fmla="*/ 1272 w 2254"/>
                    <a:gd name="T57" fmla="*/ 1249 h 3606"/>
                    <a:gd name="T58" fmla="*/ 1194 w 2254"/>
                    <a:gd name="T59" fmla="*/ 1162 h 3606"/>
                    <a:gd name="T60" fmla="*/ 1170 w 2254"/>
                    <a:gd name="T61" fmla="*/ 1083 h 3606"/>
                    <a:gd name="T62" fmla="*/ 1114 w 2254"/>
                    <a:gd name="T63" fmla="*/ 1012 h 3606"/>
                    <a:gd name="T64" fmla="*/ 1091 w 2254"/>
                    <a:gd name="T65" fmla="*/ 917 h 3606"/>
                    <a:gd name="T66" fmla="*/ 1035 w 2254"/>
                    <a:gd name="T67" fmla="*/ 870 h 3606"/>
                    <a:gd name="T68" fmla="*/ 980 w 2254"/>
                    <a:gd name="T69" fmla="*/ 798 h 3606"/>
                    <a:gd name="T70" fmla="*/ 1004 w 2254"/>
                    <a:gd name="T71" fmla="*/ 696 h 3606"/>
                    <a:gd name="T72" fmla="*/ 925 w 2254"/>
                    <a:gd name="T73" fmla="*/ 545 h 3606"/>
                    <a:gd name="T74" fmla="*/ 941 w 2254"/>
                    <a:gd name="T75" fmla="*/ 450 h 3606"/>
                    <a:gd name="T76" fmla="*/ 972 w 2254"/>
                    <a:gd name="T77" fmla="*/ 292 h 3606"/>
                    <a:gd name="T78" fmla="*/ 996 w 2254"/>
                    <a:gd name="T79" fmla="*/ 126 h 3606"/>
                    <a:gd name="T80" fmla="*/ 1004 w 2254"/>
                    <a:gd name="T81" fmla="*/ 63 h 3606"/>
                    <a:gd name="T82" fmla="*/ 672 w 2254"/>
                    <a:gd name="T83" fmla="*/ 0 h 3606"/>
                    <a:gd name="T84" fmla="*/ 553 w 2254"/>
                    <a:gd name="T85" fmla="*/ 593 h 3606"/>
                    <a:gd name="T86" fmla="*/ 450 w 2254"/>
                    <a:gd name="T87" fmla="*/ 1051 h 3606"/>
                    <a:gd name="T88" fmla="*/ 442 w 2254"/>
                    <a:gd name="T89" fmla="*/ 1249 h 3606"/>
                    <a:gd name="T90" fmla="*/ 435 w 2254"/>
                    <a:gd name="T91" fmla="*/ 1328 h 3606"/>
                    <a:gd name="T92" fmla="*/ 482 w 2254"/>
                    <a:gd name="T93" fmla="*/ 1486 h 3606"/>
                    <a:gd name="T94" fmla="*/ 522 w 2254"/>
                    <a:gd name="T95" fmla="*/ 1628 h 3606"/>
                    <a:gd name="T96" fmla="*/ 442 w 2254"/>
                    <a:gd name="T97" fmla="*/ 1747 h 3606"/>
                    <a:gd name="T98" fmla="*/ 371 w 2254"/>
                    <a:gd name="T99" fmla="*/ 1818 h 3606"/>
                    <a:gd name="T100" fmla="*/ 355 w 2254"/>
                    <a:gd name="T101" fmla="*/ 1889 h 3606"/>
                    <a:gd name="T102" fmla="*/ 174 w 2254"/>
                    <a:gd name="T103" fmla="*/ 2079 h 3606"/>
                    <a:gd name="T104" fmla="*/ 229 w 2254"/>
                    <a:gd name="T105" fmla="*/ 2182 h 3606"/>
                    <a:gd name="T106" fmla="*/ 229 w 2254"/>
                    <a:gd name="T107" fmla="*/ 2277 h 3606"/>
                    <a:gd name="T108" fmla="*/ 221 w 2254"/>
                    <a:gd name="T109" fmla="*/ 2340 h 3606"/>
                    <a:gd name="T110" fmla="*/ 174 w 2254"/>
                    <a:gd name="T111" fmla="*/ 2435 h 3606"/>
                    <a:gd name="T112" fmla="*/ 0 w 2254"/>
                    <a:gd name="T113" fmla="*/ 3217 h 3606"/>
                    <a:gd name="T114" fmla="*/ 2063 w 2254"/>
                    <a:gd name="T115" fmla="*/ 3605 h 3606"/>
                    <a:gd name="T116" fmla="*/ 2253 w 2254"/>
                    <a:gd name="T117" fmla="*/ 2427 h 3606"/>
                    <a:gd name="T118" fmla="*/ 2213 w 2254"/>
                    <a:gd name="T119" fmla="*/ 2364 h 36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254" h="3606">
                      <a:moveTo>
                        <a:pt x="2213" y="2364"/>
                      </a:moveTo>
                      <a:lnTo>
                        <a:pt x="2213" y="2364"/>
                      </a:lnTo>
                      <a:cubicBezTo>
                        <a:pt x="2205" y="2316"/>
                        <a:pt x="2174" y="2316"/>
                        <a:pt x="2142" y="2292"/>
                      </a:cubicBezTo>
                      <a:cubicBezTo>
                        <a:pt x="2111" y="2277"/>
                        <a:pt x="2126" y="2348"/>
                        <a:pt x="2079" y="2395"/>
                      </a:cubicBezTo>
                      <a:cubicBezTo>
                        <a:pt x="2031" y="2435"/>
                        <a:pt x="2079" y="2395"/>
                        <a:pt x="2039" y="2371"/>
                      </a:cubicBezTo>
                      <a:cubicBezTo>
                        <a:pt x="2000" y="2348"/>
                        <a:pt x="2024" y="2364"/>
                        <a:pt x="1992" y="2371"/>
                      </a:cubicBezTo>
                      <a:cubicBezTo>
                        <a:pt x="1952" y="2379"/>
                        <a:pt x="1929" y="2371"/>
                        <a:pt x="1897" y="2348"/>
                      </a:cubicBezTo>
                      <a:cubicBezTo>
                        <a:pt x="1865" y="2324"/>
                        <a:pt x="1850" y="2332"/>
                        <a:pt x="1834" y="2340"/>
                      </a:cubicBezTo>
                      <a:cubicBezTo>
                        <a:pt x="1818" y="2348"/>
                        <a:pt x="1802" y="2371"/>
                        <a:pt x="1778" y="2371"/>
                      </a:cubicBezTo>
                      <a:cubicBezTo>
                        <a:pt x="1747" y="2364"/>
                        <a:pt x="1739" y="2355"/>
                        <a:pt x="1707" y="2348"/>
                      </a:cubicBezTo>
                      <a:cubicBezTo>
                        <a:pt x="1676" y="2332"/>
                        <a:pt x="1676" y="2355"/>
                        <a:pt x="1652" y="2387"/>
                      </a:cubicBezTo>
                      <a:cubicBezTo>
                        <a:pt x="1628" y="2411"/>
                        <a:pt x="1628" y="2371"/>
                        <a:pt x="1620" y="2355"/>
                      </a:cubicBezTo>
                      <a:cubicBezTo>
                        <a:pt x="1605" y="2332"/>
                        <a:pt x="1589" y="2269"/>
                        <a:pt x="1589" y="2229"/>
                      </a:cubicBezTo>
                      <a:cubicBezTo>
                        <a:pt x="1589" y="2190"/>
                        <a:pt x="1573" y="2166"/>
                        <a:pt x="1518" y="2158"/>
                      </a:cubicBezTo>
                      <a:cubicBezTo>
                        <a:pt x="1454" y="2142"/>
                        <a:pt x="1478" y="2126"/>
                        <a:pt x="1494" y="2079"/>
                      </a:cubicBezTo>
                      <a:cubicBezTo>
                        <a:pt x="1510" y="2031"/>
                        <a:pt x="1502" y="2000"/>
                        <a:pt x="1478" y="1960"/>
                      </a:cubicBezTo>
                      <a:cubicBezTo>
                        <a:pt x="1446" y="1921"/>
                        <a:pt x="1439" y="1889"/>
                        <a:pt x="1423" y="1850"/>
                      </a:cubicBezTo>
                      <a:cubicBezTo>
                        <a:pt x="1407" y="1818"/>
                        <a:pt x="1439" y="1787"/>
                        <a:pt x="1439" y="1739"/>
                      </a:cubicBezTo>
                      <a:cubicBezTo>
                        <a:pt x="1431" y="1700"/>
                        <a:pt x="1383" y="1723"/>
                        <a:pt x="1352" y="1747"/>
                      </a:cubicBezTo>
                      <a:cubicBezTo>
                        <a:pt x="1328" y="1778"/>
                        <a:pt x="1312" y="1778"/>
                        <a:pt x="1257" y="1794"/>
                      </a:cubicBezTo>
                      <a:cubicBezTo>
                        <a:pt x="1194" y="1802"/>
                        <a:pt x="1257" y="1794"/>
                        <a:pt x="1225" y="1771"/>
                      </a:cubicBezTo>
                      <a:cubicBezTo>
                        <a:pt x="1194" y="1747"/>
                        <a:pt x="1178" y="1747"/>
                        <a:pt x="1186" y="1739"/>
                      </a:cubicBezTo>
                      <a:cubicBezTo>
                        <a:pt x="1194" y="1723"/>
                        <a:pt x="1201" y="1700"/>
                        <a:pt x="1194" y="1668"/>
                      </a:cubicBezTo>
                      <a:cubicBezTo>
                        <a:pt x="1194" y="1636"/>
                        <a:pt x="1217" y="1644"/>
                        <a:pt x="1241" y="1644"/>
                      </a:cubicBezTo>
                      <a:cubicBezTo>
                        <a:pt x="1257" y="1644"/>
                        <a:pt x="1265" y="1581"/>
                        <a:pt x="1257" y="1565"/>
                      </a:cubicBezTo>
                      <a:cubicBezTo>
                        <a:pt x="1257" y="1541"/>
                        <a:pt x="1241" y="1502"/>
                        <a:pt x="1257" y="1454"/>
                      </a:cubicBezTo>
                      <a:cubicBezTo>
                        <a:pt x="1265" y="1415"/>
                        <a:pt x="1296" y="1383"/>
                        <a:pt x="1304" y="1367"/>
                      </a:cubicBezTo>
                      <a:cubicBezTo>
                        <a:pt x="1320" y="1344"/>
                        <a:pt x="1344" y="1296"/>
                        <a:pt x="1336" y="1249"/>
                      </a:cubicBezTo>
                      <a:cubicBezTo>
                        <a:pt x="1328" y="1201"/>
                        <a:pt x="1304" y="1257"/>
                        <a:pt x="1272" y="1249"/>
                      </a:cubicBezTo>
                      <a:cubicBezTo>
                        <a:pt x="1233" y="1241"/>
                        <a:pt x="1233" y="1194"/>
                        <a:pt x="1194" y="1162"/>
                      </a:cubicBezTo>
                      <a:cubicBezTo>
                        <a:pt x="1146" y="1130"/>
                        <a:pt x="1178" y="1130"/>
                        <a:pt x="1170" y="1083"/>
                      </a:cubicBezTo>
                      <a:cubicBezTo>
                        <a:pt x="1162" y="1036"/>
                        <a:pt x="1154" y="1036"/>
                        <a:pt x="1114" y="1012"/>
                      </a:cubicBezTo>
                      <a:cubicBezTo>
                        <a:pt x="1075" y="988"/>
                        <a:pt x="1099" y="956"/>
                        <a:pt x="1091" y="917"/>
                      </a:cubicBezTo>
                      <a:cubicBezTo>
                        <a:pt x="1083" y="877"/>
                        <a:pt x="1051" y="893"/>
                        <a:pt x="1035" y="870"/>
                      </a:cubicBezTo>
                      <a:cubicBezTo>
                        <a:pt x="1012" y="838"/>
                        <a:pt x="980" y="838"/>
                        <a:pt x="980" y="798"/>
                      </a:cubicBezTo>
                      <a:cubicBezTo>
                        <a:pt x="980" y="767"/>
                        <a:pt x="1004" y="735"/>
                        <a:pt x="1004" y="696"/>
                      </a:cubicBezTo>
                      <a:cubicBezTo>
                        <a:pt x="996" y="656"/>
                        <a:pt x="941" y="577"/>
                        <a:pt x="925" y="545"/>
                      </a:cubicBezTo>
                      <a:cubicBezTo>
                        <a:pt x="917" y="514"/>
                        <a:pt x="933" y="482"/>
                        <a:pt x="941" y="450"/>
                      </a:cubicBezTo>
                      <a:cubicBezTo>
                        <a:pt x="941" y="419"/>
                        <a:pt x="964" y="332"/>
                        <a:pt x="972" y="292"/>
                      </a:cubicBezTo>
                      <a:cubicBezTo>
                        <a:pt x="988" y="253"/>
                        <a:pt x="996" y="158"/>
                        <a:pt x="996" y="126"/>
                      </a:cubicBezTo>
                      <a:cubicBezTo>
                        <a:pt x="996" y="111"/>
                        <a:pt x="996" y="79"/>
                        <a:pt x="1004" y="63"/>
                      </a:cubicBezTo>
                      <a:cubicBezTo>
                        <a:pt x="885" y="39"/>
                        <a:pt x="775" y="16"/>
                        <a:pt x="672" y="0"/>
                      </a:cubicBezTo>
                      <a:cubicBezTo>
                        <a:pt x="648" y="111"/>
                        <a:pt x="561" y="561"/>
                        <a:pt x="553" y="593"/>
                      </a:cubicBezTo>
                      <a:cubicBezTo>
                        <a:pt x="545" y="617"/>
                        <a:pt x="466" y="1020"/>
                        <a:pt x="450" y="1051"/>
                      </a:cubicBezTo>
                      <a:cubicBezTo>
                        <a:pt x="427" y="1083"/>
                        <a:pt x="427" y="1225"/>
                        <a:pt x="442" y="1249"/>
                      </a:cubicBezTo>
                      <a:cubicBezTo>
                        <a:pt x="450" y="1265"/>
                        <a:pt x="435" y="1312"/>
                        <a:pt x="435" y="1328"/>
                      </a:cubicBezTo>
                      <a:cubicBezTo>
                        <a:pt x="427" y="1352"/>
                        <a:pt x="435" y="1454"/>
                        <a:pt x="482" y="1486"/>
                      </a:cubicBezTo>
                      <a:cubicBezTo>
                        <a:pt x="529" y="1526"/>
                        <a:pt x="545" y="1613"/>
                        <a:pt x="522" y="1628"/>
                      </a:cubicBezTo>
                      <a:cubicBezTo>
                        <a:pt x="506" y="1644"/>
                        <a:pt x="442" y="1731"/>
                        <a:pt x="442" y="1747"/>
                      </a:cubicBezTo>
                      <a:cubicBezTo>
                        <a:pt x="442" y="1771"/>
                        <a:pt x="395" y="1794"/>
                        <a:pt x="371" y="1818"/>
                      </a:cubicBezTo>
                      <a:cubicBezTo>
                        <a:pt x="348" y="1850"/>
                        <a:pt x="348" y="1873"/>
                        <a:pt x="355" y="1889"/>
                      </a:cubicBezTo>
                      <a:cubicBezTo>
                        <a:pt x="355" y="1897"/>
                        <a:pt x="166" y="2040"/>
                        <a:pt x="174" y="2079"/>
                      </a:cubicBezTo>
                      <a:cubicBezTo>
                        <a:pt x="182" y="2126"/>
                        <a:pt x="166" y="2158"/>
                        <a:pt x="229" y="2182"/>
                      </a:cubicBezTo>
                      <a:cubicBezTo>
                        <a:pt x="284" y="2213"/>
                        <a:pt x="245" y="2253"/>
                        <a:pt x="229" y="2277"/>
                      </a:cubicBezTo>
                      <a:cubicBezTo>
                        <a:pt x="221" y="2292"/>
                        <a:pt x="237" y="2316"/>
                        <a:pt x="221" y="2340"/>
                      </a:cubicBezTo>
                      <a:cubicBezTo>
                        <a:pt x="205" y="2364"/>
                        <a:pt x="174" y="2411"/>
                        <a:pt x="174" y="2435"/>
                      </a:cubicBezTo>
                      <a:cubicBezTo>
                        <a:pt x="174" y="2458"/>
                        <a:pt x="31" y="3075"/>
                        <a:pt x="0" y="3217"/>
                      </a:cubicBezTo>
                      <a:cubicBezTo>
                        <a:pt x="640" y="3360"/>
                        <a:pt x="1352" y="3494"/>
                        <a:pt x="2063" y="3605"/>
                      </a:cubicBezTo>
                      <a:cubicBezTo>
                        <a:pt x="2253" y="2427"/>
                        <a:pt x="2253" y="2427"/>
                        <a:pt x="2253" y="2427"/>
                      </a:cubicBezTo>
                      <a:cubicBezTo>
                        <a:pt x="2229" y="2411"/>
                        <a:pt x="2221" y="2395"/>
                        <a:pt x="2213" y="236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7" name="Freeform 262">
                  <a:extLst>
                    <a:ext uri="{FF2B5EF4-FFF2-40B4-BE49-F238E27FC236}">
                      <a16:creationId xmlns:a16="http://schemas.microsoft.com/office/drawing/2014/main" id="{48898181-E6F8-6E4C-9E6E-2FF3F2734F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514414" y="3341119"/>
                  <a:ext cx="1194442" cy="1901831"/>
                </a:xfrm>
                <a:custGeom>
                  <a:avLst/>
                  <a:gdLst>
                    <a:gd name="T0" fmla="*/ 8 w 2270"/>
                    <a:gd name="T1" fmla="*/ 3233 h 3614"/>
                    <a:gd name="T2" fmla="*/ 221 w 2270"/>
                    <a:gd name="T3" fmla="*/ 2356 h 3614"/>
                    <a:gd name="T4" fmla="*/ 237 w 2270"/>
                    <a:gd name="T5" fmla="*/ 2277 h 3614"/>
                    <a:gd name="T6" fmla="*/ 182 w 2270"/>
                    <a:gd name="T7" fmla="*/ 2087 h 3614"/>
                    <a:gd name="T8" fmla="*/ 379 w 2270"/>
                    <a:gd name="T9" fmla="*/ 1826 h 3614"/>
                    <a:gd name="T10" fmla="*/ 537 w 2270"/>
                    <a:gd name="T11" fmla="*/ 1605 h 3614"/>
                    <a:gd name="T12" fmla="*/ 450 w 2270"/>
                    <a:gd name="T13" fmla="*/ 1257 h 3614"/>
                    <a:gd name="T14" fmla="*/ 672 w 2270"/>
                    <a:gd name="T15" fmla="*/ 0 h 3614"/>
                    <a:gd name="T16" fmla="*/ 1012 w 2270"/>
                    <a:gd name="T17" fmla="*/ 71 h 3614"/>
                    <a:gd name="T18" fmla="*/ 949 w 2270"/>
                    <a:gd name="T19" fmla="*/ 458 h 3614"/>
                    <a:gd name="T20" fmla="*/ 1012 w 2270"/>
                    <a:gd name="T21" fmla="*/ 704 h 3614"/>
                    <a:gd name="T22" fmla="*/ 1043 w 2270"/>
                    <a:gd name="T23" fmla="*/ 869 h 3614"/>
                    <a:gd name="T24" fmla="*/ 1122 w 2270"/>
                    <a:gd name="T25" fmla="*/ 1012 h 3614"/>
                    <a:gd name="T26" fmla="*/ 1202 w 2270"/>
                    <a:gd name="T27" fmla="*/ 1170 h 3614"/>
                    <a:gd name="T28" fmla="*/ 1312 w 2270"/>
                    <a:gd name="T29" fmla="*/ 1241 h 3614"/>
                    <a:gd name="T30" fmla="*/ 1312 w 2270"/>
                    <a:gd name="T31" fmla="*/ 1375 h 3614"/>
                    <a:gd name="T32" fmla="*/ 1249 w 2270"/>
                    <a:gd name="T33" fmla="*/ 1652 h 3614"/>
                    <a:gd name="T34" fmla="*/ 1209 w 2270"/>
                    <a:gd name="T35" fmla="*/ 1676 h 3614"/>
                    <a:gd name="T36" fmla="*/ 1233 w 2270"/>
                    <a:gd name="T37" fmla="*/ 1771 h 3614"/>
                    <a:gd name="T38" fmla="*/ 1360 w 2270"/>
                    <a:gd name="T39" fmla="*/ 1755 h 3614"/>
                    <a:gd name="T40" fmla="*/ 1439 w 2270"/>
                    <a:gd name="T41" fmla="*/ 1858 h 3614"/>
                    <a:gd name="T42" fmla="*/ 1494 w 2270"/>
                    <a:gd name="T43" fmla="*/ 2111 h 3614"/>
                    <a:gd name="T44" fmla="*/ 1628 w 2270"/>
                    <a:gd name="T45" fmla="*/ 2356 h 3614"/>
                    <a:gd name="T46" fmla="*/ 1668 w 2270"/>
                    <a:gd name="T47" fmla="*/ 2372 h 3614"/>
                    <a:gd name="T48" fmla="*/ 1826 w 2270"/>
                    <a:gd name="T49" fmla="*/ 2356 h 3614"/>
                    <a:gd name="T50" fmla="*/ 1913 w 2270"/>
                    <a:gd name="T51" fmla="*/ 2356 h 3614"/>
                    <a:gd name="T52" fmla="*/ 2024 w 2270"/>
                    <a:gd name="T53" fmla="*/ 2363 h 3614"/>
                    <a:gd name="T54" fmla="*/ 2119 w 2270"/>
                    <a:gd name="T55" fmla="*/ 2332 h 3614"/>
                    <a:gd name="T56" fmla="*/ 2221 w 2270"/>
                    <a:gd name="T57" fmla="*/ 2372 h 3614"/>
                    <a:gd name="T58" fmla="*/ 8 w 2270"/>
                    <a:gd name="T59" fmla="*/ 3225 h 3614"/>
                    <a:gd name="T60" fmla="*/ 2213 w 2270"/>
                    <a:gd name="T61" fmla="*/ 2372 h 3614"/>
                    <a:gd name="T62" fmla="*/ 2126 w 2270"/>
                    <a:gd name="T63" fmla="*/ 2332 h 3614"/>
                    <a:gd name="T64" fmla="*/ 2055 w 2270"/>
                    <a:gd name="T65" fmla="*/ 2419 h 3614"/>
                    <a:gd name="T66" fmla="*/ 2024 w 2270"/>
                    <a:gd name="T67" fmla="*/ 2372 h 3614"/>
                    <a:gd name="T68" fmla="*/ 1873 w 2270"/>
                    <a:gd name="T69" fmla="*/ 2348 h 3614"/>
                    <a:gd name="T70" fmla="*/ 1786 w 2270"/>
                    <a:gd name="T71" fmla="*/ 2379 h 3614"/>
                    <a:gd name="T72" fmla="*/ 1676 w 2270"/>
                    <a:gd name="T73" fmla="*/ 2372 h 3614"/>
                    <a:gd name="T74" fmla="*/ 1620 w 2270"/>
                    <a:gd name="T75" fmla="*/ 2363 h 3614"/>
                    <a:gd name="T76" fmla="*/ 1486 w 2270"/>
                    <a:gd name="T77" fmla="*/ 2111 h 3614"/>
                    <a:gd name="T78" fmla="*/ 1431 w 2270"/>
                    <a:gd name="T79" fmla="*/ 1866 h 3614"/>
                    <a:gd name="T80" fmla="*/ 1367 w 2270"/>
                    <a:gd name="T81" fmla="*/ 1763 h 3614"/>
                    <a:gd name="T82" fmla="*/ 1233 w 2270"/>
                    <a:gd name="T83" fmla="*/ 1795 h 3614"/>
                    <a:gd name="T84" fmla="*/ 1194 w 2270"/>
                    <a:gd name="T85" fmla="*/ 1747 h 3614"/>
                    <a:gd name="T86" fmla="*/ 1233 w 2270"/>
                    <a:gd name="T87" fmla="*/ 1644 h 3614"/>
                    <a:gd name="T88" fmla="*/ 1257 w 2270"/>
                    <a:gd name="T89" fmla="*/ 1462 h 3614"/>
                    <a:gd name="T90" fmla="*/ 1336 w 2270"/>
                    <a:gd name="T91" fmla="*/ 1241 h 3614"/>
                    <a:gd name="T92" fmla="*/ 1241 w 2270"/>
                    <a:gd name="T93" fmla="*/ 1225 h 3614"/>
                    <a:gd name="T94" fmla="*/ 1138 w 2270"/>
                    <a:gd name="T95" fmla="*/ 1036 h 3614"/>
                    <a:gd name="T96" fmla="*/ 1067 w 2270"/>
                    <a:gd name="T97" fmla="*/ 893 h 3614"/>
                    <a:gd name="T98" fmla="*/ 996 w 2270"/>
                    <a:gd name="T99" fmla="*/ 767 h 3614"/>
                    <a:gd name="T100" fmla="*/ 933 w 2270"/>
                    <a:gd name="T101" fmla="*/ 490 h 3614"/>
                    <a:gd name="T102" fmla="*/ 1004 w 2270"/>
                    <a:gd name="T103" fmla="*/ 71 h 3614"/>
                    <a:gd name="T104" fmla="*/ 458 w 2270"/>
                    <a:gd name="T105" fmla="*/ 1059 h 3614"/>
                    <a:gd name="T106" fmla="*/ 490 w 2270"/>
                    <a:gd name="T107" fmla="*/ 1494 h 3614"/>
                    <a:gd name="T108" fmla="*/ 411 w 2270"/>
                    <a:gd name="T109" fmla="*/ 1810 h 3614"/>
                    <a:gd name="T110" fmla="*/ 308 w 2270"/>
                    <a:gd name="T111" fmla="*/ 1952 h 3614"/>
                    <a:gd name="T112" fmla="*/ 269 w 2270"/>
                    <a:gd name="T113" fmla="*/ 2221 h 3614"/>
                    <a:gd name="T114" fmla="*/ 237 w 2270"/>
                    <a:gd name="T115" fmla="*/ 2348 h 36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70" h="3614">
                      <a:moveTo>
                        <a:pt x="2071" y="3613"/>
                      </a:moveTo>
                      <a:lnTo>
                        <a:pt x="2071" y="3613"/>
                      </a:lnTo>
                      <a:lnTo>
                        <a:pt x="2071" y="3613"/>
                      </a:lnTo>
                      <a:cubicBezTo>
                        <a:pt x="1431" y="3518"/>
                        <a:pt x="735" y="3391"/>
                        <a:pt x="8" y="3233"/>
                      </a:cubicBezTo>
                      <a:cubicBezTo>
                        <a:pt x="0" y="3233"/>
                        <a:pt x="0" y="3233"/>
                        <a:pt x="0" y="3233"/>
                      </a:cubicBezTo>
                      <a:cubicBezTo>
                        <a:pt x="0" y="3225"/>
                        <a:pt x="0" y="3225"/>
                        <a:pt x="0" y="3225"/>
                      </a:cubicBezTo>
                      <a:cubicBezTo>
                        <a:pt x="87" y="2854"/>
                        <a:pt x="182" y="2459"/>
                        <a:pt x="182" y="2443"/>
                      </a:cubicBezTo>
                      <a:cubicBezTo>
                        <a:pt x="182" y="2419"/>
                        <a:pt x="205" y="2379"/>
                        <a:pt x="221" y="2356"/>
                      </a:cubicBezTo>
                      <a:cubicBezTo>
                        <a:pt x="229" y="2348"/>
                        <a:pt x="229" y="2348"/>
                        <a:pt x="229" y="2348"/>
                      </a:cubicBezTo>
                      <a:cubicBezTo>
                        <a:pt x="237" y="2332"/>
                        <a:pt x="237" y="2324"/>
                        <a:pt x="229" y="2316"/>
                      </a:cubicBezTo>
                      <a:cubicBezTo>
                        <a:pt x="229" y="2300"/>
                        <a:pt x="229" y="2292"/>
                        <a:pt x="237" y="2285"/>
                      </a:cubicBezTo>
                      <a:cubicBezTo>
                        <a:pt x="237" y="2277"/>
                        <a:pt x="237" y="2277"/>
                        <a:pt x="237" y="2277"/>
                      </a:cubicBezTo>
                      <a:cubicBezTo>
                        <a:pt x="245" y="2269"/>
                        <a:pt x="269" y="2245"/>
                        <a:pt x="261" y="2221"/>
                      </a:cubicBezTo>
                      <a:cubicBezTo>
                        <a:pt x="261" y="2213"/>
                        <a:pt x="245" y="2206"/>
                        <a:pt x="229" y="2198"/>
                      </a:cubicBezTo>
                      <a:cubicBezTo>
                        <a:pt x="182" y="2174"/>
                        <a:pt x="182" y="2142"/>
                        <a:pt x="182" y="2111"/>
                      </a:cubicBezTo>
                      <a:cubicBezTo>
                        <a:pt x="182" y="2103"/>
                        <a:pt x="182" y="2095"/>
                        <a:pt x="182" y="2087"/>
                      </a:cubicBezTo>
                      <a:cubicBezTo>
                        <a:pt x="174" y="2063"/>
                        <a:pt x="237" y="2008"/>
                        <a:pt x="308" y="1945"/>
                      </a:cubicBezTo>
                      <a:cubicBezTo>
                        <a:pt x="332" y="1921"/>
                        <a:pt x="356" y="1897"/>
                        <a:pt x="356" y="1897"/>
                      </a:cubicBezTo>
                      <a:lnTo>
                        <a:pt x="356" y="1897"/>
                      </a:lnTo>
                      <a:cubicBezTo>
                        <a:pt x="356" y="1881"/>
                        <a:pt x="348" y="1850"/>
                        <a:pt x="379" y="1826"/>
                      </a:cubicBezTo>
                      <a:cubicBezTo>
                        <a:pt x="387" y="1818"/>
                        <a:pt x="395" y="1810"/>
                        <a:pt x="403" y="1802"/>
                      </a:cubicBezTo>
                      <a:cubicBezTo>
                        <a:pt x="427" y="1786"/>
                        <a:pt x="443" y="1771"/>
                        <a:pt x="443" y="1755"/>
                      </a:cubicBezTo>
                      <a:cubicBezTo>
                        <a:pt x="443" y="1731"/>
                        <a:pt x="506" y="1652"/>
                        <a:pt x="530" y="1628"/>
                      </a:cubicBezTo>
                      <a:cubicBezTo>
                        <a:pt x="537" y="1628"/>
                        <a:pt x="537" y="1621"/>
                        <a:pt x="537" y="1605"/>
                      </a:cubicBezTo>
                      <a:cubicBezTo>
                        <a:pt x="537" y="1573"/>
                        <a:pt x="514" y="1526"/>
                        <a:pt x="490" y="1502"/>
                      </a:cubicBezTo>
                      <a:cubicBezTo>
                        <a:pt x="443" y="1462"/>
                        <a:pt x="435" y="1360"/>
                        <a:pt x="435" y="1336"/>
                      </a:cubicBezTo>
                      <a:cubicBezTo>
                        <a:pt x="435" y="1328"/>
                        <a:pt x="443" y="1328"/>
                        <a:pt x="443" y="1320"/>
                      </a:cubicBezTo>
                      <a:cubicBezTo>
                        <a:pt x="450" y="1296"/>
                        <a:pt x="450" y="1273"/>
                        <a:pt x="450" y="1257"/>
                      </a:cubicBezTo>
                      <a:cubicBezTo>
                        <a:pt x="435" y="1233"/>
                        <a:pt x="435" y="1091"/>
                        <a:pt x="450" y="1059"/>
                      </a:cubicBezTo>
                      <a:cubicBezTo>
                        <a:pt x="466" y="1036"/>
                        <a:pt x="506" y="830"/>
                        <a:pt x="537" y="704"/>
                      </a:cubicBezTo>
                      <a:cubicBezTo>
                        <a:pt x="545" y="648"/>
                        <a:pt x="561" y="609"/>
                        <a:pt x="561" y="593"/>
                      </a:cubicBezTo>
                      <a:cubicBezTo>
                        <a:pt x="569" y="577"/>
                        <a:pt x="624" y="277"/>
                        <a:pt x="672" y="0"/>
                      </a:cubicBezTo>
                      <a:lnTo>
                        <a:pt x="672" y="0"/>
                      </a:lnTo>
                      <a:cubicBezTo>
                        <a:pt x="680" y="0"/>
                        <a:pt x="680" y="0"/>
                        <a:pt x="680" y="0"/>
                      </a:cubicBezTo>
                      <a:cubicBezTo>
                        <a:pt x="783" y="24"/>
                        <a:pt x="893" y="47"/>
                        <a:pt x="1012" y="71"/>
                      </a:cubicBezTo>
                      <a:lnTo>
                        <a:pt x="1012" y="71"/>
                      </a:lnTo>
                      <a:lnTo>
                        <a:pt x="1012" y="71"/>
                      </a:lnTo>
                      <a:cubicBezTo>
                        <a:pt x="1012" y="95"/>
                        <a:pt x="1004" y="119"/>
                        <a:pt x="1004" y="134"/>
                      </a:cubicBezTo>
                      <a:cubicBezTo>
                        <a:pt x="1004" y="166"/>
                        <a:pt x="1004" y="261"/>
                        <a:pt x="988" y="300"/>
                      </a:cubicBezTo>
                      <a:cubicBezTo>
                        <a:pt x="972" y="340"/>
                        <a:pt x="956" y="427"/>
                        <a:pt x="949" y="458"/>
                      </a:cubicBezTo>
                      <a:cubicBezTo>
                        <a:pt x="949" y="466"/>
                        <a:pt x="949" y="482"/>
                        <a:pt x="941" y="490"/>
                      </a:cubicBezTo>
                      <a:cubicBezTo>
                        <a:pt x="933" y="514"/>
                        <a:pt x="933" y="530"/>
                        <a:pt x="941" y="553"/>
                      </a:cubicBezTo>
                      <a:cubicBezTo>
                        <a:pt x="941" y="569"/>
                        <a:pt x="956" y="585"/>
                        <a:pt x="964" y="601"/>
                      </a:cubicBezTo>
                      <a:cubicBezTo>
                        <a:pt x="988" y="640"/>
                        <a:pt x="1012" y="680"/>
                        <a:pt x="1012" y="704"/>
                      </a:cubicBezTo>
                      <a:cubicBezTo>
                        <a:pt x="1012" y="727"/>
                        <a:pt x="1012" y="743"/>
                        <a:pt x="1004" y="767"/>
                      </a:cubicBezTo>
                      <a:cubicBezTo>
                        <a:pt x="996" y="783"/>
                        <a:pt x="996" y="798"/>
                        <a:pt x="996" y="806"/>
                      </a:cubicBezTo>
                      <a:cubicBezTo>
                        <a:pt x="996" y="830"/>
                        <a:pt x="1004" y="838"/>
                        <a:pt x="1020" y="854"/>
                      </a:cubicBezTo>
                      <a:cubicBezTo>
                        <a:pt x="1027" y="854"/>
                        <a:pt x="1036" y="862"/>
                        <a:pt x="1043" y="869"/>
                      </a:cubicBezTo>
                      <a:cubicBezTo>
                        <a:pt x="1051" y="885"/>
                        <a:pt x="1059" y="885"/>
                        <a:pt x="1067" y="885"/>
                      </a:cubicBezTo>
                      <a:cubicBezTo>
                        <a:pt x="1083" y="893"/>
                        <a:pt x="1099" y="893"/>
                        <a:pt x="1107" y="925"/>
                      </a:cubicBezTo>
                      <a:cubicBezTo>
                        <a:pt x="1107" y="933"/>
                        <a:pt x="1107" y="949"/>
                        <a:pt x="1107" y="964"/>
                      </a:cubicBezTo>
                      <a:cubicBezTo>
                        <a:pt x="1099" y="980"/>
                        <a:pt x="1099" y="1004"/>
                        <a:pt x="1122" y="1012"/>
                      </a:cubicBezTo>
                      <a:cubicBezTo>
                        <a:pt x="1130" y="1020"/>
                        <a:pt x="1138" y="1020"/>
                        <a:pt x="1146" y="1028"/>
                      </a:cubicBezTo>
                      <a:cubicBezTo>
                        <a:pt x="1170" y="1044"/>
                        <a:pt x="1178" y="1051"/>
                        <a:pt x="1186" y="1091"/>
                      </a:cubicBezTo>
                      <a:cubicBezTo>
                        <a:pt x="1186" y="1107"/>
                        <a:pt x="1186" y="1122"/>
                        <a:pt x="1178" y="1131"/>
                      </a:cubicBezTo>
                      <a:cubicBezTo>
                        <a:pt x="1178" y="1146"/>
                        <a:pt x="1178" y="1146"/>
                        <a:pt x="1202" y="1170"/>
                      </a:cubicBezTo>
                      <a:cubicBezTo>
                        <a:pt x="1225" y="1186"/>
                        <a:pt x="1233" y="1202"/>
                        <a:pt x="1249" y="1217"/>
                      </a:cubicBezTo>
                      <a:cubicBezTo>
                        <a:pt x="1257" y="1233"/>
                        <a:pt x="1265" y="1249"/>
                        <a:pt x="1280" y="1249"/>
                      </a:cubicBezTo>
                      <a:cubicBezTo>
                        <a:pt x="1280" y="1257"/>
                        <a:pt x="1280" y="1257"/>
                        <a:pt x="1289" y="1257"/>
                      </a:cubicBezTo>
                      <a:cubicBezTo>
                        <a:pt x="1296" y="1257"/>
                        <a:pt x="1304" y="1249"/>
                        <a:pt x="1312" y="1241"/>
                      </a:cubicBezTo>
                      <a:cubicBezTo>
                        <a:pt x="1320" y="1241"/>
                        <a:pt x="1328" y="1233"/>
                        <a:pt x="1336" y="1233"/>
                      </a:cubicBezTo>
                      <a:cubicBezTo>
                        <a:pt x="1344" y="1233"/>
                        <a:pt x="1344" y="1249"/>
                        <a:pt x="1344" y="1257"/>
                      </a:cubicBezTo>
                      <a:cubicBezTo>
                        <a:pt x="1352" y="1296"/>
                        <a:pt x="1336" y="1352"/>
                        <a:pt x="1320" y="1375"/>
                      </a:cubicBezTo>
                      <a:cubicBezTo>
                        <a:pt x="1312" y="1375"/>
                        <a:pt x="1312" y="1375"/>
                        <a:pt x="1312" y="1375"/>
                      </a:cubicBezTo>
                      <a:cubicBezTo>
                        <a:pt x="1296" y="1399"/>
                        <a:pt x="1273" y="1431"/>
                        <a:pt x="1265" y="1462"/>
                      </a:cubicBezTo>
                      <a:cubicBezTo>
                        <a:pt x="1257" y="1502"/>
                        <a:pt x="1265" y="1542"/>
                        <a:pt x="1273" y="1565"/>
                      </a:cubicBezTo>
                      <a:cubicBezTo>
                        <a:pt x="1273" y="1589"/>
                        <a:pt x="1273" y="1628"/>
                        <a:pt x="1257" y="1644"/>
                      </a:cubicBezTo>
                      <a:cubicBezTo>
                        <a:pt x="1257" y="1652"/>
                        <a:pt x="1249" y="1652"/>
                        <a:pt x="1249" y="1652"/>
                      </a:cubicBezTo>
                      <a:cubicBezTo>
                        <a:pt x="1241" y="1652"/>
                        <a:pt x="1241" y="1652"/>
                        <a:pt x="1241" y="1652"/>
                      </a:cubicBezTo>
                      <a:cubicBezTo>
                        <a:pt x="1233" y="1652"/>
                        <a:pt x="1233" y="1652"/>
                        <a:pt x="1233" y="1652"/>
                      </a:cubicBezTo>
                      <a:cubicBezTo>
                        <a:pt x="1225" y="1652"/>
                        <a:pt x="1217" y="1652"/>
                        <a:pt x="1209" y="1660"/>
                      </a:cubicBezTo>
                      <a:cubicBezTo>
                        <a:pt x="1209" y="1660"/>
                        <a:pt x="1209" y="1668"/>
                        <a:pt x="1209" y="1676"/>
                      </a:cubicBezTo>
                      <a:cubicBezTo>
                        <a:pt x="1209" y="1708"/>
                        <a:pt x="1202" y="1731"/>
                        <a:pt x="1194" y="1747"/>
                      </a:cubicBezTo>
                      <a:lnTo>
                        <a:pt x="1194" y="1747"/>
                      </a:lnTo>
                      <a:cubicBezTo>
                        <a:pt x="1194" y="1755"/>
                        <a:pt x="1194" y="1755"/>
                        <a:pt x="1202" y="1755"/>
                      </a:cubicBezTo>
                      <a:cubicBezTo>
                        <a:pt x="1209" y="1763"/>
                        <a:pt x="1217" y="1763"/>
                        <a:pt x="1233" y="1771"/>
                      </a:cubicBezTo>
                      <a:cubicBezTo>
                        <a:pt x="1241" y="1779"/>
                        <a:pt x="1241" y="1786"/>
                        <a:pt x="1241" y="1786"/>
                      </a:cubicBezTo>
                      <a:cubicBezTo>
                        <a:pt x="1241" y="1795"/>
                        <a:pt x="1241" y="1795"/>
                        <a:pt x="1241" y="1802"/>
                      </a:cubicBezTo>
                      <a:cubicBezTo>
                        <a:pt x="1241" y="1795"/>
                        <a:pt x="1249" y="1795"/>
                        <a:pt x="1257" y="1795"/>
                      </a:cubicBezTo>
                      <a:cubicBezTo>
                        <a:pt x="1320" y="1786"/>
                        <a:pt x="1336" y="1779"/>
                        <a:pt x="1360" y="1755"/>
                      </a:cubicBezTo>
                      <a:cubicBezTo>
                        <a:pt x="1375" y="1739"/>
                        <a:pt x="1407" y="1723"/>
                        <a:pt x="1423" y="1723"/>
                      </a:cubicBezTo>
                      <a:cubicBezTo>
                        <a:pt x="1431" y="1723"/>
                        <a:pt x="1447" y="1731"/>
                        <a:pt x="1447" y="1747"/>
                      </a:cubicBezTo>
                      <a:cubicBezTo>
                        <a:pt x="1447" y="1771"/>
                        <a:pt x="1447" y="1786"/>
                        <a:pt x="1439" y="1802"/>
                      </a:cubicBezTo>
                      <a:cubicBezTo>
                        <a:pt x="1431" y="1818"/>
                        <a:pt x="1431" y="1842"/>
                        <a:pt x="1439" y="1858"/>
                      </a:cubicBezTo>
                      <a:cubicBezTo>
                        <a:pt x="1439" y="1866"/>
                        <a:pt x="1439" y="1866"/>
                        <a:pt x="1439" y="1873"/>
                      </a:cubicBezTo>
                      <a:cubicBezTo>
                        <a:pt x="1454" y="1905"/>
                        <a:pt x="1462" y="1929"/>
                        <a:pt x="1486" y="1961"/>
                      </a:cubicBezTo>
                      <a:cubicBezTo>
                        <a:pt x="1518" y="2000"/>
                        <a:pt x="1518" y="2039"/>
                        <a:pt x="1510" y="2087"/>
                      </a:cubicBezTo>
                      <a:cubicBezTo>
                        <a:pt x="1502" y="2095"/>
                        <a:pt x="1502" y="2103"/>
                        <a:pt x="1494" y="2111"/>
                      </a:cubicBezTo>
                      <a:cubicBezTo>
                        <a:pt x="1494" y="2126"/>
                        <a:pt x="1486" y="2134"/>
                        <a:pt x="1486" y="2142"/>
                      </a:cubicBezTo>
                      <a:cubicBezTo>
                        <a:pt x="1494" y="2150"/>
                        <a:pt x="1502" y="2158"/>
                        <a:pt x="1526" y="2158"/>
                      </a:cubicBezTo>
                      <a:cubicBezTo>
                        <a:pt x="1581" y="2174"/>
                        <a:pt x="1597" y="2190"/>
                        <a:pt x="1597" y="2237"/>
                      </a:cubicBezTo>
                      <a:cubicBezTo>
                        <a:pt x="1597" y="2277"/>
                        <a:pt x="1620" y="2340"/>
                        <a:pt x="1628" y="2356"/>
                      </a:cubicBezTo>
                      <a:cubicBezTo>
                        <a:pt x="1636" y="2363"/>
                        <a:pt x="1636" y="2372"/>
                        <a:pt x="1636" y="2379"/>
                      </a:cubicBezTo>
                      <a:cubicBezTo>
                        <a:pt x="1644" y="2387"/>
                        <a:pt x="1644" y="2395"/>
                        <a:pt x="1652" y="2395"/>
                      </a:cubicBezTo>
                      <a:cubicBezTo>
                        <a:pt x="1652" y="2395"/>
                        <a:pt x="1652" y="2395"/>
                        <a:pt x="1660" y="2387"/>
                      </a:cubicBezTo>
                      <a:cubicBezTo>
                        <a:pt x="1668" y="2379"/>
                        <a:pt x="1668" y="2372"/>
                        <a:pt x="1668" y="2372"/>
                      </a:cubicBezTo>
                      <a:cubicBezTo>
                        <a:pt x="1684" y="2348"/>
                        <a:pt x="1692" y="2340"/>
                        <a:pt x="1715" y="2348"/>
                      </a:cubicBezTo>
                      <a:cubicBezTo>
                        <a:pt x="1731" y="2356"/>
                        <a:pt x="1739" y="2356"/>
                        <a:pt x="1747" y="2363"/>
                      </a:cubicBezTo>
                      <a:cubicBezTo>
                        <a:pt x="1763" y="2372"/>
                        <a:pt x="1771" y="2372"/>
                        <a:pt x="1786" y="2372"/>
                      </a:cubicBezTo>
                      <a:cubicBezTo>
                        <a:pt x="1802" y="2379"/>
                        <a:pt x="1810" y="2363"/>
                        <a:pt x="1826" y="2356"/>
                      </a:cubicBezTo>
                      <a:cubicBezTo>
                        <a:pt x="1826" y="2356"/>
                        <a:pt x="1834" y="2348"/>
                        <a:pt x="1842" y="2348"/>
                      </a:cubicBezTo>
                      <a:lnTo>
                        <a:pt x="1842" y="2348"/>
                      </a:lnTo>
                      <a:cubicBezTo>
                        <a:pt x="1850" y="2340"/>
                        <a:pt x="1858" y="2340"/>
                        <a:pt x="1873" y="2340"/>
                      </a:cubicBezTo>
                      <a:cubicBezTo>
                        <a:pt x="1881" y="2340"/>
                        <a:pt x="1897" y="2340"/>
                        <a:pt x="1913" y="2356"/>
                      </a:cubicBezTo>
                      <a:cubicBezTo>
                        <a:pt x="1937" y="2372"/>
                        <a:pt x="1953" y="2379"/>
                        <a:pt x="1976" y="2379"/>
                      </a:cubicBezTo>
                      <a:cubicBezTo>
                        <a:pt x="1984" y="2379"/>
                        <a:pt x="1984" y="2379"/>
                        <a:pt x="1992" y="2379"/>
                      </a:cubicBezTo>
                      <a:cubicBezTo>
                        <a:pt x="2008" y="2372"/>
                        <a:pt x="2016" y="2372"/>
                        <a:pt x="2016" y="2372"/>
                      </a:cubicBezTo>
                      <a:cubicBezTo>
                        <a:pt x="2016" y="2363"/>
                        <a:pt x="2024" y="2363"/>
                        <a:pt x="2024" y="2363"/>
                      </a:cubicBezTo>
                      <a:cubicBezTo>
                        <a:pt x="2032" y="2363"/>
                        <a:pt x="2039" y="2363"/>
                        <a:pt x="2047" y="2372"/>
                      </a:cubicBezTo>
                      <a:cubicBezTo>
                        <a:pt x="2071" y="2387"/>
                        <a:pt x="2063" y="2403"/>
                        <a:pt x="2063" y="2411"/>
                      </a:cubicBezTo>
                      <a:cubicBezTo>
                        <a:pt x="2071" y="2411"/>
                        <a:pt x="2071" y="2403"/>
                        <a:pt x="2079" y="2395"/>
                      </a:cubicBezTo>
                      <a:cubicBezTo>
                        <a:pt x="2103" y="2379"/>
                        <a:pt x="2111" y="2348"/>
                        <a:pt x="2119" y="2332"/>
                      </a:cubicBezTo>
                      <a:cubicBezTo>
                        <a:pt x="2126" y="2308"/>
                        <a:pt x="2134" y="2300"/>
                        <a:pt x="2142" y="2300"/>
                      </a:cubicBezTo>
                      <a:cubicBezTo>
                        <a:pt x="2150" y="2300"/>
                        <a:pt x="2150" y="2300"/>
                        <a:pt x="2150" y="2300"/>
                      </a:cubicBezTo>
                      <a:cubicBezTo>
                        <a:pt x="2158" y="2300"/>
                        <a:pt x="2166" y="2308"/>
                        <a:pt x="2166" y="2308"/>
                      </a:cubicBezTo>
                      <a:cubicBezTo>
                        <a:pt x="2197" y="2324"/>
                        <a:pt x="2213" y="2332"/>
                        <a:pt x="2221" y="2372"/>
                      </a:cubicBezTo>
                      <a:cubicBezTo>
                        <a:pt x="2229" y="2403"/>
                        <a:pt x="2237" y="2419"/>
                        <a:pt x="2261" y="2427"/>
                      </a:cubicBezTo>
                      <a:cubicBezTo>
                        <a:pt x="2269" y="2427"/>
                        <a:pt x="2269" y="2427"/>
                        <a:pt x="2269" y="2427"/>
                      </a:cubicBezTo>
                      <a:lnTo>
                        <a:pt x="2071" y="3613"/>
                      </a:lnTo>
                      <a:close/>
                      <a:moveTo>
                        <a:pt x="8" y="3225"/>
                      </a:moveTo>
                      <a:lnTo>
                        <a:pt x="8" y="3225"/>
                      </a:lnTo>
                      <a:cubicBezTo>
                        <a:pt x="743" y="3383"/>
                        <a:pt x="1431" y="3510"/>
                        <a:pt x="2063" y="3605"/>
                      </a:cubicBezTo>
                      <a:cubicBezTo>
                        <a:pt x="2261" y="2435"/>
                        <a:pt x="2261" y="2435"/>
                        <a:pt x="2261" y="2435"/>
                      </a:cubicBezTo>
                      <a:cubicBezTo>
                        <a:pt x="2237" y="2419"/>
                        <a:pt x="2221" y="2403"/>
                        <a:pt x="2213" y="2372"/>
                      </a:cubicBezTo>
                      <a:cubicBezTo>
                        <a:pt x="2213" y="2340"/>
                        <a:pt x="2190" y="2324"/>
                        <a:pt x="2166" y="2316"/>
                      </a:cubicBezTo>
                      <a:cubicBezTo>
                        <a:pt x="2158" y="2316"/>
                        <a:pt x="2158" y="2308"/>
                        <a:pt x="2150" y="2308"/>
                      </a:cubicBezTo>
                      <a:lnTo>
                        <a:pt x="2142" y="2308"/>
                      </a:lnTo>
                      <a:cubicBezTo>
                        <a:pt x="2134" y="2308"/>
                        <a:pt x="2134" y="2316"/>
                        <a:pt x="2126" y="2332"/>
                      </a:cubicBezTo>
                      <a:cubicBezTo>
                        <a:pt x="2119" y="2356"/>
                        <a:pt x="2111" y="2379"/>
                        <a:pt x="2087" y="2403"/>
                      </a:cubicBezTo>
                      <a:cubicBezTo>
                        <a:pt x="2071" y="2419"/>
                        <a:pt x="2063" y="2427"/>
                        <a:pt x="2063" y="2427"/>
                      </a:cubicBezTo>
                      <a:lnTo>
                        <a:pt x="2063" y="2427"/>
                      </a:lnTo>
                      <a:cubicBezTo>
                        <a:pt x="2055" y="2419"/>
                        <a:pt x="2055" y="2419"/>
                        <a:pt x="2055" y="2419"/>
                      </a:cubicBezTo>
                      <a:cubicBezTo>
                        <a:pt x="2055" y="2419"/>
                        <a:pt x="2055" y="2419"/>
                        <a:pt x="2055" y="2411"/>
                      </a:cubicBezTo>
                      <a:cubicBezTo>
                        <a:pt x="2063" y="2403"/>
                        <a:pt x="2063" y="2387"/>
                        <a:pt x="2047" y="2379"/>
                      </a:cubicBezTo>
                      <a:cubicBezTo>
                        <a:pt x="2032" y="2372"/>
                        <a:pt x="2024" y="2372"/>
                        <a:pt x="2024" y="2372"/>
                      </a:cubicBezTo>
                      <a:lnTo>
                        <a:pt x="2024" y="2372"/>
                      </a:lnTo>
                      <a:cubicBezTo>
                        <a:pt x="2016" y="2379"/>
                        <a:pt x="2008" y="2379"/>
                        <a:pt x="2000" y="2387"/>
                      </a:cubicBezTo>
                      <a:cubicBezTo>
                        <a:pt x="1992" y="2387"/>
                        <a:pt x="1984" y="2387"/>
                        <a:pt x="1976" y="2387"/>
                      </a:cubicBezTo>
                      <a:cubicBezTo>
                        <a:pt x="1953" y="2387"/>
                        <a:pt x="1929" y="2379"/>
                        <a:pt x="1905" y="2356"/>
                      </a:cubicBezTo>
                      <a:cubicBezTo>
                        <a:pt x="1897" y="2348"/>
                        <a:pt x="1881" y="2348"/>
                        <a:pt x="1873" y="2348"/>
                      </a:cubicBezTo>
                      <a:cubicBezTo>
                        <a:pt x="1866" y="2348"/>
                        <a:pt x="1850" y="2348"/>
                        <a:pt x="1850" y="2348"/>
                      </a:cubicBezTo>
                      <a:cubicBezTo>
                        <a:pt x="1842" y="2348"/>
                        <a:pt x="1842" y="2356"/>
                        <a:pt x="1842" y="2356"/>
                      </a:cubicBezTo>
                      <a:cubicBezTo>
                        <a:pt x="1834" y="2356"/>
                        <a:pt x="1834" y="2356"/>
                        <a:pt x="1826" y="2363"/>
                      </a:cubicBezTo>
                      <a:cubicBezTo>
                        <a:pt x="1818" y="2372"/>
                        <a:pt x="1802" y="2379"/>
                        <a:pt x="1786" y="2379"/>
                      </a:cubicBezTo>
                      <a:cubicBezTo>
                        <a:pt x="1763" y="2379"/>
                        <a:pt x="1755" y="2372"/>
                        <a:pt x="1747" y="2372"/>
                      </a:cubicBezTo>
                      <a:cubicBezTo>
                        <a:pt x="1739" y="2363"/>
                        <a:pt x="1731" y="2363"/>
                        <a:pt x="1715" y="2356"/>
                      </a:cubicBezTo>
                      <a:cubicBezTo>
                        <a:pt x="1707" y="2356"/>
                        <a:pt x="1700" y="2356"/>
                        <a:pt x="1700" y="2356"/>
                      </a:cubicBezTo>
                      <a:cubicBezTo>
                        <a:pt x="1692" y="2356"/>
                        <a:pt x="1684" y="2356"/>
                        <a:pt x="1676" y="2372"/>
                      </a:cubicBezTo>
                      <a:cubicBezTo>
                        <a:pt x="1676" y="2379"/>
                        <a:pt x="1668" y="2387"/>
                        <a:pt x="1668" y="2395"/>
                      </a:cubicBezTo>
                      <a:cubicBezTo>
                        <a:pt x="1660" y="2403"/>
                        <a:pt x="1652" y="2403"/>
                        <a:pt x="1652" y="2403"/>
                      </a:cubicBezTo>
                      <a:cubicBezTo>
                        <a:pt x="1636" y="2403"/>
                        <a:pt x="1636" y="2395"/>
                        <a:pt x="1628" y="2379"/>
                      </a:cubicBezTo>
                      <a:cubicBezTo>
                        <a:pt x="1628" y="2372"/>
                        <a:pt x="1628" y="2363"/>
                        <a:pt x="1620" y="2363"/>
                      </a:cubicBezTo>
                      <a:cubicBezTo>
                        <a:pt x="1613" y="2348"/>
                        <a:pt x="1589" y="2277"/>
                        <a:pt x="1589" y="2237"/>
                      </a:cubicBezTo>
                      <a:cubicBezTo>
                        <a:pt x="1589" y="2198"/>
                        <a:pt x="1581" y="2174"/>
                        <a:pt x="1518" y="2166"/>
                      </a:cubicBezTo>
                      <a:cubicBezTo>
                        <a:pt x="1502" y="2166"/>
                        <a:pt x="1486" y="2158"/>
                        <a:pt x="1486" y="2150"/>
                      </a:cubicBezTo>
                      <a:cubicBezTo>
                        <a:pt x="1478" y="2134"/>
                        <a:pt x="1486" y="2126"/>
                        <a:pt x="1486" y="2111"/>
                      </a:cubicBezTo>
                      <a:cubicBezTo>
                        <a:pt x="1494" y="2103"/>
                        <a:pt x="1494" y="2095"/>
                        <a:pt x="1502" y="2087"/>
                      </a:cubicBezTo>
                      <a:cubicBezTo>
                        <a:pt x="1510" y="2039"/>
                        <a:pt x="1510" y="2008"/>
                        <a:pt x="1478" y="1968"/>
                      </a:cubicBezTo>
                      <a:cubicBezTo>
                        <a:pt x="1454" y="1929"/>
                        <a:pt x="1447" y="1905"/>
                        <a:pt x="1431" y="1873"/>
                      </a:cubicBezTo>
                      <a:lnTo>
                        <a:pt x="1431" y="1866"/>
                      </a:lnTo>
                      <a:cubicBezTo>
                        <a:pt x="1423" y="1842"/>
                        <a:pt x="1423" y="1818"/>
                        <a:pt x="1431" y="1802"/>
                      </a:cubicBezTo>
                      <a:cubicBezTo>
                        <a:pt x="1439" y="1786"/>
                        <a:pt x="1439" y="1771"/>
                        <a:pt x="1439" y="1747"/>
                      </a:cubicBezTo>
                      <a:cubicBezTo>
                        <a:pt x="1439" y="1739"/>
                        <a:pt x="1431" y="1731"/>
                        <a:pt x="1423" y="1731"/>
                      </a:cubicBezTo>
                      <a:cubicBezTo>
                        <a:pt x="1407" y="1731"/>
                        <a:pt x="1383" y="1747"/>
                        <a:pt x="1367" y="1763"/>
                      </a:cubicBezTo>
                      <a:cubicBezTo>
                        <a:pt x="1336" y="1786"/>
                        <a:pt x="1320" y="1795"/>
                        <a:pt x="1265" y="1802"/>
                      </a:cubicBezTo>
                      <a:cubicBezTo>
                        <a:pt x="1249" y="1802"/>
                        <a:pt x="1241" y="1810"/>
                        <a:pt x="1233" y="1810"/>
                      </a:cubicBezTo>
                      <a:lnTo>
                        <a:pt x="1233" y="1802"/>
                      </a:lnTo>
                      <a:cubicBezTo>
                        <a:pt x="1225" y="1802"/>
                        <a:pt x="1233" y="1802"/>
                        <a:pt x="1233" y="1795"/>
                      </a:cubicBezTo>
                      <a:cubicBezTo>
                        <a:pt x="1233" y="1795"/>
                        <a:pt x="1233" y="1795"/>
                        <a:pt x="1233" y="1786"/>
                      </a:cubicBezTo>
                      <a:cubicBezTo>
                        <a:pt x="1233" y="1786"/>
                        <a:pt x="1233" y="1779"/>
                        <a:pt x="1225" y="1779"/>
                      </a:cubicBezTo>
                      <a:cubicBezTo>
                        <a:pt x="1217" y="1771"/>
                        <a:pt x="1209" y="1763"/>
                        <a:pt x="1202" y="1763"/>
                      </a:cubicBezTo>
                      <a:cubicBezTo>
                        <a:pt x="1194" y="1755"/>
                        <a:pt x="1186" y="1755"/>
                        <a:pt x="1194" y="1747"/>
                      </a:cubicBezTo>
                      <a:cubicBezTo>
                        <a:pt x="1194" y="1739"/>
                        <a:pt x="1194" y="1739"/>
                        <a:pt x="1194" y="1739"/>
                      </a:cubicBezTo>
                      <a:cubicBezTo>
                        <a:pt x="1194" y="1731"/>
                        <a:pt x="1202" y="1708"/>
                        <a:pt x="1202" y="1676"/>
                      </a:cubicBezTo>
                      <a:cubicBezTo>
                        <a:pt x="1202" y="1668"/>
                        <a:pt x="1202" y="1660"/>
                        <a:pt x="1209" y="1652"/>
                      </a:cubicBezTo>
                      <a:cubicBezTo>
                        <a:pt x="1209" y="1644"/>
                        <a:pt x="1225" y="1644"/>
                        <a:pt x="1233" y="1644"/>
                      </a:cubicBezTo>
                      <a:cubicBezTo>
                        <a:pt x="1233" y="1644"/>
                        <a:pt x="1233" y="1644"/>
                        <a:pt x="1241" y="1644"/>
                      </a:cubicBezTo>
                      <a:cubicBezTo>
                        <a:pt x="1241" y="1644"/>
                        <a:pt x="1249" y="1644"/>
                        <a:pt x="1257" y="1644"/>
                      </a:cubicBezTo>
                      <a:cubicBezTo>
                        <a:pt x="1265" y="1628"/>
                        <a:pt x="1265" y="1589"/>
                        <a:pt x="1265" y="1573"/>
                      </a:cubicBezTo>
                      <a:cubicBezTo>
                        <a:pt x="1257" y="1542"/>
                        <a:pt x="1249" y="1502"/>
                        <a:pt x="1257" y="1462"/>
                      </a:cubicBezTo>
                      <a:cubicBezTo>
                        <a:pt x="1265" y="1423"/>
                        <a:pt x="1296" y="1391"/>
                        <a:pt x="1312" y="1375"/>
                      </a:cubicBezTo>
                      <a:cubicBezTo>
                        <a:pt x="1312" y="1368"/>
                        <a:pt x="1312" y="1368"/>
                        <a:pt x="1312" y="1368"/>
                      </a:cubicBezTo>
                      <a:cubicBezTo>
                        <a:pt x="1328" y="1352"/>
                        <a:pt x="1344" y="1304"/>
                        <a:pt x="1344" y="1257"/>
                      </a:cubicBezTo>
                      <a:cubicBezTo>
                        <a:pt x="1336" y="1249"/>
                        <a:pt x="1336" y="1241"/>
                        <a:pt x="1336" y="1241"/>
                      </a:cubicBezTo>
                      <a:cubicBezTo>
                        <a:pt x="1328" y="1241"/>
                        <a:pt x="1328" y="1241"/>
                        <a:pt x="1320" y="1249"/>
                      </a:cubicBezTo>
                      <a:cubicBezTo>
                        <a:pt x="1312" y="1257"/>
                        <a:pt x="1296" y="1257"/>
                        <a:pt x="1289" y="1257"/>
                      </a:cubicBezTo>
                      <a:cubicBezTo>
                        <a:pt x="1280" y="1257"/>
                        <a:pt x="1280" y="1257"/>
                        <a:pt x="1280" y="1257"/>
                      </a:cubicBezTo>
                      <a:cubicBezTo>
                        <a:pt x="1257" y="1257"/>
                        <a:pt x="1249" y="1241"/>
                        <a:pt x="1241" y="1225"/>
                      </a:cubicBezTo>
                      <a:cubicBezTo>
                        <a:pt x="1233" y="1209"/>
                        <a:pt x="1217" y="1186"/>
                        <a:pt x="1194" y="1178"/>
                      </a:cubicBezTo>
                      <a:cubicBezTo>
                        <a:pt x="1170" y="1154"/>
                        <a:pt x="1170" y="1146"/>
                        <a:pt x="1170" y="1131"/>
                      </a:cubicBezTo>
                      <a:cubicBezTo>
                        <a:pt x="1178" y="1115"/>
                        <a:pt x="1178" y="1107"/>
                        <a:pt x="1178" y="1091"/>
                      </a:cubicBezTo>
                      <a:cubicBezTo>
                        <a:pt x="1170" y="1051"/>
                        <a:pt x="1162" y="1051"/>
                        <a:pt x="1138" y="1036"/>
                      </a:cubicBezTo>
                      <a:cubicBezTo>
                        <a:pt x="1130" y="1028"/>
                        <a:pt x="1130" y="1028"/>
                        <a:pt x="1122" y="1020"/>
                      </a:cubicBezTo>
                      <a:cubicBezTo>
                        <a:pt x="1091" y="1004"/>
                        <a:pt x="1091" y="980"/>
                        <a:pt x="1099" y="964"/>
                      </a:cubicBezTo>
                      <a:cubicBezTo>
                        <a:pt x="1099" y="949"/>
                        <a:pt x="1099" y="933"/>
                        <a:pt x="1099" y="925"/>
                      </a:cubicBezTo>
                      <a:cubicBezTo>
                        <a:pt x="1091" y="901"/>
                        <a:pt x="1083" y="901"/>
                        <a:pt x="1067" y="893"/>
                      </a:cubicBezTo>
                      <a:cubicBezTo>
                        <a:pt x="1059" y="893"/>
                        <a:pt x="1043" y="885"/>
                        <a:pt x="1036" y="878"/>
                      </a:cubicBezTo>
                      <a:cubicBezTo>
                        <a:pt x="1027" y="869"/>
                        <a:pt x="1020" y="862"/>
                        <a:pt x="1020" y="854"/>
                      </a:cubicBezTo>
                      <a:cubicBezTo>
                        <a:pt x="1004" y="846"/>
                        <a:pt x="988" y="830"/>
                        <a:pt x="988" y="806"/>
                      </a:cubicBezTo>
                      <a:cubicBezTo>
                        <a:pt x="988" y="791"/>
                        <a:pt x="996" y="783"/>
                        <a:pt x="996" y="767"/>
                      </a:cubicBezTo>
                      <a:cubicBezTo>
                        <a:pt x="1004" y="743"/>
                        <a:pt x="1004" y="727"/>
                        <a:pt x="1004" y="704"/>
                      </a:cubicBezTo>
                      <a:cubicBezTo>
                        <a:pt x="1004" y="680"/>
                        <a:pt x="980" y="640"/>
                        <a:pt x="956" y="609"/>
                      </a:cubicBezTo>
                      <a:cubicBezTo>
                        <a:pt x="949" y="585"/>
                        <a:pt x="933" y="569"/>
                        <a:pt x="933" y="553"/>
                      </a:cubicBezTo>
                      <a:cubicBezTo>
                        <a:pt x="925" y="538"/>
                        <a:pt x="933" y="514"/>
                        <a:pt x="933" y="490"/>
                      </a:cubicBezTo>
                      <a:cubicBezTo>
                        <a:pt x="941" y="482"/>
                        <a:pt x="941" y="466"/>
                        <a:pt x="941" y="458"/>
                      </a:cubicBezTo>
                      <a:cubicBezTo>
                        <a:pt x="949" y="427"/>
                        <a:pt x="964" y="340"/>
                        <a:pt x="980" y="300"/>
                      </a:cubicBezTo>
                      <a:cubicBezTo>
                        <a:pt x="996" y="261"/>
                        <a:pt x="996" y="158"/>
                        <a:pt x="996" y="134"/>
                      </a:cubicBezTo>
                      <a:cubicBezTo>
                        <a:pt x="996" y="119"/>
                        <a:pt x="1004" y="95"/>
                        <a:pt x="1004" y="71"/>
                      </a:cubicBezTo>
                      <a:cubicBezTo>
                        <a:pt x="893" y="55"/>
                        <a:pt x="783" y="32"/>
                        <a:pt x="680" y="8"/>
                      </a:cubicBezTo>
                      <a:cubicBezTo>
                        <a:pt x="656" y="142"/>
                        <a:pt x="577" y="577"/>
                        <a:pt x="569" y="601"/>
                      </a:cubicBezTo>
                      <a:cubicBezTo>
                        <a:pt x="561" y="609"/>
                        <a:pt x="553" y="648"/>
                        <a:pt x="545" y="711"/>
                      </a:cubicBezTo>
                      <a:cubicBezTo>
                        <a:pt x="514" y="838"/>
                        <a:pt x="474" y="1044"/>
                        <a:pt x="458" y="1059"/>
                      </a:cubicBezTo>
                      <a:cubicBezTo>
                        <a:pt x="443" y="1091"/>
                        <a:pt x="443" y="1233"/>
                        <a:pt x="450" y="1257"/>
                      </a:cubicBezTo>
                      <a:cubicBezTo>
                        <a:pt x="458" y="1273"/>
                        <a:pt x="458" y="1296"/>
                        <a:pt x="450" y="1320"/>
                      </a:cubicBezTo>
                      <a:cubicBezTo>
                        <a:pt x="450" y="1328"/>
                        <a:pt x="443" y="1336"/>
                        <a:pt x="443" y="1336"/>
                      </a:cubicBezTo>
                      <a:cubicBezTo>
                        <a:pt x="443" y="1360"/>
                        <a:pt x="450" y="1462"/>
                        <a:pt x="490" y="1494"/>
                      </a:cubicBezTo>
                      <a:cubicBezTo>
                        <a:pt x="522" y="1518"/>
                        <a:pt x="545" y="1573"/>
                        <a:pt x="545" y="1605"/>
                      </a:cubicBezTo>
                      <a:cubicBezTo>
                        <a:pt x="545" y="1621"/>
                        <a:pt x="537" y="1628"/>
                        <a:pt x="537" y="1636"/>
                      </a:cubicBezTo>
                      <a:cubicBezTo>
                        <a:pt x="514" y="1652"/>
                        <a:pt x="450" y="1739"/>
                        <a:pt x="450" y="1755"/>
                      </a:cubicBezTo>
                      <a:cubicBezTo>
                        <a:pt x="450" y="1771"/>
                        <a:pt x="435" y="1786"/>
                        <a:pt x="411" y="1810"/>
                      </a:cubicBezTo>
                      <a:cubicBezTo>
                        <a:pt x="403" y="1818"/>
                        <a:pt x="387" y="1826"/>
                        <a:pt x="379" y="1834"/>
                      </a:cubicBezTo>
                      <a:cubicBezTo>
                        <a:pt x="356" y="1858"/>
                        <a:pt x="363" y="1881"/>
                        <a:pt x="363" y="1889"/>
                      </a:cubicBezTo>
                      <a:cubicBezTo>
                        <a:pt x="363" y="1897"/>
                        <a:pt x="363" y="1897"/>
                        <a:pt x="363" y="1897"/>
                      </a:cubicBezTo>
                      <a:cubicBezTo>
                        <a:pt x="363" y="1897"/>
                        <a:pt x="356" y="1913"/>
                        <a:pt x="308" y="1952"/>
                      </a:cubicBezTo>
                      <a:cubicBezTo>
                        <a:pt x="261" y="1992"/>
                        <a:pt x="182" y="2063"/>
                        <a:pt x="190" y="2087"/>
                      </a:cubicBezTo>
                      <a:cubicBezTo>
                        <a:pt x="190" y="2095"/>
                        <a:pt x="190" y="2103"/>
                        <a:pt x="190" y="2111"/>
                      </a:cubicBezTo>
                      <a:cubicBezTo>
                        <a:pt x="190" y="2142"/>
                        <a:pt x="190" y="2166"/>
                        <a:pt x="237" y="2190"/>
                      </a:cubicBezTo>
                      <a:cubicBezTo>
                        <a:pt x="253" y="2198"/>
                        <a:pt x="261" y="2206"/>
                        <a:pt x="269" y="2221"/>
                      </a:cubicBezTo>
                      <a:cubicBezTo>
                        <a:pt x="277" y="2245"/>
                        <a:pt x="253" y="2269"/>
                        <a:pt x="245" y="2285"/>
                      </a:cubicBezTo>
                      <a:lnTo>
                        <a:pt x="245" y="2285"/>
                      </a:lnTo>
                      <a:cubicBezTo>
                        <a:pt x="237" y="2292"/>
                        <a:pt x="237" y="2300"/>
                        <a:pt x="237" y="2316"/>
                      </a:cubicBezTo>
                      <a:cubicBezTo>
                        <a:pt x="237" y="2324"/>
                        <a:pt x="245" y="2332"/>
                        <a:pt x="237" y="2348"/>
                      </a:cubicBezTo>
                      <a:cubicBezTo>
                        <a:pt x="229" y="2356"/>
                        <a:pt x="229" y="2356"/>
                        <a:pt x="229" y="2356"/>
                      </a:cubicBezTo>
                      <a:cubicBezTo>
                        <a:pt x="213" y="2379"/>
                        <a:pt x="190" y="2427"/>
                        <a:pt x="190" y="2443"/>
                      </a:cubicBezTo>
                      <a:cubicBezTo>
                        <a:pt x="190" y="2459"/>
                        <a:pt x="55" y="3043"/>
                        <a:pt x="8" y="3225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8" name="Freeform 263">
                  <a:extLst>
                    <a:ext uri="{FF2B5EF4-FFF2-40B4-BE49-F238E27FC236}">
                      <a16:creationId xmlns:a16="http://schemas.microsoft.com/office/drawing/2014/main" id="{9D29B9DF-B1A7-B34F-A97A-1C25A7FC80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9148" y="3378228"/>
                  <a:ext cx="2020116" cy="1268660"/>
                </a:xfrm>
                <a:custGeom>
                  <a:avLst/>
                  <a:gdLst>
                    <a:gd name="T0" fmla="*/ 87 w 3843"/>
                    <a:gd name="T1" fmla="*/ 0 h 2412"/>
                    <a:gd name="T2" fmla="*/ 87 w 3843"/>
                    <a:gd name="T3" fmla="*/ 0 h 2412"/>
                    <a:gd name="T4" fmla="*/ 79 w 3843"/>
                    <a:gd name="T5" fmla="*/ 63 h 2412"/>
                    <a:gd name="T6" fmla="*/ 55 w 3843"/>
                    <a:gd name="T7" fmla="*/ 229 h 2412"/>
                    <a:gd name="T8" fmla="*/ 24 w 3843"/>
                    <a:gd name="T9" fmla="*/ 387 h 2412"/>
                    <a:gd name="T10" fmla="*/ 8 w 3843"/>
                    <a:gd name="T11" fmla="*/ 482 h 2412"/>
                    <a:gd name="T12" fmla="*/ 87 w 3843"/>
                    <a:gd name="T13" fmla="*/ 633 h 2412"/>
                    <a:gd name="T14" fmla="*/ 63 w 3843"/>
                    <a:gd name="T15" fmla="*/ 735 h 2412"/>
                    <a:gd name="T16" fmla="*/ 118 w 3843"/>
                    <a:gd name="T17" fmla="*/ 807 h 2412"/>
                    <a:gd name="T18" fmla="*/ 174 w 3843"/>
                    <a:gd name="T19" fmla="*/ 854 h 2412"/>
                    <a:gd name="T20" fmla="*/ 197 w 3843"/>
                    <a:gd name="T21" fmla="*/ 949 h 2412"/>
                    <a:gd name="T22" fmla="*/ 253 w 3843"/>
                    <a:gd name="T23" fmla="*/ 1020 h 2412"/>
                    <a:gd name="T24" fmla="*/ 277 w 3843"/>
                    <a:gd name="T25" fmla="*/ 1099 h 2412"/>
                    <a:gd name="T26" fmla="*/ 355 w 3843"/>
                    <a:gd name="T27" fmla="*/ 1186 h 2412"/>
                    <a:gd name="T28" fmla="*/ 419 w 3843"/>
                    <a:gd name="T29" fmla="*/ 1186 h 2412"/>
                    <a:gd name="T30" fmla="*/ 387 w 3843"/>
                    <a:gd name="T31" fmla="*/ 1304 h 2412"/>
                    <a:gd name="T32" fmla="*/ 340 w 3843"/>
                    <a:gd name="T33" fmla="*/ 1391 h 2412"/>
                    <a:gd name="T34" fmla="*/ 340 w 3843"/>
                    <a:gd name="T35" fmla="*/ 1502 h 2412"/>
                    <a:gd name="T36" fmla="*/ 324 w 3843"/>
                    <a:gd name="T37" fmla="*/ 1581 h 2412"/>
                    <a:gd name="T38" fmla="*/ 277 w 3843"/>
                    <a:gd name="T39" fmla="*/ 1605 h 2412"/>
                    <a:gd name="T40" fmla="*/ 269 w 3843"/>
                    <a:gd name="T41" fmla="*/ 1676 h 2412"/>
                    <a:gd name="T42" fmla="*/ 308 w 3843"/>
                    <a:gd name="T43" fmla="*/ 1708 h 2412"/>
                    <a:gd name="T44" fmla="*/ 340 w 3843"/>
                    <a:gd name="T45" fmla="*/ 1731 h 2412"/>
                    <a:gd name="T46" fmla="*/ 435 w 3843"/>
                    <a:gd name="T47" fmla="*/ 1684 h 2412"/>
                    <a:gd name="T48" fmla="*/ 522 w 3843"/>
                    <a:gd name="T49" fmla="*/ 1676 h 2412"/>
                    <a:gd name="T50" fmla="*/ 506 w 3843"/>
                    <a:gd name="T51" fmla="*/ 1787 h 2412"/>
                    <a:gd name="T52" fmla="*/ 561 w 3843"/>
                    <a:gd name="T53" fmla="*/ 1897 h 2412"/>
                    <a:gd name="T54" fmla="*/ 577 w 3843"/>
                    <a:gd name="T55" fmla="*/ 2016 h 2412"/>
                    <a:gd name="T56" fmla="*/ 601 w 3843"/>
                    <a:gd name="T57" fmla="*/ 2095 h 2412"/>
                    <a:gd name="T58" fmla="*/ 672 w 3843"/>
                    <a:gd name="T59" fmla="*/ 2166 h 2412"/>
                    <a:gd name="T60" fmla="*/ 703 w 3843"/>
                    <a:gd name="T61" fmla="*/ 2292 h 2412"/>
                    <a:gd name="T62" fmla="*/ 735 w 3843"/>
                    <a:gd name="T63" fmla="*/ 2324 h 2412"/>
                    <a:gd name="T64" fmla="*/ 790 w 3843"/>
                    <a:gd name="T65" fmla="*/ 2285 h 2412"/>
                    <a:gd name="T66" fmla="*/ 861 w 3843"/>
                    <a:gd name="T67" fmla="*/ 2308 h 2412"/>
                    <a:gd name="T68" fmla="*/ 917 w 3843"/>
                    <a:gd name="T69" fmla="*/ 2277 h 2412"/>
                    <a:gd name="T70" fmla="*/ 980 w 3843"/>
                    <a:gd name="T71" fmla="*/ 2285 h 2412"/>
                    <a:gd name="T72" fmla="*/ 1075 w 3843"/>
                    <a:gd name="T73" fmla="*/ 2308 h 2412"/>
                    <a:gd name="T74" fmla="*/ 1122 w 3843"/>
                    <a:gd name="T75" fmla="*/ 2308 h 2412"/>
                    <a:gd name="T76" fmla="*/ 1162 w 3843"/>
                    <a:gd name="T77" fmla="*/ 2332 h 2412"/>
                    <a:gd name="T78" fmla="*/ 1225 w 3843"/>
                    <a:gd name="T79" fmla="*/ 2229 h 2412"/>
                    <a:gd name="T80" fmla="*/ 1296 w 3843"/>
                    <a:gd name="T81" fmla="*/ 2301 h 2412"/>
                    <a:gd name="T82" fmla="*/ 1336 w 3843"/>
                    <a:gd name="T83" fmla="*/ 2364 h 2412"/>
                    <a:gd name="T84" fmla="*/ 1367 w 3843"/>
                    <a:gd name="T85" fmla="*/ 2182 h 2412"/>
                    <a:gd name="T86" fmla="*/ 1391 w 3843"/>
                    <a:gd name="T87" fmla="*/ 2135 h 2412"/>
                    <a:gd name="T88" fmla="*/ 3700 w 3843"/>
                    <a:gd name="T89" fmla="*/ 2380 h 2412"/>
                    <a:gd name="T90" fmla="*/ 3842 w 3843"/>
                    <a:gd name="T91" fmla="*/ 522 h 2412"/>
                    <a:gd name="T92" fmla="*/ 87 w 3843"/>
                    <a:gd name="T93" fmla="*/ 0 h 2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843" h="2412"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79" y="16"/>
                        <a:pt x="79" y="48"/>
                        <a:pt x="79" y="63"/>
                      </a:cubicBezTo>
                      <a:cubicBezTo>
                        <a:pt x="79" y="95"/>
                        <a:pt x="71" y="190"/>
                        <a:pt x="55" y="229"/>
                      </a:cubicBezTo>
                      <a:cubicBezTo>
                        <a:pt x="47" y="269"/>
                        <a:pt x="24" y="356"/>
                        <a:pt x="24" y="387"/>
                      </a:cubicBezTo>
                      <a:cubicBezTo>
                        <a:pt x="16" y="419"/>
                        <a:pt x="0" y="451"/>
                        <a:pt x="8" y="482"/>
                      </a:cubicBezTo>
                      <a:cubicBezTo>
                        <a:pt x="24" y="514"/>
                        <a:pt x="79" y="593"/>
                        <a:pt x="87" y="633"/>
                      </a:cubicBezTo>
                      <a:cubicBezTo>
                        <a:pt x="87" y="672"/>
                        <a:pt x="63" y="704"/>
                        <a:pt x="63" y="735"/>
                      </a:cubicBezTo>
                      <a:cubicBezTo>
                        <a:pt x="63" y="775"/>
                        <a:pt x="95" y="775"/>
                        <a:pt x="118" y="807"/>
                      </a:cubicBezTo>
                      <a:cubicBezTo>
                        <a:pt x="134" y="830"/>
                        <a:pt x="166" y="814"/>
                        <a:pt x="174" y="854"/>
                      </a:cubicBezTo>
                      <a:cubicBezTo>
                        <a:pt x="182" y="893"/>
                        <a:pt x="158" y="925"/>
                        <a:pt x="197" y="949"/>
                      </a:cubicBezTo>
                      <a:cubicBezTo>
                        <a:pt x="237" y="973"/>
                        <a:pt x="245" y="973"/>
                        <a:pt x="253" y="1020"/>
                      </a:cubicBezTo>
                      <a:cubicBezTo>
                        <a:pt x="261" y="1067"/>
                        <a:pt x="229" y="1067"/>
                        <a:pt x="277" y="1099"/>
                      </a:cubicBezTo>
                      <a:cubicBezTo>
                        <a:pt x="316" y="1131"/>
                        <a:pt x="316" y="1178"/>
                        <a:pt x="355" y="1186"/>
                      </a:cubicBezTo>
                      <a:cubicBezTo>
                        <a:pt x="387" y="1194"/>
                        <a:pt x="411" y="1138"/>
                        <a:pt x="419" y="1186"/>
                      </a:cubicBezTo>
                      <a:cubicBezTo>
                        <a:pt x="427" y="1233"/>
                        <a:pt x="403" y="1281"/>
                        <a:pt x="387" y="1304"/>
                      </a:cubicBezTo>
                      <a:cubicBezTo>
                        <a:pt x="379" y="1320"/>
                        <a:pt x="348" y="1352"/>
                        <a:pt x="340" y="1391"/>
                      </a:cubicBezTo>
                      <a:cubicBezTo>
                        <a:pt x="324" y="1439"/>
                        <a:pt x="340" y="1478"/>
                        <a:pt x="340" y="1502"/>
                      </a:cubicBezTo>
                      <a:cubicBezTo>
                        <a:pt x="348" y="1518"/>
                        <a:pt x="340" y="1581"/>
                        <a:pt x="324" y="1581"/>
                      </a:cubicBezTo>
                      <a:cubicBezTo>
                        <a:pt x="300" y="1581"/>
                        <a:pt x="277" y="1573"/>
                        <a:pt x="277" y="1605"/>
                      </a:cubicBezTo>
                      <a:cubicBezTo>
                        <a:pt x="284" y="1637"/>
                        <a:pt x="277" y="1660"/>
                        <a:pt x="269" y="1676"/>
                      </a:cubicBezTo>
                      <a:cubicBezTo>
                        <a:pt x="261" y="1684"/>
                        <a:pt x="277" y="1684"/>
                        <a:pt x="308" y="1708"/>
                      </a:cubicBezTo>
                      <a:cubicBezTo>
                        <a:pt x="340" y="1731"/>
                        <a:pt x="277" y="1739"/>
                        <a:pt x="340" y="1731"/>
                      </a:cubicBezTo>
                      <a:cubicBezTo>
                        <a:pt x="395" y="1715"/>
                        <a:pt x="411" y="1715"/>
                        <a:pt x="435" y="1684"/>
                      </a:cubicBezTo>
                      <a:cubicBezTo>
                        <a:pt x="466" y="1660"/>
                        <a:pt x="514" y="1637"/>
                        <a:pt x="522" y="1676"/>
                      </a:cubicBezTo>
                      <a:cubicBezTo>
                        <a:pt x="522" y="1724"/>
                        <a:pt x="490" y="1755"/>
                        <a:pt x="506" y="1787"/>
                      </a:cubicBezTo>
                      <a:cubicBezTo>
                        <a:pt x="522" y="1826"/>
                        <a:pt x="529" y="1858"/>
                        <a:pt x="561" y="1897"/>
                      </a:cubicBezTo>
                      <a:cubicBezTo>
                        <a:pt x="585" y="1937"/>
                        <a:pt x="593" y="1968"/>
                        <a:pt x="577" y="2016"/>
                      </a:cubicBezTo>
                      <a:cubicBezTo>
                        <a:pt x="561" y="2063"/>
                        <a:pt x="537" y="2079"/>
                        <a:pt x="601" y="2095"/>
                      </a:cubicBezTo>
                      <a:cubicBezTo>
                        <a:pt x="656" y="2103"/>
                        <a:pt x="672" y="2127"/>
                        <a:pt x="672" y="2166"/>
                      </a:cubicBezTo>
                      <a:cubicBezTo>
                        <a:pt x="672" y="2206"/>
                        <a:pt x="688" y="2269"/>
                        <a:pt x="703" y="2292"/>
                      </a:cubicBezTo>
                      <a:cubicBezTo>
                        <a:pt x="711" y="2308"/>
                        <a:pt x="711" y="2348"/>
                        <a:pt x="735" y="2324"/>
                      </a:cubicBezTo>
                      <a:cubicBezTo>
                        <a:pt x="759" y="2292"/>
                        <a:pt x="759" y="2269"/>
                        <a:pt x="790" y="2285"/>
                      </a:cubicBezTo>
                      <a:cubicBezTo>
                        <a:pt x="822" y="2292"/>
                        <a:pt x="830" y="2301"/>
                        <a:pt x="861" y="2308"/>
                      </a:cubicBezTo>
                      <a:cubicBezTo>
                        <a:pt x="885" y="2308"/>
                        <a:pt x="901" y="2285"/>
                        <a:pt x="917" y="2277"/>
                      </a:cubicBezTo>
                      <a:cubicBezTo>
                        <a:pt x="933" y="2269"/>
                        <a:pt x="948" y="2261"/>
                        <a:pt x="980" y="2285"/>
                      </a:cubicBezTo>
                      <a:cubicBezTo>
                        <a:pt x="1012" y="2308"/>
                        <a:pt x="1035" y="2316"/>
                        <a:pt x="1075" y="2308"/>
                      </a:cubicBezTo>
                      <a:cubicBezTo>
                        <a:pt x="1107" y="2301"/>
                        <a:pt x="1083" y="2285"/>
                        <a:pt x="1122" y="2308"/>
                      </a:cubicBezTo>
                      <a:cubicBezTo>
                        <a:pt x="1162" y="2332"/>
                        <a:pt x="1114" y="2372"/>
                        <a:pt x="1162" y="2332"/>
                      </a:cubicBezTo>
                      <a:cubicBezTo>
                        <a:pt x="1209" y="2285"/>
                        <a:pt x="1194" y="2214"/>
                        <a:pt x="1225" y="2229"/>
                      </a:cubicBezTo>
                      <a:cubicBezTo>
                        <a:pt x="1257" y="2253"/>
                        <a:pt x="1288" y="2253"/>
                        <a:pt x="1296" y="2301"/>
                      </a:cubicBezTo>
                      <a:cubicBezTo>
                        <a:pt x="1304" y="2332"/>
                        <a:pt x="1312" y="2348"/>
                        <a:pt x="1336" y="2364"/>
                      </a:cubicBezTo>
                      <a:cubicBezTo>
                        <a:pt x="1367" y="2182"/>
                        <a:pt x="1367" y="2182"/>
                        <a:pt x="1367" y="2182"/>
                      </a:cubicBezTo>
                      <a:cubicBezTo>
                        <a:pt x="1367" y="2182"/>
                        <a:pt x="1367" y="2135"/>
                        <a:pt x="1391" y="2135"/>
                      </a:cubicBezTo>
                      <a:cubicBezTo>
                        <a:pt x="1415" y="2135"/>
                        <a:pt x="3486" y="2411"/>
                        <a:pt x="3700" y="2380"/>
                      </a:cubicBezTo>
                      <a:cubicBezTo>
                        <a:pt x="3842" y="522"/>
                        <a:pt x="3842" y="522"/>
                        <a:pt x="3842" y="522"/>
                      </a:cubicBezTo>
                      <a:cubicBezTo>
                        <a:pt x="2443" y="419"/>
                        <a:pt x="1122" y="206"/>
                        <a:pt x="87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9" name="Freeform 264">
                  <a:extLst>
                    <a:ext uri="{FF2B5EF4-FFF2-40B4-BE49-F238E27FC236}">
                      <a16:creationId xmlns:a16="http://schemas.microsoft.com/office/drawing/2014/main" id="{CDB41E4E-A97F-464B-A290-08655900B0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9148" y="3373590"/>
                  <a:ext cx="2024755" cy="1261702"/>
                </a:xfrm>
                <a:custGeom>
                  <a:avLst/>
                  <a:gdLst>
                    <a:gd name="T0" fmla="*/ 3644 w 3851"/>
                    <a:gd name="T1" fmla="*/ 2396 h 2397"/>
                    <a:gd name="T2" fmla="*/ 1367 w 3851"/>
                    <a:gd name="T3" fmla="*/ 2190 h 2397"/>
                    <a:gd name="T4" fmla="*/ 1288 w 3851"/>
                    <a:gd name="T5" fmla="*/ 2309 h 2397"/>
                    <a:gd name="T6" fmla="*/ 1217 w 3851"/>
                    <a:gd name="T7" fmla="*/ 2245 h 2397"/>
                    <a:gd name="T8" fmla="*/ 1138 w 3851"/>
                    <a:gd name="T9" fmla="*/ 2364 h 2397"/>
                    <a:gd name="T10" fmla="*/ 1130 w 3851"/>
                    <a:gd name="T11" fmla="*/ 2348 h 2397"/>
                    <a:gd name="T12" fmla="*/ 1099 w 3851"/>
                    <a:gd name="T13" fmla="*/ 2309 h 2397"/>
                    <a:gd name="T14" fmla="*/ 980 w 3851"/>
                    <a:gd name="T15" fmla="*/ 2293 h 2397"/>
                    <a:gd name="T16" fmla="*/ 917 w 3851"/>
                    <a:gd name="T17" fmla="*/ 2293 h 2397"/>
                    <a:gd name="T18" fmla="*/ 822 w 3851"/>
                    <a:gd name="T19" fmla="*/ 2309 h 2397"/>
                    <a:gd name="T20" fmla="*/ 751 w 3851"/>
                    <a:gd name="T21" fmla="*/ 2309 h 2397"/>
                    <a:gd name="T22" fmla="*/ 703 w 3851"/>
                    <a:gd name="T23" fmla="*/ 2316 h 2397"/>
                    <a:gd name="T24" fmla="*/ 593 w 3851"/>
                    <a:gd name="T25" fmla="*/ 2103 h 2397"/>
                    <a:gd name="T26" fmla="*/ 577 w 3851"/>
                    <a:gd name="T27" fmla="*/ 2024 h 2397"/>
                    <a:gd name="T28" fmla="*/ 506 w 3851"/>
                    <a:gd name="T29" fmla="*/ 1803 h 2397"/>
                    <a:gd name="T30" fmla="*/ 498 w 3851"/>
                    <a:gd name="T31" fmla="*/ 1668 h 2397"/>
                    <a:gd name="T32" fmla="*/ 308 w 3851"/>
                    <a:gd name="T33" fmla="*/ 1747 h 2397"/>
                    <a:gd name="T34" fmla="*/ 308 w 3851"/>
                    <a:gd name="T35" fmla="*/ 1723 h 2397"/>
                    <a:gd name="T36" fmla="*/ 269 w 3851"/>
                    <a:gd name="T37" fmla="*/ 1684 h 2397"/>
                    <a:gd name="T38" fmla="*/ 284 w 3851"/>
                    <a:gd name="T39" fmla="*/ 1589 h 2397"/>
                    <a:gd name="T40" fmla="*/ 332 w 3851"/>
                    <a:gd name="T41" fmla="*/ 1581 h 2397"/>
                    <a:gd name="T42" fmla="*/ 387 w 3851"/>
                    <a:gd name="T43" fmla="*/ 1312 h 2397"/>
                    <a:gd name="T44" fmla="*/ 411 w 3851"/>
                    <a:gd name="T45" fmla="*/ 1178 h 2397"/>
                    <a:gd name="T46" fmla="*/ 355 w 3851"/>
                    <a:gd name="T47" fmla="*/ 1194 h 2397"/>
                    <a:gd name="T48" fmla="*/ 245 w 3851"/>
                    <a:gd name="T49" fmla="*/ 1068 h 2397"/>
                    <a:gd name="T50" fmla="*/ 197 w 3851"/>
                    <a:gd name="T51" fmla="*/ 957 h 2397"/>
                    <a:gd name="T52" fmla="*/ 142 w 3851"/>
                    <a:gd name="T53" fmla="*/ 830 h 2397"/>
                    <a:gd name="T54" fmla="*/ 63 w 3851"/>
                    <a:gd name="T55" fmla="*/ 743 h 2397"/>
                    <a:gd name="T56" fmla="*/ 31 w 3851"/>
                    <a:gd name="T57" fmla="*/ 546 h 2397"/>
                    <a:gd name="T58" fmla="*/ 16 w 3851"/>
                    <a:gd name="T59" fmla="*/ 395 h 2397"/>
                    <a:gd name="T60" fmla="*/ 79 w 3851"/>
                    <a:gd name="T61" fmla="*/ 8 h 2397"/>
                    <a:gd name="T62" fmla="*/ 3842 w 3851"/>
                    <a:gd name="T63" fmla="*/ 530 h 2397"/>
                    <a:gd name="T64" fmla="*/ 3700 w 3851"/>
                    <a:gd name="T65" fmla="*/ 2388 h 2397"/>
                    <a:gd name="T66" fmla="*/ 1391 w 3851"/>
                    <a:gd name="T67" fmla="*/ 2143 h 2397"/>
                    <a:gd name="T68" fmla="*/ 3700 w 3851"/>
                    <a:gd name="T69" fmla="*/ 2380 h 2397"/>
                    <a:gd name="T70" fmla="*/ 79 w 3851"/>
                    <a:gd name="T71" fmla="*/ 71 h 2397"/>
                    <a:gd name="T72" fmla="*/ 16 w 3851"/>
                    <a:gd name="T73" fmla="*/ 427 h 2397"/>
                    <a:gd name="T74" fmla="*/ 87 w 3851"/>
                    <a:gd name="T75" fmla="*/ 641 h 2397"/>
                    <a:gd name="T76" fmla="*/ 95 w 3851"/>
                    <a:gd name="T77" fmla="*/ 791 h 2397"/>
                    <a:gd name="T78" fmla="*/ 182 w 3851"/>
                    <a:gd name="T79" fmla="*/ 862 h 2397"/>
                    <a:gd name="T80" fmla="*/ 221 w 3851"/>
                    <a:gd name="T81" fmla="*/ 965 h 2397"/>
                    <a:gd name="T82" fmla="*/ 277 w 3851"/>
                    <a:gd name="T83" fmla="*/ 1107 h 2397"/>
                    <a:gd name="T84" fmla="*/ 364 w 3851"/>
                    <a:gd name="T85" fmla="*/ 1194 h 2397"/>
                    <a:gd name="T86" fmla="*/ 419 w 3851"/>
                    <a:gd name="T87" fmla="*/ 1194 h 2397"/>
                    <a:gd name="T88" fmla="*/ 340 w 3851"/>
                    <a:gd name="T89" fmla="*/ 1399 h 2397"/>
                    <a:gd name="T90" fmla="*/ 324 w 3851"/>
                    <a:gd name="T91" fmla="*/ 1589 h 2397"/>
                    <a:gd name="T92" fmla="*/ 284 w 3851"/>
                    <a:gd name="T93" fmla="*/ 1597 h 2397"/>
                    <a:gd name="T94" fmla="*/ 269 w 3851"/>
                    <a:gd name="T95" fmla="*/ 1684 h 2397"/>
                    <a:gd name="T96" fmla="*/ 316 w 3851"/>
                    <a:gd name="T97" fmla="*/ 1723 h 2397"/>
                    <a:gd name="T98" fmla="*/ 435 w 3851"/>
                    <a:gd name="T99" fmla="*/ 1692 h 2397"/>
                    <a:gd name="T100" fmla="*/ 514 w 3851"/>
                    <a:gd name="T101" fmla="*/ 1739 h 2397"/>
                    <a:gd name="T102" fmla="*/ 561 w 3851"/>
                    <a:gd name="T103" fmla="*/ 1898 h 2397"/>
                    <a:gd name="T104" fmla="*/ 561 w 3851"/>
                    <a:gd name="T105" fmla="*/ 2079 h 2397"/>
                    <a:gd name="T106" fmla="*/ 703 w 3851"/>
                    <a:gd name="T107" fmla="*/ 2293 h 2397"/>
                    <a:gd name="T108" fmla="*/ 735 w 3851"/>
                    <a:gd name="T109" fmla="*/ 2324 h 2397"/>
                    <a:gd name="T110" fmla="*/ 822 w 3851"/>
                    <a:gd name="T111" fmla="*/ 2300 h 2397"/>
                    <a:gd name="T112" fmla="*/ 917 w 3851"/>
                    <a:gd name="T113" fmla="*/ 2285 h 2397"/>
                    <a:gd name="T114" fmla="*/ 988 w 3851"/>
                    <a:gd name="T115" fmla="*/ 2293 h 2397"/>
                    <a:gd name="T116" fmla="*/ 1091 w 3851"/>
                    <a:gd name="T117" fmla="*/ 2309 h 2397"/>
                    <a:gd name="T118" fmla="*/ 1138 w 3851"/>
                    <a:gd name="T119" fmla="*/ 2348 h 2397"/>
                    <a:gd name="T120" fmla="*/ 1217 w 3851"/>
                    <a:gd name="T121" fmla="*/ 2237 h 2397"/>
                    <a:gd name="T122" fmla="*/ 1296 w 3851"/>
                    <a:gd name="T123" fmla="*/ 2309 h 2397"/>
                    <a:gd name="T124" fmla="*/ 1391 w 3851"/>
                    <a:gd name="T125" fmla="*/ 2143 h 2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851" h="2397">
                      <a:moveTo>
                        <a:pt x="3644" y="2396"/>
                      </a:moveTo>
                      <a:lnTo>
                        <a:pt x="3644" y="2396"/>
                      </a:lnTo>
                      <a:lnTo>
                        <a:pt x="3644" y="2396"/>
                      </a:lnTo>
                      <a:cubicBezTo>
                        <a:pt x="3328" y="2396"/>
                        <a:pt x="2047" y="2229"/>
                        <a:pt x="1565" y="2166"/>
                      </a:cubicBezTo>
                      <a:cubicBezTo>
                        <a:pt x="1462" y="2158"/>
                        <a:pt x="1391" y="2150"/>
                        <a:pt x="1391" y="2150"/>
                      </a:cubicBezTo>
                      <a:cubicBezTo>
                        <a:pt x="1375" y="2150"/>
                        <a:pt x="1367" y="2182"/>
                        <a:pt x="1367" y="2190"/>
                      </a:cubicBezTo>
                      <a:cubicBezTo>
                        <a:pt x="1336" y="2372"/>
                        <a:pt x="1336" y="2372"/>
                        <a:pt x="1336" y="2372"/>
                      </a:cubicBezTo>
                      <a:lnTo>
                        <a:pt x="1336" y="2372"/>
                      </a:lnTo>
                      <a:cubicBezTo>
                        <a:pt x="1312" y="2364"/>
                        <a:pt x="1296" y="2340"/>
                        <a:pt x="1288" y="2309"/>
                      </a:cubicBezTo>
                      <a:cubicBezTo>
                        <a:pt x="1288" y="2277"/>
                        <a:pt x="1265" y="2261"/>
                        <a:pt x="1241" y="2253"/>
                      </a:cubicBezTo>
                      <a:cubicBezTo>
                        <a:pt x="1233" y="2253"/>
                        <a:pt x="1233" y="2245"/>
                        <a:pt x="1225" y="2245"/>
                      </a:cubicBezTo>
                      <a:lnTo>
                        <a:pt x="1217" y="2245"/>
                      </a:lnTo>
                      <a:cubicBezTo>
                        <a:pt x="1209" y="2245"/>
                        <a:pt x="1209" y="2253"/>
                        <a:pt x="1201" y="2269"/>
                      </a:cubicBezTo>
                      <a:cubicBezTo>
                        <a:pt x="1194" y="2293"/>
                        <a:pt x="1186" y="2316"/>
                        <a:pt x="1162" y="2340"/>
                      </a:cubicBezTo>
                      <a:cubicBezTo>
                        <a:pt x="1146" y="2356"/>
                        <a:pt x="1138" y="2364"/>
                        <a:pt x="1138" y="2364"/>
                      </a:cubicBezTo>
                      <a:lnTo>
                        <a:pt x="1138" y="2364"/>
                      </a:lnTo>
                      <a:cubicBezTo>
                        <a:pt x="1130" y="2356"/>
                        <a:pt x="1130" y="2356"/>
                        <a:pt x="1130" y="2356"/>
                      </a:cubicBezTo>
                      <a:cubicBezTo>
                        <a:pt x="1130" y="2356"/>
                        <a:pt x="1130" y="2356"/>
                        <a:pt x="1130" y="2348"/>
                      </a:cubicBezTo>
                      <a:cubicBezTo>
                        <a:pt x="1138" y="2340"/>
                        <a:pt x="1138" y="2324"/>
                        <a:pt x="1122" y="2316"/>
                      </a:cubicBezTo>
                      <a:cubicBezTo>
                        <a:pt x="1107" y="2309"/>
                        <a:pt x="1099" y="2309"/>
                        <a:pt x="1099" y="2309"/>
                      </a:cubicBezTo>
                      <a:lnTo>
                        <a:pt x="1099" y="2309"/>
                      </a:lnTo>
                      <a:cubicBezTo>
                        <a:pt x="1091" y="2316"/>
                        <a:pt x="1083" y="2316"/>
                        <a:pt x="1075" y="2324"/>
                      </a:cubicBezTo>
                      <a:cubicBezTo>
                        <a:pt x="1067" y="2324"/>
                        <a:pt x="1059" y="2324"/>
                        <a:pt x="1051" y="2324"/>
                      </a:cubicBezTo>
                      <a:cubicBezTo>
                        <a:pt x="1028" y="2324"/>
                        <a:pt x="1004" y="2316"/>
                        <a:pt x="980" y="2293"/>
                      </a:cubicBezTo>
                      <a:cubicBezTo>
                        <a:pt x="972" y="2285"/>
                        <a:pt x="956" y="2285"/>
                        <a:pt x="948" y="2285"/>
                      </a:cubicBezTo>
                      <a:cubicBezTo>
                        <a:pt x="941" y="2285"/>
                        <a:pt x="925" y="2285"/>
                        <a:pt x="925" y="2285"/>
                      </a:cubicBezTo>
                      <a:cubicBezTo>
                        <a:pt x="917" y="2285"/>
                        <a:pt x="917" y="2293"/>
                        <a:pt x="917" y="2293"/>
                      </a:cubicBezTo>
                      <a:cubicBezTo>
                        <a:pt x="909" y="2293"/>
                        <a:pt x="909" y="2293"/>
                        <a:pt x="901" y="2300"/>
                      </a:cubicBezTo>
                      <a:cubicBezTo>
                        <a:pt x="893" y="2309"/>
                        <a:pt x="877" y="2316"/>
                        <a:pt x="861" y="2316"/>
                      </a:cubicBezTo>
                      <a:cubicBezTo>
                        <a:pt x="838" y="2316"/>
                        <a:pt x="830" y="2309"/>
                        <a:pt x="822" y="2309"/>
                      </a:cubicBezTo>
                      <a:cubicBezTo>
                        <a:pt x="814" y="2300"/>
                        <a:pt x="806" y="2300"/>
                        <a:pt x="790" y="2293"/>
                      </a:cubicBezTo>
                      <a:cubicBezTo>
                        <a:pt x="782" y="2293"/>
                        <a:pt x="775" y="2293"/>
                        <a:pt x="775" y="2293"/>
                      </a:cubicBezTo>
                      <a:cubicBezTo>
                        <a:pt x="767" y="2293"/>
                        <a:pt x="759" y="2293"/>
                        <a:pt x="751" y="2309"/>
                      </a:cubicBezTo>
                      <a:cubicBezTo>
                        <a:pt x="751" y="2316"/>
                        <a:pt x="743" y="2324"/>
                        <a:pt x="743" y="2332"/>
                      </a:cubicBezTo>
                      <a:cubicBezTo>
                        <a:pt x="735" y="2340"/>
                        <a:pt x="727" y="2340"/>
                        <a:pt x="727" y="2340"/>
                      </a:cubicBezTo>
                      <a:cubicBezTo>
                        <a:pt x="711" y="2340"/>
                        <a:pt x="711" y="2332"/>
                        <a:pt x="703" y="2316"/>
                      </a:cubicBezTo>
                      <a:cubicBezTo>
                        <a:pt x="703" y="2309"/>
                        <a:pt x="703" y="2300"/>
                        <a:pt x="695" y="2300"/>
                      </a:cubicBezTo>
                      <a:cubicBezTo>
                        <a:pt x="688" y="2285"/>
                        <a:pt x="664" y="2214"/>
                        <a:pt x="664" y="2174"/>
                      </a:cubicBezTo>
                      <a:cubicBezTo>
                        <a:pt x="664" y="2135"/>
                        <a:pt x="656" y="2111"/>
                        <a:pt x="593" y="2103"/>
                      </a:cubicBezTo>
                      <a:cubicBezTo>
                        <a:pt x="577" y="2103"/>
                        <a:pt x="561" y="2095"/>
                        <a:pt x="561" y="2087"/>
                      </a:cubicBezTo>
                      <a:cubicBezTo>
                        <a:pt x="553" y="2071"/>
                        <a:pt x="561" y="2063"/>
                        <a:pt x="561" y="2048"/>
                      </a:cubicBezTo>
                      <a:cubicBezTo>
                        <a:pt x="569" y="2040"/>
                        <a:pt x="569" y="2032"/>
                        <a:pt x="577" y="2024"/>
                      </a:cubicBezTo>
                      <a:cubicBezTo>
                        <a:pt x="585" y="1976"/>
                        <a:pt x="585" y="1945"/>
                        <a:pt x="553" y="1905"/>
                      </a:cubicBezTo>
                      <a:cubicBezTo>
                        <a:pt x="529" y="1866"/>
                        <a:pt x="522" y="1842"/>
                        <a:pt x="506" y="1810"/>
                      </a:cubicBezTo>
                      <a:lnTo>
                        <a:pt x="506" y="1803"/>
                      </a:lnTo>
                      <a:cubicBezTo>
                        <a:pt x="498" y="1779"/>
                        <a:pt x="498" y="1755"/>
                        <a:pt x="506" y="1739"/>
                      </a:cubicBezTo>
                      <a:cubicBezTo>
                        <a:pt x="514" y="1723"/>
                        <a:pt x="514" y="1708"/>
                        <a:pt x="514" y="1684"/>
                      </a:cubicBezTo>
                      <a:cubicBezTo>
                        <a:pt x="514" y="1668"/>
                        <a:pt x="506" y="1668"/>
                        <a:pt x="498" y="1668"/>
                      </a:cubicBezTo>
                      <a:cubicBezTo>
                        <a:pt x="482" y="1668"/>
                        <a:pt x="458" y="1684"/>
                        <a:pt x="442" y="1700"/>
                      </a:cubicBezTo>
                      <a:cubicBezTo>
                        <a:pt x="411" y="1723"/>
                        <a:pt x="395" y="1732"/>
                        <a:pt x="340" y="1739"/>
                      </a:cubicBezTo>
                      <a:cubicBezTo>
                        <a:pt x="324" y="1739"/>
                        <a:pt x="316" y="1747"/>
                        <a:pt x="308" y="1747"/>
                      </a:cubicBezTo>
                      <a:lnTo>
                        <a:pt x="308" y="1739"/>
                      </a:lnTo>
                      <a:cubicBezTo>
                        <a:pt x="300" y="1739"/>
                        <a:pt x="308" y="1739"/>
                        <a:pt x="308" y="1732"/>
                      </a:cubicBezTo>
                      <a:cubicBezTo>
                        <a:pt x="308" y="1732"/>
                        <a:pt x="308" y="1732"/>
                        <a:pt x="308" y="1723"/>
                      </a:cubicBezTo>
                      <a:cubicBezTo>
                        <a:pt x="308" y="1723"/>
                        <a:pt x="308" y="1716"/>
                        <a:pt x="300" y="1716"/>
                      </a:cubicBezTo>
                      <a:cubicBezTo>
                        <a:pt x="292" y="1708"/>
                        <a:pt x="284" y="1700"/>
                        <a:pt x="277" y="1700"/>
                      </a:cubicBezTo>
                      <a:cubicBezTo>
                        <a:pt x="269" y="1692"/>
                        <a:pt x="261" y="1692"/>
                        <a:pt x="269" y="1684"/>
                      </a:cubicBezTo>
                      <a:cubicBezTo>
                        <a:pt x="269" y="1676"/>
                        <a:pt x="269" y="1676"/>
                        <a:pt x="269" y="1676"/>
                      </a:cubicBezTo>
                      <a:cubicBezTo>
                        <a:pt x="269" y="1668"/>
                        <a:pt x="277" y="1645"/>
                        <a:pt x="277" y="1613"/>
                      </a:cubicBezTo>
                      <a:cubicBezTo>
                        <a:pt x="277" y="1605"/>
                        <a:pt x="277" y="1597"/>
                        <a:pt x="284" y="1589"/>
                      </a:cubicBezTo>
                      <a:cubicBezTo>
                        <a:pt x="284" y="1581"/>
                        <a:pt x="300" y="1581"/>
                        <a:pt x="308" y="1581"/>
                      </a:cubicBezTo>
                      <a:cubicBezTo>
                        <a:pt x="308" y="1581"/>
                        <a:pt x="308" y="1581"/>
                        <a:pt x="316" y="1581"/>
                      </a:cubicBezTo>
                      <a:cubicBezTo>
                        <a:pt x="316" y="1581"/>
                        <a:pt x="324" y="1581"/>
                        <a:pt x="332" y="1581"/>
                      </a:cubicBezTo>
                      <a:cubicBezTo>
                        <a:pt x="340" y="1565"/>
                        <a:pt x="340" y="1526"/>
                        <a:pt x="340" y="1510"/>
                      </a:cubicBezTo>
                      <a:cubicBezTo>
                        <a:pt x="332" y="1479"/>
                        <a:pt x="324" y="1439"/>
                        <a:pt x="332" y="1399"/>
                      </a:cubicBezTo>
                      <a:cubicBezTo>
                        <a:pt x="340" y="1360"/>
                        <a:pt x="371" y="1328"/>
                        <a:pt x="387" y="1312"/>
                      </a:cubicBezTo>
                      <a:cubicBezTo>
                        <a:pt x="387" y="1305"/>
                        <a:pt x="387" y="1305"/>
                        <a:pt x="387" y="1305"/>
                      </a:cubicBezTo>
                      <a:cubicBezTo>
                        <a:pt x="403" y="1289"/>
                        <a:pt x="419" y="1241"/>
                        <a:pt x="419" y="1194"/>
                      </a:cubicBezTo>
                      <a:cubicBezTo>
                        <a:pt x="411" y="1186"/>
                        <a:pt x="411" y="1178"/>
                        <a:pt x="411" y="1178"/>
                      </a:cubicBezTo>
                      <a:cubicBezTo>
                        <a:pt x="403" y="1178"/>
                        <a:pt x="403" y="1178"/>
                        <a:pt x="395" y="1186"/>
                      </a:cubicBezTo>
                      <a:cubicBezTo>
                        <a:pt x="387" y="1194"/>
                        <a:pt x="371" y="1194"/>
                        <a:pt x="364" y="1194"/>
                      </a:cubicBezTo>
                      <a:cubicBezTo>
                        <a:pt x="355" y="1194"/>
                        <a:pt x="355" y="1194"/>
                        <a:pt x="355" y="1194"/>
                      </a:cubicBezTo>
                      <a:cubicBezTo>
                        <a:pt x="332" y="1194"/>
                        <a:pt x="324" y="1178"/>
                        <a:pt x="316" y="1162"/>
                      </a:cubicBezTo>
                      <a:cubicBezTo>
                        <a:pt x="308" y="1146"/>
                        <a:pt x="292" y="1123"/>
                        <a:pt x="269" y="1115"/>
                      </a:cubicBezTo>
                      <a:cubicBezTo>
                        <a:pt x="245" y="1091"/>
                        <a:pt x="245" y="1083"/>
                        <a:pt x="245" y="1068"/>
                      </a:cubicBezTo>
                      <a:cubicBezTo>
                        <a:pt x="253" y="1052"/>
                        <a:pt x="253" y="1044"/>
                        <a:pt x="253" y="1028"/>
                      </a:cubicBezTo>
                      <a:cubicBezTo>
                        <a:pt x="245" y="988"/>
                        <a:pt x="237" y="988"/>
                        <a:pt x="213" y="973"/>
                      </a:cubicBezTo>
                      <a:cubicBezTo>
                        <a:pt x="205" y="965"/>
                        <a:pt x="205" y="965"/>
                        <a:pt x="197" y="957"/>
                      </a:cubicBezTo>
                      <a:cubicBezTo>
                        <a:pt x="166" y="941"/>
                        <a:pt x="166" y="917"/>
                        <a:pt x="174" y="901"/>
                      </a:cubicBezTo>
                      <a:cubicBezTo>
                        <a:pt x="174" y="886"/>
                        <a:pt x="174" y="870"/>
                        <a:pt x="174" y="862"/>
                      </a:cubicBezTo>
                      <a:cubicBezTo>
                        <a:pt x="166" y="838"/>
                        <a:pt x="158" y="838"/>
                        <a:pt x="142" y="830"/>
                      </a:cubicBezTo>
                      <a:cubicBezTo>
                        <a:pt x="134" y="830"/>
                        <a:pt x="118" y="822"/>
                        <a:pt x="111" y="815"/>
                      </a:cubicBezTo>
                      <a:cubicBezTo>
                        <a:pt x="102" y="806"/>
                        <a:pt x="95" y="799"/>
                        <a:pt x="95" y="791"/>
                      </a:cubicBezTo>
                      <a:cubicBezTo>
                        <a:pt x="79" y="783"/>
                        <a:pt x="63" y="767"/>
                        <a:pt x="63" y="743"/>
                      </a:cubicBezTo>
                      <a:cubicBezTo>
                        <a:pt x="63" y="728"/>
                        <a:pt x="71" y="720"/>
                        <a:pt x="71" y="704"/>
                      </a:cubicBezTo>
                      <a:cubicBezTo>
                        <a:pt x="79" y="680"/>
                        <a:pt x="79" y="664"/>
                        <a:pt x="79" y="641"/>
                      </a:cubicBezTo>
                      <a:cubicBezTo>
                        <a:pt x="79" y="617"/>
                        <a:pt x="55" y="577"/>
                        <a:pt x="31" y="546"/>
                      </a:cubicBezTo>
                      <a:cubicBezTo>
                        <a:pt x="24" y="522"/>
                        <a:pt x="8" y="506"/>
                        <a:pt x="8" y="490"/>
                      </a:cubicBezTo>
                      <a:cubicBezTo>
                        <a:pt x="0" y="475"/>
                        <a:pt x="8" y="451"/>
                        <a:pt x="8" y="427"/>
                      </a:cubicBezTo>
                      <a:cubicBezTo>
                        <a:pt x="16" y="419"/>
                        <a:pt x="16" y="403"/>
                        <a:pt x="16" y="395"/>
                      </a:cubicBezTo>
                      <a:cubicBezTo>
                        <a:pt x="24" y="364"/>
                        <a:pt x="39" y="277"/>
                        <a:pt x="55" y="237"/>
                      </a:cubicBezTo>
                      <a:cubicBezTo>
                        <a:pt x="71" y="198"/>
                        <a:pt x="71" y="95"/>
                        <a:pt x="71" y="71"/>
                      </a:cubicBezTo>
                      <a:cubicBezTo>
                        <a:pt x="71" y="56"/>
                        <a:pt x="79" y="32"/>
                        <a:pt x="79" y="8"/>
                      </a:cubicBezTo>
                      <a:cubicBezTo>
                        <a:pt x="79" y="0"/>
                        <a:pt x="79" y="0"/>
                        <a:pt x="79" y="0"/>
                      </a:cubicBezTo>
                      <a:cubicBezTo>
                        <a:pt x="87" y="8"/>
                        <a:pt x="87" y="8"/>
                        <a:pt x="87" y="8"/>
                      </a:cubicBezTo>
                      <a:cubicBezTo>
                        <a:pt x="1391" y="261"/>
                        <a:pt x="2656" y="443"/>
                        <a:pt x="3842" y="530"/>
                      </a:cubicBezTo>
                      <a:cubicBezTo>
                        <a:pt x="3850" y="530"/>
                        <a:pt x="3850" y="530"/>
                        <a:pt x="3850" y="530"/>
                      </a:cubicBezTo>
                      <a:cubicBezTo>
                        <a:pt x="3707" y="2388"/>
                        <a:pt x="3707" y="2388"/>
                        <a:pt x="3707" y="2388"/>
                      </a:cubicBezTo>
                      <a:cubicBezTo>
                        <a:pt x="3700" y="2388"/>
                        <a:pt x="3700" y="2388"/>
                        <a:pt x="3700" y="2388"/>
                      </a:cubicBezTo>
                      <a:cubicBezTo>
                        <a:pt x="3692" y="2388"/>
                        <a:pt x="3668" y="2396"/>
                        <a:pt x="3644" y="2396"/>
                      </a:cubicBezTo>
                      <a:close/>
                      <a:moveTo>
                        <a:pt x="1391" y="2143"/>
                      </a:moveTo>
                      <a:lnTo>
                        <a:pt x="1391" y="2143"/>
                      </a:lnTo>
                      <a:cubicBezTo>
                        <a:pt x="1391" y="2143"/>
                        <a:pt x="1447" y="2150"/>
                        <a:pt x="1565" y="2158"/>
                      </a:cubicBezTo>
                      <a:cubicBezTo>
                        <a:pt x="2047" y="2222"/>
                        <a:pt x="3328" y="2388"/>
                        <a:pt x="3644" y="2388"/>
                      </a:cubicBezTo>
                      <a:cubicBezTo>
                        <a:pt x="3668" y="2388"/>
                        <a:pt x="3684" y="2380"/>
                        <a:pt x="3700" y="2380"/>
                      </a:cubicBezTo>
                      <a:cubicBezTo>
                        <a:pt x="3842" y="538"/>
                        <a:pt x="3842" y="538"/>
                        <a:pt x="3842" y="538"/>
                      </a:cubicBezTo>
                      <a:cubicBezTo>
                        <a:pt x="2656" y="451"/>
                        <a:pt x="1391" y="269"/>
                        <a:pt x="87" y="16"/>
                      </a:cubicBezTo>
                      <a:cubicBezTo>
                        <a:pt x="79" y="32"/>
                        <a:pt x="79" y="63"/>
                        <a:pt x="79" y="71"/>
                      </a:cubicBezTo>
                      <a:cubicBezTo>
                        <a:pt x="79" y="103"/>
                        <a:pt x="79" y="198"/>
                        <a:pt x="63" y="237"/>
                      </a:cubicBezTo>
                      <a:cubicBezTo>
                        <a:pt x="47" y="277"/>
                        <a:pt x="31" y="364"/>
                        <a:pt x="24" y="395"/>
                      </a:cubicBezTo>
                      <a:cubicBezTo>
                        <a:pt x="24" y="403"/>
                        <a:pt x="24" y="419"/>
                        <a:pt x="16" y="427"/>
                      </a:cubicBezTo>
                      <a:cubicBezTo>
                        <a:pt x="8" y="451"/>
                        <a:pt x="8" y="467"/>
                        <a:pt x="16" y="490"/>
                      </a:cubicBezTo>
                      <a:cubicBezTo>
                        <a:pt x="16" y="506"/>
                        <a:pt x="31" y="522"/>
                        <a:pt x="39" y="538"/>
                      </a:cubicBezTo>
                      <a:cubicBezTo>
                        <a:pt x="63" y="577"/>
                        <a:pt x="87" y="617"/>
                        <a:pt x="87" y="641"/>
                      </a:cubicBezTo>
                      <a:cubicBezTo>
                        <a:pt x="87" y="664"/>
                        <a:pt x="87" y="680"/>
                        <a:pt x="79" y="704"/>
                      </a:cubicBezTo>
                      <a:cubicBezTo>
                        <a:pt x="71" y="720"/>
                        <a:pt x="71" y="735"/>
                        <a:pt x="71" y="743"/>
                      </a:cubicBezTo>
                      <a:cubicBezTo>
                        <a:pt x="71" y="767"/>
                        <a:pt x="79" y="775"/>
                        <a:pt x="95" y="791"/>
                      </a:cubicBezTo>
                      <a:cubicBezTo>
                        <a:pt x="102" y="791"/>
                        <a:pt x="111" y="799"/>
                        <a:pt x="118" y="806"/>
                      </a:cubicBezTo>
                      <a:cubicBezTo>
                        <a:pt x="126" y="822"/>
                        <a:pt x="134" y="822"/>
                        <a:pt x="142" y="822"/>
                      </a:cubicBezTo>
                      <a:cubicBezTo>
                        <a:pt x="158" y="830"/>
                        <a:pt x="174" y="830"/>
                        <a:pt x="182" y="862"/>
                      </a:cubicBezTo>
                      <a:cubicBezTo>
                        <a:pt x="182" y="870"/>
                        <a:pt x="182" y="886"/>
                        <a:pt x="182" y="901"/>
                      </a:cubicBezTo>
                      <a:cubicBezTo>
                        <a:pt x="174" y="917"/>
                        <a:pt x="174" y="941"/>
                        <a:pt x="197" y="949"/>
                      </a:cubicBezTo>
                      <a:cubicBezTo>
                        <a:pt x="205" y="957"/>
                        <a:pt x="213" y="957"/>
                        <a:pt x="221" y="965"/>
                      </a:cubicBezTo>
                      <a:cubicBezTo>
                        <a:pt x="245" y="981"/>
                        <a:pt x="253" y="988"/>
                        <a:pt x="261" y="1028"/>
                      </a:cubicBezTo>
                      <a:cubicBezTo>
                        <a:pt x="261" y="1044"/>
                        <a:pt x="261" y="1059"/>
                        <a:pt x="253" y="1068"/>
                      </a:cubicBezTo>
                      <a:cubicBezTo>
                        <a:pt x="253" y="1083"/>
                        <a:pt x="253" y="1083"/>
                        <a:pt x="277" y="1107"/>
                      </a:cubicBezTo>
                      <a:cubicBezTo>
                        <a:pt x="300" y="1123"/>
                        <a:pt x="308" y="1139"/>
                        <a:pt x="324" y="1154"/>
                      </a:cubicBezTo>
                      <a:cubicBezTo>
                        <a:pt x="332" y="1170"/>
                        <a:pt x="340" y="1186"/>
                        <a:pt x="355" y="1186"/>
                      </a:cubicBezTo>
                      <a:cubicBezTo>
                        <a:pt x="355" y="1194"/>
                        <a:pt x="355" y="1194"/>
                        <a:pt x="364" y="1194"/>
                      </a:cubicBezTo>
                      <a:cubicBezTo>
                        <a:pt x="371" y="1194"/>
                        <a:pt x="379" y="1186"/>
                        <a:pt x="387" y="1178"/>
                      </a:cubicBezTo>
                      <a:cubicBezTo>
                        <a:pt x="395" y="1178"/>
                        <a:pt x="403" y="1170"/>
                        <a:pt x="411" y="1170"/>
                      </a:cubicBezTo>
                      <a:cubicBezTo>
                        <a:pt x="419" y="1170"/>
                        <a:pt x="419" y="1186"/>
                        <a:pt x="419" y="1194"/>
                      </a:cubicBezTo>
                      <a:cubicBezTo>
                        <a:pt x="427" y="1233"/>
                        <a:pt x="411" y="1289"/>
                        <a:pt x="395" y="1312"/>
                      </a:cubicBezTo>
                      <a:cubicBezTo>
                        <a:pt x="387" y="1312"/>
                        <a:pt x="387" y="1312"/>
                        <a:pt x="387" y="1312"/>
                      </a:cubicBezTo>
                      <a:cubicBezTo>
                        <a:pt x="371" y="1336"/>
                        <a:pt x="348" y="1368"/>
                        <a:pt x="340" y="1399"/>
                      </a:cubicBezTo>
                      <a:cubicBezTo>
                        <a:pt x="332" y="1439"/>
                        <a:pt x="340" y="1479"/>
                        <a:pt x="348" y="1502"/>
                      </a:cubicBezTo>
                      <a:cubicBezTo>
                        <a:pt x="348" y="1526"/>
                        <a:pt x="348" y="1565"/>
                        <a:pt x="332" y="1581"/>
                      </a:cubicBezTo>
                      <a:cubicBezTo>
                        <a:pt x="332" y="1589"/>
                        <a:pt x="324" y="1589"/>
                        <a:pt x="324" y="1589"/>
                      </a:cubicBezTo>
                      <a:cubicBezTo>
                        <a:pt x="316" y="1589"/>
                        <a:pt x="316" y="1589"/>
                        <a:pt x="316" y="1589"/>
                      </a:cubicBezTo>
                      <a:cubicBezTo>
                        <a:pt x="308" y="1589"/>
                        <a:pt x="308" y="1589"/>
                        <a:pt x="308" y="1589"/>
                      </a:cubicBezTo>
                      <a:cubicBezTo>
                        <a:pt x="300" y="1589"/>
                        <a:pt x="292" y="1589"/>
                        <a:pt x="284" y="1597"/>
                      </a:cubicBezTo>
                      <a:cubicBezTo>
                        <a:pt x="284" y="1597"/>
                        <a:pt x="284" y="1605"/>
                        <a:pt x="284" y="1613"/>
                      </a:cubicBezTo>
                      <a:cubicBezTo>
                        <a:pt x="284" y="1645"/>
                        <a:pt x="277" y="1668"/>
                        <a:pt x="269" y="1684"/>
                      </a:cubicBezTo>
                      <a:lnTo>
                        <a:pt x="269" y="1684"/>
                      </a:lnTo>
                      <a:cubicBezTo>
                        <a:pt x="269" y="1692"/>
                        <a:pt x="269" y="1692"/>
                        <a:pt x="277" y="1692"/>
                      </a:cubicBezTo>
                      <a:cubicBezTo>
                        <a:pt x="284" y="1700"/>
                        <a:pt x="292" y="1700"/>
                        <a:pt x="308" y="1708"/>
                      </a:cubicBezTo>
                      <a:cubicBezTo>
                        <a:pt x="316" y="1716"/>
                        <a:pt x="316" y="1723"/>
                        <a:pt x="316" y="1723"/>
                      </a:cubicBezTo>
                      <a:cubicBezTo>
                        <a:pt x="316" y="1732"/>
                        <a:pt x="316" y="1732"/>
                        <a:pt x="316" y="1739"/>
                      </a:cubicBezTo>
                      <a:cubicBezTo>
                        <a:pt x="316" y="1732"/>
                        <a:pt x="324" y="1732"/>
                        <a:pt x="332" y="1732"/>
                      </a:cubicBezTo>
                      <a:cubicBezTo>
                        <a:pt x="395" y="1723"/>
                        <a:pt x="411" y="1716"/>
                        <a:pt x="435" y="1692"/>
                      </a:cubicBezTo>
                      <a:cubicBezTo>
                        <a:pt x="450" y="1676"/>
                        <a:pt x="482" y="1660"/>
                        <a:pt x="498" y="1660"/>
                      </a:cubicBezTo>
                      <a:cubicBezTo>
                        <a:pt x="506" y="1660"/>
                        <a:pt x="522" y="1668"/>
                        <a:pt x="522" y="1684"/>
                      </a:cubicBezTo>
                      <a:cubicBezTo>
                        <a:pt x="522" y="1708"/>
                        <a:pt x="522" y="1723"/>
                        <a:pt x="514" y="1739"/>
                      </a:cubicBezTo>
                      <a:cubicBezTo>
                        <a:pt x="506" y="1755"/>
                        <a:pt x="506" y="1779"/>
                        <a:pt x="514" y="1795"/>
                      </a:cubicBezTo>
                      <a:cubicBezTo>
                        <a:pt x="514" y="1803"/>
                        <a:pt x="514" y="1803"/>
                        <a:pt x="514" y="1810"/>
                      </a:cubicBezTo>
                      <a:cubicBezTo>
                        <a:pt x="529" y="1842"/>
                        <a:pt x="537" y="1866"/>
                        <a:pt x="561" y="1898"/>
                      </a:cubicBezTo>
                      <a:cubicBezTo>
                        <a:pt x="593" y="1937"/>
                        <a:pt x="593" y="1976"/>
                        <a:pt x="585" y="2024"/>
                      </a:cubicBezTo>
                      <a:cubicBezTo>
                        <a:pt x="577" y="2032"/>
                        <a:pt x="577" y="2040"/>
                        <a:pt x="569" y="2048"/>
                      </a:cubicBezTo>
                      <a:cubicBezTo>
                        <a:pt x="569" y="2063"/>
                        <a:pt x="561" y="2071"/>
                        <a:pt x="561" y="2079"/>
                      </a:cubicBezTo>
                      <a:cubicBezTo>
                        <a:pt x="569" y="2087"/>
                        <a:pt x="577" y="2095"/>
                        <a:pt x="601" y="2095"/>
                      </a:cubicBezTo>
                      <a:cubicBezTo>
                        <a:pt x="656" y="2111"/>
                        <a:pt x="672" y="2127"/>
                        <a:pt x="672" y="2174"/>
                      </a:cubicBezTo>
                      <a:cubicBezTo>
                        <a:pt x="672" y="2214"/>
                        <a:pt x="695" y="2277"/>
                        <a:pt x="703" y="2293"/>
                      </a:cubicBezTo>
                      <a:cubicBezTo>
                        <a:pt x="711" y="2300"/>
                        <a:pt x="711" y="2309"/>
                        <a:pt x="711" y="2316"/>
                      </a:cubicBezTo>
                      <a:cubicBezTo>
                        <a:pt x="719" y="2324"/>
                        <a:pt x="719" y="2332"/>
                        <a:pt x="727" y="2332"/>
                      </a:cubicBezTo>
                      <a:cubicBezTo>
                        <a:pt x="727" y="2332"/>
                        <a:pt x="727" y="2332"/>
                        <a:pt x="735" y="2324"/>
                      </a:cubicBezTo>
                      <a:cubicBezTo>
                        <a:pt x="743" y="2316"/>
                        <a:pt x="743" y="2309"/>
                        <a:pt x="743" y="2309"/>
                      </a:cubicBezTo>
                      <a:cubicBezTo>
                        <a:pt x="759" y="2285"/>
                        <a:pt x="767" y="2277"/>
                        <a:pt x="790" y="2285"/>
                      </a:cubicBezTo>
                      <a:cubicBezTo>
                        <a:pt x="806" y="2293"/>
                        <a:pt x="814" y="2293"/>
                        <a:pt x="822" y="2300"/>
                      </a:cubicBezTo>
                      <a:cubicBezTo>
                        <a:pt x="838" y="2309"/>
                        <a:pt x="846" y="2309"/>
                        <a:pt x="861" y="2309"/>
                      </a:cubicBezTo>
                      <a:cubicBezTo>
                        <a:pt x="877" y="2316"/>
                        <a:pt x="885" y="2300"/>
                        <a:pt x="901" y="2293"/>
                      </a:cubicBezTo>
                      <a:cubicBezTo>
                        <a:pt x="901" y="2293"/>
                        <a:pt x="909" y="2285"/>
                        <a:pt x="917" y="2285"/>
                      </a:cubicBezTo>
                      <a:lnTo>
                        <a:pt x="917" y="2285"/>
                      </a:lnTo>
                      <a:cubicBezTo>
                        <a:pt x="925" y="2277"/>
                        <a:pt x="933" y="2277"/>
                        <a:pt x="948" y="2277"/>
                      </a:cubicBezTo>
                      <a:cubicBezTo>
                        <a:pt x="956" y="2277"/>
                        <a:pt x="972" y="2277"/>
                        <a:pt x="988" y="2293"/>
                      </a:cubicBezTo>
                      <a:cubicBezTo>
                        <a:pt x="1012" y="2309"/>
                        <a:pt x="1028" y="2316"/>
                        <a:pt x="1051" y="2316"/>
                      </a:cubicBezTo>
                      <a:cubicBezTo>
                        <a:pt x="1059" y="2316"/>
                        <a:pt x="1059" y="2316"/>
                        <a:pt x="1067" y="2316"/>
                      </a:cubicBezTo>
                      <a:cubicBezTo>
                        <a:pt x="1083" y="2309"/>
                        <a:pt x="1091" y="2309"/>
                        <a:pt x="1091" y="2309"/>
                      </a:cubicBezTo>
                      <a:cubicBezTo>
                        <a:pt x="1091" y="2300"/>
                        <a:pt x="1099" y="2300"/>
                        <a:pt x="1099" y="2300"/>
                      </a:cubicBezTo>
                      <a:cubicBezTo>
                        <a:pt x="1107" y="2300"/>
                        <a:pt x="1114" y="2300"/>
                        <a:pt x="1122" y="2309"/>
                      </a:cubicBezTo>
                      <a:cubicBezTo>
                        <a:pt x="1146" y="2324"/>
                        <a:pt x="1138" y="2340"/>
                        <a:pt x="1138" y="2348"/>
                      </a:cubicBezTo>
                      <a:cubicBezTo>
                        <a:pt x="1146" y="2348"/>
                        <a:pt x="1146" y="2340"/>
                        <a:pt x="1154" y="2332"/>
                      </a:cubicBezTo>
                      <a:cubicBezTo>
                        <a:pt x="1178" y="2316"/>
                        <a:pt x="1186" y="2285"/>
                        <a:pt x="1194" y="2269"/>
                      </a:cubicBezTo>
                      <a:cubicBezTo>
                        <a:pt x="1201" y="2245"/>
                        <a:pt x="1209" y="2237"/>
                        <a:pt x="1217" y="2237"/>
                      </a:cubicBezTo>
                      <a:cubicBezTo>
                        <a:pt x="1225" y="2237"/>
                        <a:pt x="1225" y="2237"/>
                        <a:pt x="1225" y="2237"/>
                      </a:cubicBezTo>
                      <a:cubicBezTo>
                        <a:pt x="1233" y="2237"/>
                        <a:pt x="1241" y="2245"/>
                        <a:pt x="1241" y="2245"/>
                      </a:cubicBezTo>
                      <a:cubicBezTo>
                        <a:pt x="1272" y="2261"/>
                        <a:pt x="1288" y="2269"/>
                        <a:pt x="1296" y="2309"/>
                      </a:cubicBezTo>
                      <a:cubicBezTo>
                        <a:pt x="1304" y="2340"/>
                        <a:pt x="1312" y="2356"/>
                        <a:pt x="1336" y="2364"/>
                      </a:cubicBezTo>
                      <a:cubicBezTo>
                        <a:pt x="1360" y="2190"/>
                        <a:pt x="1360" y="2190"/>
                        <a:pt x="1360" y="2190"/>
                      </a:cubicBezTo>
                      <a:cubicBezTo>
                        <a:pt x="1360" y="2182"/>
                        <a:pt x="1367" y="2143"/>
                        <a:pt x="1391" y="21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0" name="Freeform 289">
                  <a:extLst>
                    <a:ext uri="{FF2B5EF4-FFF2-40B4-BE49-F238E27FC236}">
                      <a16:creationId xmlns:a16="http://schemas.microsoft.com/office/drawing/2014/main" id="{14D47CF1-E40C-7B45-A961-7B21218B7A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65059" y="4500772"/>
                  <a:ext cx="1382306" cy="1127183"/>
                </a:xfrm>
                <a:custGeom>
                  <a:avLst/>
                  <a:gdLst>
                    <a:gd name="T0" fmla="*/ 316 w 2626"/>
                    <a:gd name="T1" fmla="*/ 0 h 2143"/>
                    <a:gd name="T2" fmla="*/ 316 w 2626"/>
                    <a:gd name="T3" fmla="*/ 0 h 2143"/>
                    <a:gd name="T4" fmla="*/ 292 w 2626"/>
                    <a:gd name="T5" fmla="*/ 47 h 2143"/>
                    <a:gd name="T6" fmla="*/ 71 w 2626"/>
                    <a:gd name="T7" fmla="*/ 1407 h 2143"/>
                    <a:gd name="T8" fmla="*/ 0 w 2626"/>
                    <a:gd name="T9" fmla="*/ 1857 h 2143"/>
                    <a:gd name="T10" fmla="*/ 696 w 2626"/>
                    <a:gd name="T11" fmla="*/ 1944 h 2143"/>
                    <a:gd name="T12" fmla="*/ 719 w 2626"/>
                    <a:gd name="T13" fmla="*/ 1968 h 2143"/>
                    <a:gd name="T14" fmla="*/ 719 w 2626"/>
                    <a:gd name="T15" fmla="*/ 1944 h 2143"/>
                    <a:gd name="T16" fmla="*/ 2498 w 2626"/>
                    <a:gd name="T17" fmla="*/ 2142 h 2143"/>
                    <a:gd name="T18" fmla="*/ 2625 w 2626"/>
                    <a:gd name="T19" fmla="*/ 245 h 2143"/>
                    <a:gd name="T20" fmla="*/ 316 w 2626"/>
                    <a:gd name="T21" fmla="*/ 0 h 2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26" h="2143">
                      <a:moveTo>
                        <a:pt x="316" y="0"/>
                      </a:moveTo>
                      <a:lnTo>
                        <a:pt x="316" y="0"/>
                      </a:lnTo>
                      <a:cubicBezTo>
                        <a:pt x="292" y="0"/>
                        <a:pt x="292" y="47"/>
                        <a:pt x="292" y="47"/>
                      </a:cubicBezTo>
                      <a:cubicBezTo>
                        <a:pt x="71" y="1407"/>
                        <a:pt x="71" y="1407"/>
                        <a:pt x="71" y="1407"/>
                      </a:cubicBezTo>
                      <a:cubicBezTo>
                        <a:pt x="0" y="1857"/>
                        <a:pt x="0" y="1857"/>
                        <a:pt x="0" y="1857"/>
                      </a:cubicBezTo>
                      <a:cubicBezTo>
                        <a:pt x="696" y="1944"/>
                        <a:pt x="696" y="1944"/>
                        <a:pt x="696" y="1944"/>
                      </a:cubicBezTo>
                      <a:cubicBezTo>
                        <a:pt x="719" y="1968"/>
                        <a:pt x="719" y="1968"/>
                        <a:pt x="719" y="1968"/>
                      </a:cubicBezTo>
                      <a:cubicBezTo>
                        <a:pt x="719" y="1944"/>
                        <a:pt x="719" y="1944"/>
                        <a:pt x="719" y="1944"/>
                      </a:cubicBezTo>
                      <a:cubicBezTo>
                        <a:pt x="719" y="1944"/>
                        <a:pt x="1771" y="2087"/>
                        <a:pt x="2498" y="2142"/>
                      </a:cubicBezTo>
                      <a:cubicBezTo>
                        <a:pt x="2625" y="245"/>
                        <a:pt x="2625" y="245"/>
                        <a:pt x="2625" y="245"/>
                      </a:cubicBezTo>
                      <a:cubicBezTo>
                        <a:pt x="2411" y="276"/>
                        <a:pt x="340" y="0"/>
                        <a:pt x="31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1" name="Freeform 290">
                  <a:extLst>
                    <a:ext uri="{FF2B5EF4-FFF2-40B4-BE49-F238E27FC236}">
                      <a16:creationId xmlns:a16="http://schemas.microsoft.com/office/drawing/2014/main" id="{1AB7D827-53A0-134F-BF56-765BF6754D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65059" y="4500772"/>
                  <a:ext cx="1384626" cy="1131821"/>
                </a:xfrm>
                <a:custGeom>
                  <a:avLst/>
                  <a:gdLst>
                    <a:gd name="T0" fmla="*/ 2498 w 2633"/>
                    <a:gd name="T1" fmla="*/ 2150 h 2151"/>
                    <a:gd name="T2" fmla="*/ 2498 w 2633"/>
                    <a:gd name="T3" fmla="*/ 2150 h 2151"/>
                    <a:gd name="T4" fmla="*/ 2498 w 2633"/>
                    <a:gd name="T5" fmla="*/ 2150 h 2151"/>
                    <a:gd name="T6" fmla="*/ 719 w 2633"/>
                    <a:gd name="T7" fmla="*/ 1944 h 2151"/>
                    <a:gd name="T8" fmla="*/ 719 w 2633"/>
                    <a:gd name="T9" fmla="*/ 1976 h 2151"/>
                    <a:gd name="T10" fmla="*/ 696 w 2633"/>
                    <a:gd name="T11" fmla="*/ 1944 h 2151"/>
                    <a:gd name="T12" fmla="*/ 0 w 2633"/>
                    <a:gd name="T13" fmla="*/ 1865 h 2151"/>
                    <a:gd name="T14" fmla="*/ 63 w 2633"/>
                    <a:gd name="T15" fmla="*/ 1407 h 2151"/>
                    <a:gd name="T16" fmla="*/ 285 w 2633"/>
                    <a:gd name="T17" fmla="*/ 47 h 2151"/>
                    <a:gd name="T18" fmla="*/ 316 w 2633"/>
                    <a:gd name="T19" fmla="*/ 0 h 2151"/>
                    <a:gd name="T20" fmla="*/ 490 w 2633"/>
                    <a:gd name="T21" fmla="*/ 15 h 2151"/>
                    <a:gd name="T22" fmla="*/ 2569 w 2633"/>
                    <a:gd name="T23" fmla="*/ 245 h 2151"/>
                    <a:gd name="T24" fmla="*/ 2625 w 2633"/>
                    <a:gd name="T25" fmla="*/ 237 h 2151"/>
                    <a:gd name="T26" fmla="*/ 2632 w 2633"/>
                    <a:gd name="T27" fmla="*/ 237 h 2151"/>
                    <a:gd name="T28" fmla="*/ 2632 w 2633"/>
                    <a:gd name="T29" fmla="*/ 245 h 2151"/>
                    <a:gd name="T30" fmla="*/ 2498 w 2633"/>
                    <a:gd name="T31" fmla="*/ 2150 h 2151"/>
                    <a:gd name="T32" fmla="*/ 719 w 2633"/>
                    <a:gd name="T33" fmla="*/ 1936 h 2151"/>
                    <a:gd name="T34" fmla="*/ 719 w 2633"/>
                    <a:gd name="T35" fmla="*/ 1936 h 2151"/>
                    <a:gd name="T36" fmla="*/ 719 w 2633"/>
                    <a:gd name="T37" fmla="*/ 1936 h 2151"/>
                    <a:gd name="T38" fmla="*/ 2490 w 2633"/>
                    <a:gd name="T39" fmla="*/ 2142 h 2151"/>
                    <a:gd name="T40" fmla="*/ 2625 w 2633"/>
                    <a:gd name="T41" fmla="*/ 245 h 2151"/>
                    <a:gd name="T42" fmla="*/ 2569 w 2633"/>
                    <a:gd name="T43" fmla="*/ 253 h 2151"/>
                    <a:gd name="T44" fmla="*/ 490 w 2633"/>
                    <a:gd name="T45" fmla="*/ 23 h 2151"/>
                    <a:gd name="T46" fmla="*/ 316 w 2633"/>
                    <a:gd name="T47" fmla="*/ 7 h 2151"/>
                    <a:gd name="T48" fmla="*/ 292 w 2633"/>
                    <a:gd name="T49" fmla="*/ 47 h 2151"/>
                    <a:gd name="T50" fmla="*/ 71 w 2633"/>
                    <a:gd name="T51" fmla="*/ 1407 h 2151"/>
                    <a:gd name="T52" fmla="*/ 8 w 2633"/>
                    <a:gd name="T53" fmla="*/ 1857 h 2151"/>
                    <a:gd name="T54" fmla="*/ 696 w 2633"/>
                    <a:gd name="T55" fmla="*/ 1936 h 2151"/>
                    <a:gd name="T56" fmla="*/ 712 w 2633"/>
                    <a:gd name="T57" fmla="*/ 1960 h 2151"/>
                    <a:gd name="T58" fmla="*/ 719 w 2633"/>
                    <a:gd name="T59" fmla="*/ 1936 h 2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633" h="2151">
                      <a:moveTo>
                        <a:pt x="2498" y="2150"/>
                      </a:moveTo>
                      <a:lnTo>
                        <a:pt x="2498" y="2150"/>
                      </a:lnTo>
                      <a:lnTo>
                        <a:pt x="2498" y="2150"/>
                      </a:lnTo>
                      <a:cubicBezTo>
                        <a:pt x="1795" y="2087"/>
                        <a:pt x="790" y="1960"/>
                        <a:pt x="719" y="1944"/>
                      </a:cubicBezTo>
                      <a:cubicBezTo>
                        <a:pt x="719" y="1976"/>
                        <a:pt x="719" y="1976"/>
                        <a:pt x="719" y="1976"/>
                      </a:cubicBezTo>
                      <a:cubicBezTo>
                        <a:pt x="696" y="1944"/>
                        <a:pt x="696" y="1944"/>
                        <a:pt x="696" y="1944"/>
                      </a:cubicBezTo>
                      <a:cubicBezTo>
                        <a:pt x="0" y="1865"/>
                        <a:pt x="0" y="1865"/>
                        <a:pt x="0" y="1865"/>
                      </a:cubicBezTo>
                      <a:cubicBezTo>
                        <a:pt x="63" y="1407"/>
                        <a:pt x="63" y="1407"/>
                        <a:pt x="63" y="1407"/>
                      </a:cubicBezTo>
                      <a:cubicBezTo>
                        <a:pt x="285" y="47"/>
                        <a:pt x="285" y="47"/>
                        <a:pt x="285" y="47"/>
                      </a:cubicBezTo>
                      <a:cubicBezTo>
                        <a:pt x="285" y="39"/>
                        <a:pt x="292" y="0"/>
                        <a:pt x="316" y="0"/>
                      </a:cubicBezTo>
                      <a:cubicBezTo>
                        <a:pt x="316" y="0"/>
                        <a:pt x="372" y="7"/>
                        <a:pt x="490" y="15"/>
                      </a:cubicBezTo>
                      <a:cubicBezTo>
                        <a:pt x="972" y="79"/>
                        <a:pt x="2253" y="245"/>
                        <a:pt x="2569" y="245"/>
                      </a:cubicBezTo>
                      <a:cubicBezTo>
                        <a:pt x="2593" y="245"/>
                        <a:pt x="2617" y="237"/>
                        <a:pt x="2625" y="237"/>
                      </a:cubicBezTo>
                      <a:cubicBezTo>
                        <a:pt x="2632" y="237"/>
                        <a:pt x="2632" y="237"/>
                        <a:pt x="2632" y="237"/>
                      </a:cubicBezTo>
                      <a:cubicBezTo>
                        <a:pt x="2632" y="245"/>
                        <a:pt x="2632" y="245"/>
                        <a:pt x="2632" y="245"/>
                      </a:cubicBezTo>
                      <a:lnTo>
                        <a:pt x="2498" y="2150"/>
                      </a:lnTo>
                      <a:close/>
                      <a:moveTo>
                        <a:pt x="719" y="1936"/>
                      </a:moveTo>
                      <a:lnTo>
                        <a:pt x="719" y="1936"/>
                      </a:lnTo>
                      <a:lnTo>
                        <a:pt x="719" y="1936"/>
                      </a:lnTo>
                      <a:cubicBezTo>
                        <a:pt x="727" y="1944"/>
                        <a:pt x="1771" y="2079"/>
                        <a:pt x="2490" y="2142"/>
                      </a:cubicBezTo>
                      <a:cubicBezTo>
                        <a:pt x="2625" y="245"/>
                        <a:pt x="2625" y="245"/>
                        <a:pt x="2625" y="245"/>
                      </a:cubicBezTo>
                      <a:cubicBezTo>
                        <a:pt x="2609" y="245"/>
                        <a:pt x="2593" y="253"/>
                        <a:pt x="2569" y="253"/>
                      </a:cubicBezTo>
                      <a:cubicBezTo>
                        <a:pt x="2253" y="253"/>
                        <a:pt x="972" y="86"/>
                        <a:pt x="490" y="23"/>
                      </a:cubicBezTo>
                      <a:cubicBezTo>
                        <a:pt x="387" y="15"/>
                        <a:pt x="316" y="7"/>
                        <a:pt x="316" y="7"/>
                      </a:cubicBezTo>
                      <a:cubicBezTo>
                        <a:pt x="300" y="7"/>
                        <a:pt x="292" y="39"/>
                        <a:pt x="292" y="47"/>
                      </a:cubicBezTo>
                      <a:cubicBezTo>
                        <a:pt x="71" y="1407"/>
                        <a:pt x="71" y="1407"/>
                        <a:pt x="71" y="1407"/>
                      </a:cubicBezTo>
                      <a:cubicBezTo>
                        <a:pt x="8" y="1857"/>
                        <a:pt x="8" y="1857"/>
                        <a:pt x="8" y="1857"/>
                      </a:cubicBezTo>
                      <a:cubicBezTo>
                        <a:pt x="696" y="1936"/>
                        <a:pt x="696" y="1936"/>
                        <a:pt x="696" y="1936"/>
                      </a:cubicBezTo>
                      <a:cubicBezTo>
                        <a:pt x="712" y="1960"/>
                        <a:pt x="712" y="1960"/>
                        <a:pt x="712" y="1960"/>
                      </a:cubicBezTo>
                      <a:lnTo>
                        <a:pt x="719" y="1936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2" name="Freeform 307">
                  <a:extLst>
                    <a:ext uri="{FF2B5EF4-FFF2-40B4-BE49-F238E27FC236}">
                      <a16:creationId xmlns:a16="http://schemas.microsoft.com/office/drawing/2014/main" id="{EE43F33A-000E-CB46-81E3-ACFF34C62C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61281" y="3651906"/>
                  <a:ext cx="1301131" cy="807118"/>
                </a:xfrm>
                <a:custGeom>
                  <a:avLst/>
                  <a:gdLst>
                    <a:gd name="T0" fmla="*/ 2466 w 2475"/>
                    <a:gd name="T1" fmla="*/ 1518 h 1534"/>
                    <a:gd name="T2" fmla="*/ 2466 w 2475"/>
                    <a:gd name="T3" fmla="*/ 1518 h 1534"/>
                    <a:gd name="T4" fmla="*/ 2466 w 2475"/>
                    <a:gd name="T5" fmla="*/ 1486 h 1534"/>
                    <a:gd name="T6" fmla="*/ 2458 w 2475"/>
                    <a:gd name="T7" fmla="*/ 1320 h 1534"/>
                    <a:gd name="T8" fmla="*/ 2411 w 2475"/>
                    <a:gd name="T9" fmla="*/ 1265 h 1534"/>
                    <a:gd name="T10" fmla="*/ 2380 w 2475"/>
                    <a:gd name="T11" fmla="*/ 1043 h 1534"/>
                    <a:gd name="T12" fmla="*/ 2372 w 2475"/>
                    <a:gd name="T13" fmla="*/ 893 h 1534"/>
                    <a:gd name="T14" fmla="*/ 2372 w 2475"/>
                    <a:gd name="T15" fmla="*/ 711 h 1534"/>
                    <a:gd name="T16" fmla="*/ 2285 w 2475"/>
                    <a:gd name="T17" fmla="*/ 466 h 1534"/>
                    <a:gd name="T18" fmla="*/ 2301 w 2475"/>
                    <a:gd name="T19" fmla="*/ 253 h 1534"/>
                    <a:gd name="T20" fmla="*/ 2285 w 2475"/>
                    <a:gd name="T21" fmla="*/ 174 h 1534"/>
                    <a:gd name="T22" fmla="*/ 2253 w 2475"/>
                    <a:gd name="T23" fmla="*/ 63 h 1534"/>
                    <a:gd name="T24" fmla="*/ 111 w 2475"/>
                    <a:gd name="T25" fmla="*/ 0 h 1534"/>
                    <a:gd name="T26" fmla="*/ 0 w 2475"/>
                    <a:gd name="T27" fmla="*/ 1423 h 1534"/>
                    <a:gd name="T28" fmla="*/ 2466 w 2475"/>
                    <a:gd name="T29" fmla="*/ 1518 h 1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75" h="1534">
                      <a:moveTo>
                        <a:pt x="2466" y="1518"/>
                      </a:moveTo>
                      <a:lnTo>
                        <a:pt x="2466" y="1518"/>
                      </a:lnTo>
                      <a:cubicBezTo>
                        <a:pt x="2466" y="1502"/>
                        <a:pt x="2474" y="1494"/>
                        <a:pt x="2466" y="1486"/>
                      </a:cubicBezTo>
                      <a:cubicBezTo>
                        <a:pt x="2458" y="1439"/>
                        <a:pt x="2474" y="1336"/>
                        <a:pt x="2458" y="1320"/>
                      </a:cubicBezTo>
                      <a:cubicBezTo>
                        <a:pt x="2443" y="1296"/>
                        <a:pt x="2411" y="1296"/>
                        <a:pt x="2411" y="1265"/>
                      </a:cubicBezTo>
                      <a:cubicBezTo>
                        <a:pt x="2411" y="1225"/>
                        <a:pt x="2380" y="1099"/>
                        <a:pt x="2380" y="1043"/>
                      </a:cubicBezTo>
                      <a:cubicBezTo>
                        <a:pt x="2380" y="996"/>
                        <a:pt x="2364" y="964"/>
                        <a:pt x="2372" y="893"/>
                      </a:cubicBezTo>
                      <a:cubicBezTo>
                        <a:pt x="2380" y="822"/>
                        <a:pt x="2396" y="743"/>
                        <a:pt x="2372" y="711"/>
                      </a:cubicBezTo>
                      <a:cubicBezTo>
                        <a:pt x="2356" y="680"/>
                        <a:pt x="2316" y="561"/>
                        <a:pt x="2285" y="466"/>
                      </a:cubicBezTo>
                      <a:cubicBezTo>
                        <a:pt x="2253" y="371"/>
                        <a:pt x="2293" y="269"/>
                        <a:pt x="2301" y="253"/>
                      </a:cubicBezTo>
                      <a:cubicBezTo>
                        <a:pt x="2309" y="229"/>
                        <a:pt x="2309" y="205"/>
                        <a:pt x="2285" y="174"/>
                      </a:cubicBezTo>
                      <a:cubicBezTo>
                        <a:pt x="2269" y="158"/>
                        <a:pt x="2253" y="103"/>
                        <a:pt x="2253" y="63"/>
                      </a:cubicBezTo>
                      <a:cubicBezTo>
                        <a:pt x="1542" y="79"/>
                        <a:pt x="814" y="55"/>
                        <a:pt x="111" y="0"/>
                      </a:cubicBezTo>
                      <a:cubicBezTo>
                        <a:pt x="0" y="1423"/>
                        <a:pt x="0" y="1423"/>
                        <a:pt x="0" y="1423"/>
                      </a:cubicBezTo>
                      <a:cubicBezTo>
                        <a:pt x="222" y="1439"/>
                        <a:pt x="1850" y="1533"/>
                        <a:pt x="2466" y="151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3" name="Freeform 308">
                  <a:extLst>
                    <a:ext uri="{FF2B5EF4-FFF2-40B4-BE49-F238E27FC236}">
                      <a16:creationId xmlns:a16="http://schemas.microsoft.com/office/drawing/2014/main" id="{81A8D0EC-6F89-224F-96C0-6C50267C5F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61281" y="3651906"/>
                  <a:ext cx="1301131" cy="802480"/>
                </a:xfrm>
                <a:custGeom>
                  <a:avLst/>
                  <a:gdLst>
                    <a:gd name="T0" fmla="*/ 2340 w 2475"/>
                    <a:gd name="T1" fmla="*/ 1526 h 1527"/>
                    <a:gd name="T2" fmla="*/ 2340 w 2475"/>
                    <a:gd name="T3" fmla="*/ 1526 h 1527"/>
                    <a:gd name="T4" fmla="*/ 2340 w 2475"/>
                    <a:gd name="T5" fmla="*/ 1526 h 1527"/>
                    <a:gd name="T6" fmla="*/ 0 w 2475"/>
                    <a:gd name="T7" fmla="*/ 1431 h 1527"/>
                    <a:gd name="T8" fmla="*/ 0 w 2475"/>
                    <a:gd name="T9" fmla="*/ 1431 h 1527"/>
                    <a:gd name="T10" fmla="*/ 111 w 2475"/>
                    <a:gd name="T11" fmla="*/ 0 h 1527"/>
                    <a:gd name="T12" fmla="*/ 111 w 2475"/>
                    <a:gd name="T13" fmla="*/ 0 h 1527"/>
                    <a:gd name="T14" fmla="*/ 1771 w 2475"/>
                    <a:gd name="T15" fmla="*/ 63 h 1527"/>
                    <a:gd name="T16" fmla="*/ 2253 w 2475"/>
                    <a:gd name="T17" fmla="*/ 55 h 1527"/>
                    <a:gd name="T18" fmla="*/ 2261 w 2475"/>
                    <a:gd name="T19" fmla="*/ 55 h 1527"/>
                    <a:gd name="T20" fmla="*/ 2261 w 2475"/>
                    <a:gd name="T21" fmla="*/ 63 h 1527"/>
                    <a:gd name="T22" fmla="*/ 2285 w 2475"/>
                    <a:gd name="T23" fmla="*/ 174 h 1527"/>
                    <a:gd name="T24" fmla="*/ 2301 w 2475"/>
                    <a:gd name="T25" fmla="*/ 253 h 1527"/>
                    <a:gd name="T26" fmla="*/ 2293 w 2475"/>
                    <a:gd name="T27" fmla="*/ 466 h 1527"/>
                    <a:gd name="T28" fmla="*/ 2380 w 2475"/>
                    <a:gd name="T29" fmla="*/ 711 h 1527"/>
                    <a:gd name="T30" fmla="*/ 2380 w 2475"/>
                    <a:gd name="T31" fmla="*/ 893 h 1527"/>
                    <a:gd name="T32" fmla="*/ 2380 w 2475"/>
                    <a:gd name="T33" fmla="*/ 988 h 1527"/>
                    <a:gd name="T34" fmla="*/ 2388 w 2475"/>
                    <a:gd name="T35" fmla="*/ 1043 h 1527"/>
                    <a:gd name="T36" fmla="*/ 2403 w 2475"/>
                    <a:gd name="T37" fmla="*/ 1170 h 1527"/>
                    <a:gd name="T38" fmla="*/ 2419 w 2475"/>
                    <a:gd name="T39" fmla="*/ 1265 h 1527"/>
                    <a:gd name="T40" fmla="*/ 2443 w 2475"/>
                    <a:gd name="T41" fmla="*/ 1304 h 1527"/>
                    <a:gd name="T42" fmla="*/ 2458 w 2475"/>
                    <a:gd name="T43" fmla="*/ 1312 h 1527"/>
                    <a:gd name="T44" fmla="*/ 2474 w 2475"/>
                    <a:gd name="T45" fmla="*/ 1407 h 1527"/>
                    <a:gd name="T46" fmla="*/ 2474 w 2475"/>
                    <a:gd name="T47" fmla="*/ 1478 h 1527"/>
                    <a:gd name="T48" fmla="*/ 2474 w 2475"/>
                    <a:gd name="T49" fmla="*/ 1518 h 1527"/>
                    <a:gd name="T50" fmla="*/ 2466 w 2475"/>
                    <a:gd name="T51" fmla="*/ 1518 h 1527"/>
                    <a:gd name="T52" fmla="*/ 2466 w 2475"/>
                    <a:gd name="T53" fmla="*/ 1518 h 1527"/>
                    <a:gd name="T54" fmla="*/ 2340 w 2475"/>
                    <a:gd name="T55" fmla="*/ 1526 h 1527"/>
                    <a:gd name="T56" fmla="*/ 8 w 2475"/>
                    <a:gd name="T57" fmla="*/ 1423 h 1527"/>
                    <a:gd name="T58" fmla="*/ 8 w 2475"/>
                    <a:gd name="T59" fmla="*/ 1423 h 1527"/>
                    <a:gd name="T60" fmla="*/ 2340 w 2475"/>
                    <a:gd name="T61" fmla="*/ 1518 h 1527"/>
                    <a:gd name="T62" fmla="*/ 2340 w 2475"/>
                    <a:gd name="T63" fmla="*/ 1518 h 1527"/>
                    <a:gd name="T64" fmla="*/ 2466 w 2475"/>
                    <a:gd name="T65" fmla="*/ 1518 h 1527"/>
                    <a:gd name="T66" fmla="*/ 2466 w 2475"/>
                    <a:gd name="T67" fmla="*/ 1486 h 1527"/>
                    <a:gd name="T68" fmla="*/ 2466 w 2475"/>
                    <a:gd name="T69" fmla="*/ 1407 h 1527"/>
                    <a:gd name="T70" fmla="*/ 2458 w 2475"/>
                    <a:gd name="T71" fmla="*/ 1320 h 1527"/>
                    <a:gd name="T72" fmla="*/ 2443 w 2475"/>
                    <a:gd name="T73" fmla="*/ 1304 h 1527"/>
                    <a:gd name="T74" fmla="*/ 2411 w 2475"/>
                    <a:gd name="T75" fmla="*/ 1265 h 1527"/>
                    <a:gd name="T76" fmla="*/ 2396 w 2475"/>
                    <a:gd name="T77" fmla="*/ 1170 h 1527"/>
                    <a:gd name="T78" fmla="*/ 2380 w 2475"/>
                    <a:gd name="T79" fmla="*/ 1043 h 1527"/>
                    <a:gd name="T80" fmla="*/ 2372 w 2475"/>
                    <a:gd name="T81" fmla="*/ 996 h 1527"/>
                    <a:gd name="T82" fmla="*/ 2372 w 2475"/>
                    <a:gd name="T83" fmla="*/ 893 h 1527"/>
                    <a:gd name="T84" fmla="*/ 2372 w 2475"/>
                    <a:gd name="T85" fmla="*/ 711 h 1527"/>
                    <a:gd name="T86" fmla="*/ 2285 w 2475"/>
                    <a:gd name="T87" fmla="*/ 466 h 1527"/>
                    <a:gd name="T88" fmla="*/ 2293 w 2475"/>
                    <a:gd name="T89" fmla="*/ 245 h 1527"/>
                    <a:gd name="T90" fmla="*/ 2285 w 2475"/>
                    <a:gd name="T91" fmla="*/ 182 h 1527"/>
                    <a:gd name="T92" fmla="*/ 2253 w 2475"/>
                    <a:gd name="T93" fmla="*/ 63 h 1527"/>
                    <a:gd name="T94" fmla="*/ 1771 w 2475"/>
                    <a:gd name="T95" fmla="*/ 71 h 1527"/>
                    <a:gd name="T96" fmla="*/ 119 w 2475"/>
                    <a:gd name="T97" fmla="*/ 8 h 1527"/>
                    <a:gd name="T98" fmla="*/ 8 w 2475"/>
                    <a:gd name="T99" fmla="*/ 1423 h 15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475" h="1527">
                      <a:moveTo>
                        <a:pt x="2340" y="1526"/>
                      </a:moveTo>
                      <a:lnTo>
                        <a:pt x="2340" y="1526"/>
                      </a:lnTo>
                      <a:lnTo>
                        <a:pt x="2340" y="1526"/>
                      </a:lnTo>
                      <a:cubicBezTo>
                        <a:pt x="1652" y="1526"/>
                        <a:pt x="174" y="1439"/>
                        <a:pt x="0" y="1431"/>
                      </a:cubicBezTo>
                      <a:lnTo>
                        <a:pt x="0" y="1431"/>
                      </a:lnTo>
                      <a:cubicBezTo>
                        <a:pt x="111" y="0"/>
                        <a:pt x="111" y="0"/>
                        <a:pt x="111" y="0"/>
                      </a:cubicBezTo>
                      <a:lnTo>
                        <a:pt x="111" y="0"/>
                      </a:lnTo>
                      <a:cubicBezTo>
                        <a:pt x="688" y="39"/>
                        <a:pt x="1249" y="63"/>
                        <a:pt x="1771" y="63"/>
                      </a:cubicBezTo>
                      <a:cubicBezTo>
                        <a:pt x="1937" y="63"/>
                        <a:pt x="2095" y="63"/>
                        <a:pt x="2253" y="55"/>
                      </a:cubicBezTo>
                      <a:cubicBezTo>
                        <a:pt x="2261" y="55"/>
                        <a:pt x="2261" y="55"/>
                        <a:pt x="2261" y="55"/>
                      </a:cubicBezTo>
                      <a:cubicBezTo>
                        <a:pt x="2261" y="63"/>
                        <a:pt x="2261" y="63"/>
                        <a:pt x="2261" y="63"/>
                      </a:cubicBezTo>
                      <a:cubicBezTo>
                        <a:pt x="2261" y="103"/>
                        <a:pt x="2269" y="158"/>
                        <a:pt x="2285" y="174"/>
                      </a:cubicBezTo>
                      <a:cubicBezTo>
                        <a:pt x="2316" y="205"/>
                        <a:pt x="2309" y="229"/>
                        <a:pt x="2301" y="253"/>
                      </a:cubicBezTo>
                      <a:cubicBezTo>
                        <a:pt x="2301" y="253"/>
                        <a:pt x="2253" y="363"/>
                        <a:pt x="2293" y="466"/>
                      </a:cubicBezTo>
                      <a:cubicBezTo>
                        <a:pt x="2316" y="553"/>
                        <a:pt x="2364" y="672"/>
                        <a:pt x="2380" y="711"/>
                      </a:cubicBezTo>
                      <a:cubicBezTo>
                        <a:pt x="2396" y="743"/>
                        <a:pt x="2388" y="822"/>
                        <a:pt x="2380" y="893"/>
                      </a:cubicBezTo>
                      <a:cubicBezTo>
                        <a:pt x="2372" y="941"/>
                        <a:pt x="2380" y="964"/>
                        <a:pt x="2380" y="988"/>
                      </a:cubicBezTo>
                      <a:cubicBezTo>
                        <a:pt x="2388" y="1012"/>
                        <a:pt x="2388" y="1028"/>
                        <a:pt x="2388" y="1043"/>
                      </a:cubicBezTo>
                      <a:cubicBezTo>
                        <a:pt x="2388" y="1075"/>
                        <a:pt x="2396" y="1122"/>
                        <a:pt x="2403" y="1170"/>
                      </a:cubicBezTo>
                      <a:cubicBezTo>
                        <a:pt x="2411" y="1209"/>
                        <a:pt x="2419" y="1241"/>
                        <a:pt x="2419" y="1265"/>
                      </a:cubicBezTo>
                      <a:cubicBezTo>
                        <a:pt x="2419" y="1288"/>
                        <a:pt x="2427" y="1296"/>
                        <a:pt x="2443" y="1304"/>
                      </a:cubicBezTo>
                      <a:cubicBezTo>
                        <a:pt x="2451" y="1304"/>
                        <a:pt x="2458" y="1312"/>
                        <a:pt x="2458" y="1312"/>
                      </a:cubicBezTo>
                      <a:cubicBezTo>
                        <a:pt x="2474" y="1328"/>
                        <a:pt x="2474" y="1359"/>
                        <a:pt x="2474" y="1407"/>
                      </a:cubicBezTo>
                      <a:cubicBezTo>
                        <a:pt x="2466" y="1431"/>
                        <a:pt x="2466" y="1462"/>
                        <a:pt x="2474" y="1478"/>
                      </a:cubicBezTo>
                      <a:cubicBezTo>
                        <a:pt x="2474" y="1494"/>
                        <a:pt x="2474" y="1502"/>
                        <a:pt x="2474" y="1518"/>
                      </a:cubicBezTo>
                      <a:cubicBezTo>
                        <a:pt x="2466" y="1518"/>
                        <a:pt x="2466" y="1518"/>
                        <a:pt x="2466" y="1518"/>
                      </a:cubicBezTo>
                      <a:lnTo>
                        <a:pt x="2466" y="1518"/>
                      </a:lnTo>
                      <a:cubicBezTo>
                        <a:pt x="2427" y="1526"/>
                        <a:pt x="2388" y="1526"/>
                        <a:pt x="2340" y="1526"/>
                      </a:cubicBezTo>
                      <a:close/>
                      <a:moveTo>
                        <a:pt x="8" y="1423"/>
                      </a:moveTo>
                      <a:lnTo>
                        <a:pt x="8" y="1423"/>
                      </a:lnTo>
                      <a:cubicBezTo>
                        <a:pt x="190" y="1431"/>
                        <a:pt x="1660" y="1518"/>
                        <a:pt x="2340" y="1518"/>
                      </a:cubicBezTo>
                      <a:lnTo>
                        <a:pt x="2340" y="1518"/>
                      </a:lnTo>
                      <a:cubicBezTo>
                        <a:pt x="2388" y="1518"/>
                        <a:pt x="2427" y="1518"/>
                        <a:pt x="2466" y="1518"/>
                      </a:cubicBezTo>
                      <a:cubicBezTo>
                        <a:pt x="2466" y="1502"/>
                        <a:pt x="2466" y="1494"/>
                        <a:pt x="2466" y="1486"/>
                      </a:cubicBezTo>
                      <a:cubicBezTo>
                        <a:pt x="2458" y="1462"/>
                        <a:pt x="2458" y="1431"/>
                        <a:pt x="2466" y="1407"/>
                      </a:cubicBezTo>
                      <a:cubicBezTo>
                        <a:pt x="2466" y="1368"/>
                        <a:pt x="2466" y="1328"/>
                        <a:pt x="2458" y="1320"/>
                      </a:cubicBezTo>
                      <a:cubicBezTo>
                        <a:pt x="2450" y="1312"/>
                        <a:pt x="2443" y="1312"/>
                        <a:pt x="2443" y="1304"/>
                      </a:cubicBezTo>
                      <a:cubicBezTo>
                        <a:pt x="2427" y="1296"/>
                        <a:pt x="2411" y="1288"/>
                        <a:pt x="2411" y="1265"/>
                      </a:cubicBezTo>
                      <a:cubicBezTo>
                        <a:pt x="2411" y="1241"/>
                        <a:pt x="2403" y="1209"/>
                        <a:pt x="2396" y="1170"/>
                      </a:cubicBezTo>
                      <a:cubicBezTo>
                        <a:pt x="2388" y="1122"/>
                        <a:pt x="2380" y="1075"/>
                        <a:pt x="2380" y="1043"/>
                      </a:cubicBezTo>
                      <a:cubicBezTo>
                        <a:pt x="2380" y="1028"/>
                        <a:pt x="2380" y="1012"/>
                        <a:pt x="2372" y="996"/>
                      </a:cubicBezTo>
                      <a:cubicBezTo>
                        <a:pt x="2372" y="964"/>
                        <a:pt x="2364" y="941"/>
                        <a:pt x="2372" y="893"/>
                      </a:cubicBezTo>
                      <a:cubicBezTo>
                        <a:pt x="2380" y="830"/>
                        <a:pt x="2388" y="743"/>
                        <a:pt x="2372" y="711"/>
                      </a:cubicBezTo>
                      <a:cubicBezTo>
                        <a:pt x="2356" y="680"/>
                        <a:pt x="2309" y="553"/>
                        <a:pt x="2285" y="466"/>
                      </a:cubicBezTo>
                      <a:cubicBezTo>
                        <a:pt x="2245" y="363"/>
                        <a:pt x="2293" y="253"/>
                        <a:pt x="2293" y="245"/>
                      </a:cubicBezTo>
                      <a:cubicBezTo>
                        <a:pt x="2309" y="221"/>
                        <a:pt x="2301" y="198"/>
                        <a:pt x="2285" y="182"/>
                      </a:cubicBezTo>
                      <a:cubicBezTo>
                        <a:pt x="2269" y="158"/>
                        <a:pt x="2253" y="103"/>
                        <a:pt x="2253" y="63"/>
                      </a:cubicBezTo>
                      <a:cubicBezTo>
                        <a:pt x="2095" y="71"/>
                        <a:pt x="1937" y="71"/>
                        <a:pt x="1771" y="71"/>
                      </a:cubicBezTo>
                      <a:cubicBezTo>
                        <a:pt x="1249" y="71"/>
                        <a:pt x="688" y="47"/>
                        <a:pt x="119" y="8"/>
                      </a:cubicBezTo>
                      <a:lnTo>
                        <a:pt x="8" y="1423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4" name="Freeform 330">
                  <a:extLst>
                    <a:ext uri="{FF2B5EF4-FFF2-40B4-BE49-F238E27FC236}">
                      <a16:creationId xmlns:a16="http://schemas.microsoft.com/office/drawing/2014/main" id="{0A4A5671-A369-AC4E-881C-E0328B7094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12576" y="4401041"/>
                  <a:ext cx="1384625" cy="911488"/>
                </a:xfrm>
                <a:custGeom>
                  <a:avLst/>
                  <a:gdLst>
                    <a:gd name="T0" fmla="*/ 1921 w 2633"/>
                    <a:gd name="T1" fmla="*/ 1470 h 1732"/>
                    <a:gd name="T2" fmla="*/ 1921 w 2633"/>
                    <a:gd name="T3" fmla="*/ 1470 h 1732"/>
                    <a:gd name="T4" fmla="*/ 1977 w 2633"/>
                    <a:gd name="T5" fmla="*/ 1518 h 1732"/>
                    <a:gd name="T6" fmla="*/ 2024 w 2633"/>
                    <a:gd name="T7" fmla="*/ 1549 h 1732"/>
                    <a:gd name="T8" fmla="*/ 2080 w 2633"/>
                    <a:gd name="T9" fmla="*/ 1581 h 1732"/>
                    <a:gd name="T10" fmla="*/ 2111 w 2633"/>
                    <a:gd name="T11" fmla="*/ 1565 h 1732"/>
                    <a:gd name="T12" fmla="*/ 2151 w 2633"/>
                    <a:gd name="T13" fmla="*/ 1533 h 1732"/>
                    <a:gd name="T14" fmla="*/ 2332 w 2633"/>
                    <a:gd name="T15" fmla="*/ 1541 h 1732"/>
                    <a:gd name="T16" fmla="*/ 2372 w 2633"/>
                    <a:gd name="T17" fmla="*/ 1573 h 1732"/>
                    <a:gd name="T18" fmla="*/ 2483 w 2633"/>
                    <a:gd name="T19" fmla="*/ 1620 h 1732"/>
                    <a:gd name="T20" fmla="*/ 2538 w 2633"/>
                    <a:gd name="T21" fmla="*/ 1668 h 1732"/>
                    <a:gd name="T22" fmla="*/ 2600 w 2633"/>
                    <a:gd name="T23" fmla="*/ 1723 h 1732"/>
                    <a:gd name="T24" fmla="*/ 2624 w 2633"/>
                    <a:gd name="T25" fmla="*/ 1723 h 1732"/>
                    <a:gd name="T26" fmla="*/ 2600 w 2633"/>
                    <a:gd name="T27" fmla="*/ 1652 h 1732"/>
                    <a:gd name="T28" fmla="*/ 2546 w 2633"/>
                    <a:gd name="T29" fmla="*/ 1565 h 1732"/>
                    <a:gd name="T30" fmla="*/ 2600 w 2633"/>
                    <a:gd name="T31" fmla="*/ 1486 h 1732"/>
                    <a:gd name="T32" fmla="*/ 2616 w 2633"/>
                    <a:gd name="T33" fmla="*/ 1415 h 1732"/>
                    <a:gd name="T34" fmla="*/ 2584 w 2633"/>
                    <a:gd name="T35" fmla="*/ 1367 h 1732"/>
                    <a:gd name="T36" fmla="*/ 2569 w 2633"/>
                    <a:gd name="T37" fmla="*/ 1320 h 1732"/>
                    <a:gd name="T38" fmla="*/ 2569 w 2633"/>
                    <a:gd name="T39" fmla="*/ 1241 h 1732"/>
                    <a:gd name="T40" fmla="*/ 2608 w 2633"/>
                    <a:gd name="T41" fmla="*/ 1225 h 1732"/>
                    <a:gd name="T42" fmla="*/ 2608 w 2633"/>
                    <a:gd name="T43" fmla="*/ 371 h 1732"/>
                    <a:gd name="T44" fmla="*/ 2553 w 2633"/>
                    <a:gd name="T45" fmla="*/ 356 h 1732"/>
                    <a:gd name="T46" fmla="*/ 2506 w 2633"/>
                    <a:gd name="T47" fmla="*/ 316 h 1732"/>
                    <a:gd name="T48" fmla="*/ 2483 w 2633"/>
                    <a:gd name="T49" fmla="*/ 261 h 1732"/>
                    <a:gd name="T50" fmla="*/ 2506 w 2633"/>
                    <a:gd name="T51" fmla="*/ 197 h 1732"/>
                    <a:gd name="T52" fmla="*/ 2561 w 2633"/>
                    <a:gd name="T53" fmla="*/ 95 h 1732"/>
                    <a:gd name="T54" fmla="*/ 95 w 2633"/>
                    <a:gd name="T55" fmla="*/ 0 h 1732"/>
                    <a:gd name="T56" fmla="*/ 64 w 2633"/>
                    <a:gd name="T57" fmla="*/ 435 h 1732"/>
                    <a:gd name="T58" fmla="*/ 0 w 2633"/>
                    <a:gd name="T59" fmla="*/ 1375 h 1732"/>
                    <a:gd name="T60" fmla="*/ 1921 w 2633"/>
                    <a:gd name="T61" fmla="*/ 1470 h 1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33" h="1732">
                      <a:moveTo>
                        <a:pt x="1921" y="1470"/>
                      </a:moveTo>
                      <a:lnTo>
                        <a:pt x="1921" y="1470"/>
                      </a:lnTo>
                      <a:cubicBezTo>
                        <a:pt x="1921" y="1470"/>
                        <a:pt x="1969" y="1494"/>
                        <a:pt x="1977" y="1518"/>
                      </a:cubicBezTo>
                      <a:cubicBezTo>
                        <a:pt x="1985" y="1533"/>
                        <a:pt x="1985" y="1549"/>
                        <a:pt x="2024" y="1549"/>
                      </a:cubicBezTo>
                      <a:cubicBezTo>
                        <a:pt x="2056" y="1557"/>
                        <a:pt x="2072" y="1573"/>
                        <a:pt x="2080" y="1581"/>
                      </a:cubicBezTo>
                      <a:cubicBezTo>
                        <a:pt x="2087" y="1597"/>
                        <a:pt x="2087" y="1589"/>
                        <a:pt x="2111" y="1565"/>
                      </a:cubicBezTo>
                      <a:cubicBezTo>
                        <a:pt x="2127" y="1541"/>
                        <a:pt x="2127" y="1526"/>
                        <a:pt x="2151" y="1533"/>
                      </a:cubicBezTo>
                      <a:cubicBezTo>
                        <a:pt x="2182" y="1533"/>
                        <a:pt x="2309" y="1518"/>
                        <a:pt x="2332" y="1541"/>
                      </a:cubicBezTo>
                      <a:cubicBezTo>
                        <a:pt x="2348" y="1557"/>
                        <a:pt x="2340" y="1573"/>
                        <a:pt x="2372" y="1573"/>
                      </a:cubicBezTo>
                      <a:cubicBezTo>
                        <a:pt x="2404" y="1573"/>
                        <a:pt x="2467" y="1597"/>
                        <a:pt x="2483" y="1620"/>
                      </a:cubicBezTo>
                      <a:cubicBezTo>
                        <a:pt x="2498" y="1644"/>
                        <a:pt x="2530" y="1668"/>
                        <a:pt x="2538" y="1668"/>
                      </a:cubicBezTo>
                      <a:cubicBezTo>
                        <a:pt x="2546" y="1668"/>
                        <a:pt x="2561" y="1731"/>
                        <a:pt x="2600" y="1723"/>
                      </a:cubicBezTo>
                      <a:cubicBezTo>
                        <a:pt x="2608" y="1723"/>
                        <a:pt x="2616" y="1723"/>
                        <a:pt x="2624" y="1723"/>
                      </a:cubicBezTo>
                      <a:cubicBezTo>
                        <a:pt x="2616" y="1707"/>
                        <a:pt x="2608" y="1684"/>
                        <a:pt x="2600" y="1652"/>
                      </a:cubicBezTo>
                      <a:cubicBezTo>
                        <a:pt x="2569" y="1597"/>
                        <a:pt x="2522" y="1613"/>
                        <a:pt x="2546" y="1565"/>
                      </a:cubicBezTo>
                      <a:cubicBezTo>
                        <a:pt x="2561" y="1526"/>
                        <a:pt x="2592" y="1541"/>
                        <a:pt x="2600" y="1486"/>
                      </a:cubicBezTo>
                      <a:cubicBezTo>
                        <a:pt x="2608" y="1439"/>
                        <a:pt x="2600" y="1439"/>
                        <a:pt x="2616" y="1415"/>
                      </a:cubicBezTo>
                      <a:cubicBezTo>
                        <a:pt x="2632" y="1391"/>
                        <a:pt x="2616" y="1383"/>
                        <a:pt x="2584" y="1367"/>
                      </a:cubicBezTo>
                      <a:cubicBezTo>
                        <a:pt x="2561" y="1352"/>
                        <a:pt x="2538" y="1336"/>
                        <a:pt x="2569" y="1320"/>
                      </a:cubicBezTo>
                      <a:cubicBezTo>
                        <a:pt x="2600" y="1304"/>
                        <a:pt x="2553" y="1265"/>
                        <a:pt x="2569" y="1241"/>
                      </a:cubicBezTo>
                      <a:cubicBezTo>
                        <a:pt x="2584" y="1217"/>
                        <a:pt x="2608" y="1225"/>
                        <a:pt x="2608" y="1225"/>
                      </a:cubicBezTo>
                      <a:cubicBezTo>
                        <a:pt x="2608" y="371"/>
                        <a:pt x="2608" y="371"/>
                        <a:pt x="2608" y="371"/>
                      </a:cubicBezTo>
                      <a:cubicBezTo>
                        <a:pt x="2608" y="371"/>
                        <a:pt x="2577" y="356"/>
                        <a:pt x="2553" y="356"/>
                      </a:cubicBezTo>
                      <a:cubicBezTo>
                        <a:pt x="2530" y="356"/>
                        <a:pt x="2506" y="347"/>
                        <a:pt x="2506" y="316"/>
                      </a:cubicBezTo>
                      <a:cubicBezTo>
                        <a:pt x="2506" y="276"/>
                        <a:pt x="2498" y="276"/>
                        <a:pt x="2483" y="261"/>
                      </a:cubicBezTo>
                      <a:cubicBezTo>
                        <a:pt x="2467" y="245"/>
                        <a:pt x="2475" y="213"/>
                        <a:pt x="2506" y="197"/>
                      </a:cubicBezTo>
                      <a:cubicBezTo>
                        <a:pt x="2530" y="190"/>
                        <a:pt x="2553" y="134"/>
                        <a:pt x="2561" y="95"/>
                      </a:cubicBezTo>
                      <a:cubicBezTo>
                        <a:pt x="1945" y="110"/>
                        <a:pt x="317" y="16"/>
                        <a:pt x="95" y="0"/>
                      </a:cubicBezTo>
                      <a:cubicBezTo>
                        <a:pt x="64" y="435"/>
                        <a:pt x="64" y="435"/>
                        <a:pt x="64" y="435"/>
                      </a:cubicBezTo>
                      <a:cubicBezTo>
                        <a:pt x="0" y="1375"/>
                        <a:pt x="0" y="1375"/>
                        <a:pt x="0" y="1375"/>
                      </a:cubicBezTo>
                      <a:cubicBezTo>
                        <a:pt x="222" y="1391"/>
                        <a:pt x="1542" y="1486"/>
                        <a:pt x="1921" y="147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5" name="Freeform 331">
                  <a:extLst>
                    <a:ext uri="{FF2B5EF4-FFF2-40B4-BE49-F238E27FC236}">
                      <a16:creationId xmlns:a16="http://schemas.microsoft.com/office/drawing/2014/main" id="{837F4EDC-6D00-A84F-B64C-C21E71DA16F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12576" y="4401041"/>
                  <a:ext cx="1384625" cy="911488"/>
                </a:xfrm>
                <a:custGeom>
                  <a:avLst/>
                  <a:gdLst>
                    <a:gd name="T0" fmla="*/ 2592 w 2633"/>
                    <a:gd name="T1" fmla="*/ 1731 h 1732"/>
                    <a:gd name="T2" fmla="*/ 2538 w 2633"/>
                    <a:gd name="T3" fmla="*/ 1668 h 1732"/>
                    <a:gd name="T4" fmla="*/ 2372 w 2633"/>
                    <a:gd name="T5" fmla="*/ 1581 h 1732"/>
                    <a:gd name="T6" fmla="*/ 2324 w 2633"/>
                    <a:gd name="T7" fmla="*/ 1541 h 1732"/>
                    <a:gd name="T8" fmla="*/ 2206 w 2633"/>
                    <a:gd name="T9" fmla="*/ 1533 h 1732"/>
                    <a:gd name="T10" fmla="*/ 2119 w 2633"/>
                    <a:gd name="T11" fmla="*/ 1557 h 1732"/>
                    <a:gd name="T12" fmla="*/ 2087 w 2633"/>
                    <a:gd name="T13" fmla="*/ 1597 h 1732"/>
                    <a:gd name="T14" fmla="*/ 2072 w 2633"/>
                    <a:gd name="T15" fmla="*/ 1581 h 1732"/>
                    <a:gd name="T16" fmla="*/ 1977 w 2633"/>
                    <a:gd name="T17" fmla="*/ 1526 h 1732"/>
                    <a:gd name="T18" fmla="*/ 1913 w 2633"/>
                    <a:gd name="T19" fmla="*/ 1470 h 1732"/>
                    <a:gd name="T20" fmla="*/ 1803 w 2633"/>
                    <a:gd name="T21" fmla="*/ 1470 h 1732"/>
                    <a:gd name="T22" fmla="*/ 0 w 2633"/>
                    <a:gd name="T23" fmla="*/ 1375 h 1732"/>
                    <a:gd name="T24" fmla="*/ 95 w 2633"/>
                    <a:gd name="T25" fmla="*/ 0 h 1732"/>
                    <a:gd name="T26" fmla="*/ 2435 w 2633"/>
                    <a:gd name="T27" fmla="*/ 95 h 1732"/>
                    <a:gd name="T28" fmla="*/ 2569 w 2633"/>
                    <a:gd name="T29" fmla="*/ 95 h 1732"/>
                    <a:gd name="T30" fmla="*/ 2506 w 2633"/>
                    <a:gd name="T31" fmla="*/ 205 h 1732"/>
                    <a:gd name="T32" fmla="*/ 2483 w 2633"/>
                    <a:gd name="T33" fmla="*/ 261 h 1732"/>
                    <a:gd name="T34" fmla="*/ 2514 w 2633"/>
                    <a:gd name="T35" fmla="*/ 316 h 1732"/>
                    <a:gd name="T36" fmla="*/ 2608 w 2633"/>
                    <a:gd name="T37" fmla="*/ 371 h 1732"/>
                    <a:gd name="T38" fmla="*/ 2608 w 2633"/>
                    <a:gd name="T39" fmla="*/ 1233 h 1732"/>
                    <a:gd name="T40" fmla="*/ 2600 w 2633"/>
                    <a:gd name="T41" fmla="*/ 1225 h 1732"/>
                    <a:gd name="T42" fmla="*/ 2577 w 2633"/>
                    <a:gd name="T43" fmla="*/ 1280 h 1732"/>
                    <a:gd name="T44" fmla="*/ 2561 w 2633"/>
                    <a:gd name="T45" fmla="*/ 1336 h 1732"/>
                    <a:gd name="T46" fmla="*/ 2592 w 2633"/>
                    <a:gd name="T47" fmla="*/ 1367 h 1732"/>
                    <a:gd name="T48" fmla="*/ 2624 w 2633"/>
                    <a:gd name="T49" fmla="*/ 1399 h 1732"/>
                    <a:gd name="T50" fmla="*/ 2608 w 2633"/>
                    <a:gd name="T51" fmla="*/ 1446 h 1732"/>
                    <a:gd name="T52" fmla="*/ 2577 w 2633"/>
                    <a:gd name="T53" fmla="*/ 1533 h 1732"/>
                    <a:gd name="T54" fmla="*/ 2561 w 2633"/>
                    <a:gd name="T55" fmla="*/ 1604 h 1732"/>
                    <a:gd name="T56" fmla="*/ 2632 w 2633"/>
                    <a:gd name="T57" fmla="*/ 1723 h 1732"/>
                    <a:gd name="T58" fmla="*/ 2624 w 2633"/>
                    <a:gd name="T59" fmla="*/ 1731 h 1732"/>
                    <a:gd name="T60" fmla="*/ 2592 w 2633"/>
                    <a:gd name="T61" fmla="*/ 1731 h 1732"/>
                    <a:gd name="T62" fmla="*/ 2261 w 2633"/>
                    <a:gd name="T63" fmla="*/ 1526 h 1732"/>
                    <a:gd name="T64" fmla="*/ 2340 w 2633"/>
                    <a:gd name="T65" fmla="*/ 1557 h 1732"/>
                    <a:gd name="T66" fmla="*/ 2483 w 2633"/>
                    <a:gd name="T67" fmla="*/ 1620 h 1732"/>
                    <a:gd name="T68" fmla="*/ 2553 w 2633"/>
                    <a:gd name="T69" fmla="*/ 1676 h 1732"/>
                    <a:gd name="T70" fmla="*/ 2600 w 2633"/>
                    <a:gd name="T71" fmla="*/ 1723 h 1732"/>
                    <a:gd name="T72" fmla="*/ 2592 w 2633"/>
                    <a:gd name="T73" fmla="*/ 1652 h 1732"/>
                    <a:gd name="T74" fmla="*/ 2538 w 2633"/>
                    <a:gd name="T75" fmla="*/ 1565 h 1732"/>
                    <a:gd name="T76" fmla="*/ 2600 w 2633"/>
                    <a:gd name="T77" fmla="*/ 1486 h 1732"/>
                    <a:gd name="T78" fmla="*/ 2608 w 2633"/>
                    <a:gd name="T79" fmla="*/ 1415 h 1732"/>
                    <a:gd name="T80" fmla="*/ 2592 w 2633"/>
                    <a:gd name="T81" fmla="*/ 1375 h 1732"/>
                    <a:gd name="T82" fmla="*/ 2577 w 2633"/>
                    <a:gd name="T83" fmla="*/ 1367 h 1732"/>
                    <a:gd name="T84" fmla="*/ 2569 w 2633"/>
                    <a:gd name="T85" fmla="*/ 1320 h 1732"/>
                    <a:gd name="T86" fmla="*/ 2569 w 2633"/>
                    <a:gd name="T87" fmla="*/ 1241 h 1732"/>
                    <a:gd name="T88" fmla="*/ 2600 w 2633"/>
                    <a:gd name="T89" fmla="*/ 371 h 1732"/>
                    <a:gd name="T90" fmla="*/ 2506 w 2633"/>
                    <a:gd name="T91" fmla="*/ 316 h 1732"/>
                    <a:gd name="T92" fmla="*/ 2483 w 2633"/>
                    <a:gd name="T93" fmla="*/ 269 h 1732"/>
                    <a:gd name="T94" fmla="*/ 2498 w 2633"/>
                    <a:gd name="T95" fmla="*/ 197 h 1732"/>
                    <a:gd name="T96" fmla="*/ 2435 w 2633"/>
                    <a:gd name="T97" fmla="*/ 103 h 1732"/>
                    <a:gd name="T98" fmla="*/ 71 w 2633"/>
                    <a:gd name="T99" fmla="*/ 435 h 1732"/>
                    <a:gd name="T100" fmla="*/ 1803 w 2633"/>
                    <a:gd name="T101" fmla="*/ 1462 h 1732"/>
                    <a:gd name="T102" fmla="*/ 1921 w 2633"/>
                    <a:gd name="T103" fmla="*/ 1462 h 1732"/>
                    <a:gd name="T104" fmla="*/ 1921 w 2633"/>
                    <a:gd name="T105" fmla="*/ 1462 h 1732"/>
                    <a:gd name="T106" fmla="*/ 1977 w 2633"/>
                    <a:gd name="T107" fmla="*/ 1518 h 1732"/>
                    <a:gd name="T108" fmla="*/ 2080 w 2633"/>
                    <a:gd name="T109" fmla="*/ 1581 h 1732"/>
                    <a:gd name="T110" fmla="*/ 2087 w 2633"/>
                    <a:gd name="T111" fmla="*/ 1589 h 1732"/>
                    <a:gd name="T112" fmla="*/ 2111 w 2633"/>
                    <a:gd name="T113" fmla="*/ 1549 h 1732"/>
                    <a:gd name="T114" fmla="*/ 2198 w 2633"/>
                    <a:gd name="T115" fmla="*/ 1526 h 1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3" h="1732">
                      <a:moveTo>
                        <a:pt x="2592" y="1731"/>
                      </a:moveTo>
                      <a:lnTo>
                        <a:pt x="2592" y="1731"/>
                      </a:lnTo>
                      <a:cubicBezTo>
                        <a:pt x="2569" y="1731"/>
                        <a:pt x="2553" y="1699"/>
                        <a:pt x="2546" y="1684"/>
                      </a:cubicBezTo>
                      <a:cubicBezTo>
                        <a:pt x="2546" y="1676"/>
                        <a:pt x="2538" y="1668"/>
                        <a:pt x="2538" y="1668"/>
                      </a:cubicBezTo>
                      <a:cubicBezTo>
                        <a:pt x="2530" y="1668"/>
                        <a:pt x="2498" y="1644"/>
                        <a:pt x="2483" y="1620"/>
                      </a:cubicBezTo>
                      <a:cubicBezTo>
                        <a:pt x="2467" y="1597"/>
                        <a:pt x="2404" y="1581"/>
                        <a:pt x="2372" y="1581"/>
                      </a:cubicBezTo>
                      <a:cubicBezTo>
                        <a:pt x="2348" y="1581"/>
                        <a:pt x="2348" y="1573"/>
                        <a:pt x="2340" y="1557"/>
                      </a:cubicBezTo>
                      <a:cubicBezTo>
                        <a:pt x="2332" y="1557"/>
                        <a:pt x="2332" y="1549"/>
                        <a:pt x="2324" y="1541"/>
                      </a:cubicBezTo>
                      <a:cubicBezTo>
                        <a:pt x="2324" y="1541"/>
                        <a:pt x="2309" y="1533"/>
                        <a:pt x="2261" y="1533"/>
                      </a:cubicBezTo>
                      <a:cubicBezTo>
                        <a:pt x="2245" y="1533"/>
                        <a:pt x="2222" y="1533"/>
                        <a:pt x="2206" y="1533"/>
                      </a:cubicBezTo>
                      <a:cubicBezTo>
                        <a:pt x="2182" y="1533"/>
                        <a:pt x="2158" y="1533"/>
                        <a:pt x="2151" y="1533"/>
                      </a:cubicBezTo>
                      <a:cubicBezTo>
                        <a:pt x="2135" y="1533"/>
                        <a:pt x="2127" y="1541"/>
                        <a:pt x="2119" y="1557"/>
                      </a:cubicBezTo>
                      <a:lnTo>
                        <a:pt x="2111" y="1565"/>
                      </a:lnTo>
                      <a:cubicBezTo>
                        <a:pt x="2095" y="1589"/>
                        <a:pt x="2095" y="1597"/>
                        <a:pt x="2087" y="1597"/>
                      </a:cubicBezTo>
                      <a:cubicBezTo>
                        <a:pt x="2080" y="1597"/>
                        <a:pt x="2080" y="1589"/>
                        <a:pt x="2080" y="1589"/>
                      </a:cubicBezTo>
                      <a:cubicBezTo>
                        <a:pt x="2080" y="1589"/>
                        <a:pt x="2072" y="1589"/>
                        <a:pt x="2072" y="1581"/>
                      </a:cubicBezTo>
                      <a:cubicBezTo>
                        <a:pt x="2064" y="1573"/>
                        <a:pt x="2048" y="1557"/>
                        <a:pt x="2016" y="1557"/>
                      </a:cubicBezTo>
                      <a:cubicBezTo>
                        <a:pt x="1985" y="1549"/>
                        <a:pt x="1977" y="1541"/>
                        <a:pt x="1977" y="1526"/>
                      </a:cubicBezTo>
                      <a:cubicBezTo>
                        <a:pt x="1969" y="1518"/>
                        <a:pt x="1969" y="1518"/>
                        <a:pt x="1969" y="1518"/>
                      </a:cubicBezTo>
                      <a:cubicBezTo>
                        <a:pt x="1961" y="1502"/>
                        <a:pt x="1921" y="1478"/>
                        <a:pt x="1913" y="1470"/>
                      </a:cubicBezTo>
                      <a:cubicBezTo>
                        <a:pt x="1890" y="1470"/>
                        <a:pt x="1850" y="1470"/>
                        <a:pt x="1803" y="1470"/>
                      </a:cubicBezTo>
                      <a:lnTo>
                        <a:pt x="1803" y="1470"/>
                      </a:lnTo>
                      <a:cubicBezTo>
                        <a:pt x="1328" y="1470"/>
                        <a:pt x="222" y="1391"/>
                        <a:pt x="0" y="1375"/>
                      </a:cubicBezTo>
                      <a:lnTo>
                        <a:pt x="0" y="1375"/>
                      </a:lnTo>
                      <a:cubicBezTo>
                        <a:pt x="64" y="435"/>
                        <a:pt x="64" y="435"/>
                        <a:pt x="64" y="435"/>
                      </a:cubicBezTo>
                      <a:cubicBezTo>
                        <a:pt x="95" y="0"/>
                        <a:pt x="95" y="0"/>
                        <a:pt x="95" y="0"/>
                      </a:cubicBezTo>
                      <a:lnTo>
                        <a:pt x="95" y="0"/>
                      </a:lnTo>
                      <a:cubicBezTo>
                        <a:pt x="269" y="8"/>
                        <a:pt x="1747" y="95"/>
                        <a:pt x="2435" y="95"/>
                      </a:cubicBezTo>
                      <a:cubicBezTo>
                        <a:pt x="2483" y="95"/>
                        <a:pt x="2522" y="95"/>
                        <a:pt x="2561" y="95"/>
                      </a:cubicBezTo>
                      <a:cubicBezTo>
                        <a:pt x="2569" y="95"/>
                        <a:pt x="2569" y="95"/>
                        <a:pt x="2569" y="95"/>
                      </a:cubicBezTo>
                      <a:lnTo>
                        <a:pt x="2569" y="95"/>
                      </a:lnTo>
                      <a:cubicBezTo>
                        <a:pt x="2553" y="142"/>
                        <a:pt x="2530" y="190"/>
                        <a:pt x="2506" y="205"/>
                      </a:cubicBezTo>
                      <a:cubicBezTo>
                        <a:pt x="2491" y="213"/>
                        <a:pt x="2483" y="221"/>
                        <a:pt x="2483" y="237"/>
                      </a:cubicBezTo>
                      <a:cubicBezTo>
                        <a:pt x="2475" y="245"/>
                        <a:pt x="2483" y="253"/>
                        <a:pt x="2483" y="261"/>
                      </a:cubicBezTo>
                      <a:cubicBezTo>
                        <a:pt x="2491" y="269"/>
                        <a:pt x="2491" y="269"/>
                        <a:pt x="2498" y="269"/>
                      </a:cubicBezTo>
                      <a:cubicBezTo>
                        <a:pt x="2506" y="276"/>
                        <a:pt x="2514" y="284"/>
                        <a:pt x="2514" y="316"/>
                      </a:cubicBezTo>
                      <a:cubicBezTo>
                        <a:pt x="2514" y="347"/>
                        <a:pt x="2530" y="347"/>
                        <a:pt x="2553" y="347"/>
                      </a:cubicBezTo>
                      <a:cubicBezTo>
                        <a:pt x="2577" y="347"/>
                        <a:pt x="2608" y="371"/>
                        <a:pt x="2608" y="371"/>
                      </a:cubicBezTo>
                      <a:lnTo>
                        <a:pt x="2608" y="371"/>
                      </a:lnTo>
                      <a:cubicBezTo>
                        <a:pt x="2608" y="1233"/>
                        <a:pt x="2608" y="1233"/>
                        <a:pt x="2608" y="1233"/>
                      </a:cubicBezTo>
                      <a:cubicBezTo>
                        <a:pt x="2600" y="1225"/>
                        <a:pt x="2600" y="1225"/>
                        <a:pt x="2600" y="1225"/>
                      </a:cubicBezTo>
                      <a:lnTo>
                        <a:pt x="2600" y="1225"/>
                      </a:lnTo>
                      <a:cubicBezTo>
                        <a:pt x="2592" y="1225"/>
                        <a:pt x="2584" y="1233"/>
                        <a:pt x="2577" y="1241"/>
                      </a:cubicBezTo>
                      <a:cubicBezTo>
                        <a:pt x="2569" y="1257"/>
                        <a:pt x="2569" y="1265"/>
                        <a:pt x="2577" y="1280"/>
                      </a:cubicBezTo>
                      <a:cubicBezTo>
                        <a:pt x="2584" y="1296"/>
                        <a:pt x="2584" y="1312"/>
                        <a:pt x="2569" y="1328"/>
                      </a:cubicBezTo>
                      <a:cubicBezTo>
                        <a:pt x="2561" y="1328"/>
                        <a:pt x="2561" y="1336"/>
                        <a:pt x="2561" y="1336"/>
                      </a:cubicBezTo>
                      <a:cubicBezTo>
                        <a:pt x="2561" y="1344"/>
                        <a:pt x="2569" y="1352"/>
                        <a:pt x="2584" y="1360"/>
                      </a:cubicBezTo>
                      <a:cubicBezTo>
                        <a:pt x="2584" y="1360"/>
                        <a:pt x="2584" y="1367"/>
                        <a:pt x="2592" y="1367"/>
                      </a:cubicBezTo>
                      <a:lnTo>
                        <a:pt x="2592" y="1367"/>
                      </a:lnTo>
                      <a:cubicBezTo>
                        <a:pt x="2608" y="1383"/>
                        <a:pt x="2624" y="1383"/>
                        <a:pt x="2624" y="1399"/>
                      </a:cubicBezTo>
                      <a:cubicBezTo>
                        <a:pt x="2624" y="1407"/>
                        <a:pt x="2624" y="1407"/>
                        <a:pt x="2616" y="1415"/>
                      </a:cubicBezTo>
                      <a:cubicBezTo>
                        <a:pt x="2608" y="1431"/>
                        <a:pt x="2608" y="1431"/>
                        <a:pt x="2608" y="1446"/>
                      </a:cubicBezTo>
                      <a:cubicBezTo>
                        <a:pt x="2608" y="1454"/>
                        <a:pt x="2608" y="1462"/>
                        <a:pt x="2608" y="1486"/>
                      </a:cubicBezTo>
                      <a:cubicBezTo>
                        <a:pt x="2600" y="1518"/>
                        <a:pt x="2584" y="1526"/>
                        <a:pt x="2577" y="1533"/>
                      </a:cubicBezTo>
                      <a:cubicBezTo>
                        <a:pt x="2561" y="1541"/>
                        <a:pt x="2553" y="1549"/>
                        <a:pt x="2546" y="1573"/>
                      </a:cubicBezTo>
                      <a:cubicBezTo>
                        <a:pt x="2538" y="1589"/>
                        <a:pt x="2546" y="1597"/>
                        <a:pt x="2561" y="1604"/>
                      </a:cubicBezTo>
                      <a:cubicBezTo>
                        <a:pt x="2569" y="1613"/>
                        <a:pt x="2584" y="1620"/>
                        <a:pt x="2600" y="1644"/>
                      </a:cubicBezTo>
                      <a:cubicBezTo>
                        <a:pt x="2616" y="1676"/>
                        <a:pt x="2624" y="1699"/>
                        <a:pt x="2632" y="1723"/>
                      </a:cubicBezTo>
                      <a:cubicBezTo>
                        <a:pt x="2632" y="1731"/>
                        <a:pt x="2632" y="1731"/>
                        <a:pt x="2632" y="1731"/>
                      </a:cubicBezTo>
                      <a:cubicBezTo>
                        <a:pt x="2624" y="1731"/>
                        <a:pt x="2624" y="1731"/>
                        <a:pt x="2624" y="1731"/>
                      </a:cubicBezTo>
                      <a:cubicBezTo>
                        <a:pt x="2616" y="1731"/>
                        <a:pt x="2608" y="1731"/>
                        <a:pt x="2600" y="1731"/>
                      </a:cubicBezTo>
                      <a:cubicBezTo>
                        <a:pt x="2600" y="1731"/>
                        <a:pt x="2600" y="1731"/>
                        <a:pt x="2592" y="1731"/>
                      </a:cubicBezTo>
                      <a:close/>
                      <a:moveTo>
                        <a:pt x="2261" y="1526"/>
                      </a:moveTo>
                      <a:lnTo>
                        <a:pt x="2261" y="1526"/>
                      </a:lnTo>
                      <a:cubicBezTo>
                        <a:pt x="2301" y="1526"/>
                        <a:pt x="2324" y="1526"/>
                        <a:pt x="2332" y="1533"/>
                      </a:cubicBezTo>
                      <a:cubicBezTo>
                        <a:pt x="2340" y="1541"/>
                        <a:pt x="2340" y="1549"/>
                        <a:pt x="2340" y="1557"/>
                      </a:cubicBezTo>
                      <a:cubicBezTo>
                        <a:pt x="2348" y="1565"/>
                        <a:pt x="2356" y="1573"/>
                        <a:pt x="2372" y="1573"/>
                      </a:cubicBezTo>
                      <a:cubicBezTo>
                        <a:pt x="2404" y="1573"/>
                        <a:pt x="2467" y="1589"/>
                        <a:pt x="2483" y="1620"/>
                      </a:cubicBezTo>
                      <a:cubicBezTo>
                        <a:pt x="2506" y="1644"/>
                        <a:pt x="2530" y="1660"/>
                        <a:pt x="2538" y="1660"/>
                      </a:cubicBezTo>
                      <a:cubicBezTo>
                        <a:pt x="2546" y="1660"/>
                        <a:pt x="2545" y="1668"/>
                        <a:pt x="2553" y="1676"/>
                      </a:cubicBezTo>
                      <a:cubicBezTo>
                        <a:pt x="2561" y="1699"/>
                        <a:pt x="2577" y="1723"/>
                        <a:pt x="2592" y="1723"/>
                      </a:cubicBezTo>
                      <a:cubicBezTo>
                        <a:pt x="2600" y="1723"/>
                        <a:pt x="2600" y="1723"/>
                        <a:pt x="2600" y="1723"/>
                      </a:cubicBezTo>
                      <a:cubicBezTo>
                        <a:pt x="2608" y="1723"/>
                        <a:pt x="2616" y="1723"/>
                        <a:pt x="2624" y="1723"/>
                      </a:cubicBezTo>
                      <a:cubicBezTo>
                        <a:pt x="2616" y="1699"/>
                        <a:pt x="2608" y="1676"/>
                        <a:pt x="2592" y="1652"/>
                      </a:cubicBezTo>
                      <a:cubicBezTo>
                        <a:pt x="2584" y="1628"/>
                        <a:pt x="2569" y="1613"/>
                        <a:pt x="2553" y="1604"/>
                      </a:cubicBezTo>
                      <a:cubicBezTo>
                        <a:pt x="2538" y="1597"/>
                        <a:pt x="2530" y="1589"/>
                        <a:pt x="2538" y="1565"/>
                      </a:cubicBezTo>
                      <a:cubicBezTo>
                        <a:pt x="2546" y="1549"/>
                        <a:pt x="2561" y="1541"/>
                        <a:pt x="2569" y="1533"/>
                      </a:cubicBezTo>
                      <a:cubicBezTo>
                        <a:pt x="2584" y="1518"/>
                        <a:pt x="2592" y="1510"/>
                        <a:pt x="2600" y="1486"/>
                      </a:cubicBezTo>
                      <a:cubicBezTo>
                        <a:pt x="2600" y="1462"/>
                        <a:pt x="2600" y="1454"/>
                        <a:pt x="2600" y="1446"/>
                      </a:cubicBezTo>
                      <a:cubicBezTo>
                        <a:pt x="2600" y="1431"/>
                        <a:pt x="2600" y="1423"/>
                        <a:pt x="2608" y="1415"/>
                      </a:cubicBezTo>
                      <a:cubicBezTo>
                        <a:pt x="2616" y="1407"/>
                        <a:pt x="2616" y="1399"/>
                        <a:pt x="2616" y="1399"/>
                      </a:cubicBezTo>
                      <a:cubicBezTo>
                        <a:pt x="2616" y="1391"/>
                        <a:pt x="2608" y="1383"/>
                        <a:pt x="2592" y="1375"/>
                      </a:cubicBezTo>
                      <a:cubicBezTo>
                        <a:pt x="2584" y="1375"/>
                        <a:pt x="2584" y="1375"/>
                        <a:pt x="2584" y="1375"/>
                      </a:cubicBezTo>
                      <a:cubicBezTo>
                        <a:pt x="2584" y="1367"/>
                        <a:pt x="2584" y="1367"/>
                        <a:pt x="2577" y="1367"/>
                      </a:cubicBezTo>
                      <a:cubicBezTo>
                        <a:pt x="2561" y="1360"/>
                        <a:pt x="2553" y="1352"/>
                        <a:pt x="2553" y="1336"/>
                      </a:cubicBezTo>
                      <a:cubicBezTo>
                        <a:pt x="2553" y="1328"/>
                        <a:pt x="2553" y="1328"/>
                        <a:pt x="2569" y="1320"/>
                      </a:cubicBezTo>
                      <a:cubicBezTo>
                        <a:pt x="2577" y="1312"/>
                        <a:pt x="2577" y="1304"/>
                        <a:pt x="2569" y="1280"/>
                      </a:cubicBezTo>
                      <a:cubicBezTo>
                        <a:pt x="2561" y="1265"/>
                        <a:pt x="2561" y="1249"/>
                        <a:pt x="2569" y="1241"/>
                      </a:cubicBezTo>
                      <a:cubicBezTo>
                        <a:pt x="2584" y="1217"/>
                        <a:pt x="2592" y="1217"/>
                        <a:pt x="2600" y="1217"/>
                      </a:cubicBezTo>
                      <a:cubicBezTo>
                        <a:pt x="2600" y="371"/>
                        <a:pt x="2600" y="371"/>
                        <a:pt x="2600" y="371"/>
                      </a:cubicBezTo>
                      <a:cubicBezTo>
                        <a:pt x="2592" y="371"/>
                        <a:pt x="2569" y="356"/>
                        <a:pt x="2553" y="356"/>
                      </a:cubicBezTo>
                      <a:cubicBezTo>
                        <a:pt x="2530" y="356"/>
                        <a:pt x="2506" y="347"/>
                        <a:pt x="2506" y="316"/>
                      </a:cubicBezTo>
                      <a:cubicBezTo>
                        <a:pt x="2506" y="292"/>
                        <a:pt x="2498" y="284"/>
                        <a:pt x="2491" y="276"/>
                      </a:cubicBezTo>
                      <a:lnTo>
                        <a:pt x="2483" y="269"/>
                      </a:lnTo>
                      <a:cubicBezTo>
                        <a:pt x="2475" y="253"/>
                        <a:pt x="2475" y="245"/>
                        <a:pt x="2475" y="229"/>
                      </a:cubicBezTo>
                      <a:cubicBezTo>
                        <a:pt x="2475" y="221"/>
                        <a:pt x="2491" y="205"/>
                        <a:pt x="2498" y="197"/>
                      </a:cubicBezTo>
                      <a:cubicBezTo>
                        <a:pt x="2522" y="182"/>
                        <a:pt x="2546" y="142"/>
                        <a:pt x="2561" y="95"/>
                      </a:cubicBezTo>
                      <a:cubicBezTo>
                        <a:pt x="2522" y="103"/>
                        <a:pt x="2483" y="103"/>
                        <a:pt x="2435" y="103"/>
                      </a:cubicBezTo>
                      <a:cubicBezTo>
                        <a:pt x="1755" y="103"/>
                        <a:pt x="285" y="16"/>
                        <a:pt x="103" y="8"/>
                      </a:cubicBezTo>
                      <a:cubicBezTo>
                        <a:pt x="71" y="435"/>
                        <a:pt x="71" y="435"/>
                        <a:pt x="71" y="435"/>
                      </a:cubicBezTo>
                      <a:cubicBezTo>
                        <a:pt x="8" y="1367"/>
                        <a:pt x="8" y="1367"/>
                        <a:pt x="8" y="1367"/>
                      </a:cubicBezTo>
                      <a:cubicBezTo>
                        <a:pt x="229" y="1383"/>
                        <a:pt x="1328" y="1462"/>
                        <a:pt x="1803" y="1462"/>
                      </a:cubicBezTo>
                      <a:lnTo>
                        <a:pt x="1803" y="1462"/>
                      </a:lnTo>
                      <a:cubicBezTo>
                        <a:pt x="1850" y="1462"/>
                        <a:pt x="1890" y="1462"/>
                        <a:pt x="1921" y="1462"/>
                      </a:cubicBezTo>
                      <a:lnTo>
                        <a:pt x="1921" y="1462"/>
                      </a:lnTo>
                      <a:lnTo>
                        <a:pt x="1921" y="1462"/>
                      </a:lnTo>
                      <a:cubicBezTo>
                        <a:pt x="1921" y="1462"/>
                        <a:pt x="1969" y="1494"/>
                        <a:pt x="1977" y="1518"/>
                      </a:cubicBezTo>
                      <a:lnTo>
                        <a:pt x="1977" y="1518"/>
                      </a:lnTo>
                      <a:cubicBezTo>
                        <a:pt x="1985" y="1533"/>
                        <a:pt x="1992" y="1541"/>
                        <a:pt x="2024" y="1549"/>
                      </a:cubicBezTo>
                      <a:cubicBezTo>
                        <a:pt x="2056" y="1549"/>
                        <a:pt x="2072" y="1565"/>
                        <a:pt x="2080" y="1581"/>
                      </a:cubicBezTo>
                      <a:lnTo>
                        <a:pt x="2080" y="1581"/>
                      </a:lnTo>
                      <a:lnTo>
                        <a:pt x="2087" y="1589"/>
                      </a:lnTo>
                      <a:cubicBezTo>
                        <a:pt x="2087" y="1589"/>
                        <a:pt x="2095" y="1573"/>
                        <a:pt x="2103" y="1565"/>
                      </a:cubicBezTo>
                      <a:cubicBezTo>
                        <a:pt x="2111" y="1557"/>
                        <a:pt x="2111" y="1557"/>
                        <a:pt x="2111" y="1549"/>
                      </a:cubicBezTo>
                      <a:cubicBezTo>
                        <a:pt x="2127" y="1533"/>
                        <a:pt x="2127" y="1526"/>
                        <a:pt x="2151" y="1526"/>
                      </a:cubicBezTo>
                      <a:cubicBezTo>
                        <a:pt x="2158" y="1526"/>
                        <a:pt x="2182" y="1526"/>
                        <a:pt x="2198" y="1526"/>
                      </a:cubicBezTo>
                      <a:cubicBezTo>
                        <a:pt x="2222" y="1526"/>
                        <a:pt x="2245" y="1526"/>
                        <a:pt x="2261" y="152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6" name="Freeform 350">
                  <a:extLst>
                    <a:ext uri="{FF2B5EF4-FFF2-40B4-BE49-F238E27FC236}">
                      <a16:creationId xmlns:a16="http://schemas.microsoft.com/office/drawing/2014/main" id="{456F6CC2-2FC3-644A-863C-8B5C7A6740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80106" y="5124665"/>
                  <a:ext cx="1630471" cy="816396"/>
                </a:xfrm>
                <a:custGeom>
                  <a:avLst/>
                  <a:gdLst>
                    <a:gd name="T0" fmla="*/ 3098 w 3099"/>
                    <a:gd name="T1" fmla="*/ 1510 h 1551"/>
                    <a:gd name="T2" fmla="*/ 3098 w 3099"/>
                    <a:gd name="T3" fmla="*/ 1510 h 1551"/>
                    <a:gd name="T4" fmla="*/ 3082 w 3099"/>
                    <a:gd name="T5" fmla="*/ 1494 h 1551"/>
                    <a:gd name="T6" fmla="*/ 3035 w 3099"/>
                    <a:gd name="T7" fmla="*/ 1463 h 1551"/>
                    <a:gd name="T8" fmla="*/ 3027 w 3099"/>
                    <a:gd name="T9" fmla="*/ 1384 h 1551"/>
                    <a:gd name="T10" fmla="*/ 2948 w 3099"/>
                    <a:gd name="T11" fmla="*/ 1305 h 1551"/>
                    <a:gd name="T12" fmla="*/ 2940 w 3099"/>
                    <a:gd name="T13" fmla="*/ 1265 h 1551"/>
                    <a:gd name="T14" fmla="*/ 2916 w 3099"/>
                    <a:gd name="T15" fmla="*/ 1194 h 1551"/>
                    <a:gd name="T16" fmla="*/ 2885 w 3099"/>
                    <a:gd name="T17" fmla="*/ 1186 h 1551"/>
                    <a:gd name="T18" fmla="*/ 2900 w 3099"/>
                    <a:gd name="T19" fmla="*/ 1044 h 1551"/>
                    <a:gd name="T20" fmla="*/ 2885 w 3099"/>
                    <a:gd name="T21" fmla="*/ 988 h 1551"/>
                    <a:gd name="T22" fmla="*/ 2885 w 3099"/>
                    <a:gd name="T23" fmla="*/ 925 h 1551"/>
                    <a:gd name="T24" fmla="*/ 2877 w 3099"/>
                    <a:gd name="T25" fmla="*/ 878 h 1551"/>
                    <a:gd name="T26" fmla="*/ 2853 w 3099"/>
                    <a:gd name="T27" fmla="*/ 846 h 1551"/>
                    <a:gd name="T28" fmla="*/ 2853 w 3099"/>
                    <a:gd name="T29" fmla="*/ 807 h 1551"/>
                    <a:gd name="T30" fmla="*/ 2821 w 3099"/>
                    <a:gd name="T31" fmla="*/ 783 h 1551"/>
                    <a:gd name="T32" fmla="*/ 2806 w 3099"/>
                    <a:gd name="T33" fmla="*/ 767 h 1551"/>
                    <a:gd name="T34" fmla="*/ 2790 w 3099"/>
                    <a:gd name="T35" fmla="*/ 617 h 1551"/>
                    <a:gd name="T36" fmla="*/ 2750 w 3099"/>
                    <a:gd name="T37" fmla="*/ 530 h 1551"/>
                    <a:gd name="T38" fmla="*/ 2719 w 3099"/>
                    <a:gd name="T39" fmla="*/ 459 h 1551"/>
                    <a:gd name="T40" fmla="*/ 2703 w 3099"/>
                    <a:gd name="T41" fmla="*/ 380 h 1551"/>
                    <a:gd name="T42" fmla="*/ 2687 w 3099"/>
                    <a:gd name="T43" fmla="*/ 348 h 1551"/>
                    <a:gd name="T44" fmla="*/ 2663 w 3099"/>
                    <a:gd name="T45" fmla="*/ 348 h 1551"/>
                    <a:gd name="T46" fmla="*/ 2601 w 3099"/>
                    <a:gd name="T47" fmla="*/ 293 h 1551"/>
                    <a:gd name="T48" fmla="*/ 2546 w 3099"/>
                    <a:gd name="T49" fmla="*/ 245 h 1551"/>
                    <a:gd name="T50" fmla="*/ 2435 w 3099"/>
                    <a:gd name="T51" fmla="*/ 198 h 1551"/>
                    <a:gd name="T52" fmla="*/ 2395 w 3099"/>
                    <a:gd name="T53" fmla="*/ 166 h 1551"/>
                    <a:gd name="T54" fmla="*/ 2214 w 3099"/>
                    <a:gd name="T55" fmla="*/ 158 h 1551"/>
                    <a:gd name="T56" fmla="*/ 2174 w 3099"/>
                    <a:gd name="T57" fmla="*/ 190 h 1551"/>
                    <a:gd name="T58" fmla="*/ 2143 w 3099"/>
                    <a:gd name="T59" fmla="*/ 206 h 1551"/>
                    <a:gd name="T60" fmla="*/ 2087 w 3099"/>
                    <a:gd name="T61" fmla="*/ 174 h 1551"/>
                    <a:gd name="T62" fmla="*/ 2040 w 3099"/>
                    <a:gd name="T63" fmla="*/ 143 h 1551"/>
                    <a:gd name="T64" fmla="*/ 1984 w 3099"/>
                    <a:gd name="T65" fmla="*/ 95 h 1551"/>
                    <a:gd name="T66" fmla="*/ 63 w 3099"/>
                    <a:gd name="T67" fmla="*/ 0 h 1551"/>
                    <a:gd name="T68" fmla="*/ 0 w 3099"/>
                    <a:gd name="T69" fmla="*/ 957 h 1551"/>
                    <a:gd name="T70" fmla="*/ 625 w 3099"/>
                    <a:gd name="T71" fmla="*/ 981 h 1551"/>
                    <a:gd name="T72" fmla="*/ 696 w 3099"/>
                    <a:gd name="T73" fmla="*/ 1028 h 1551"/>
                    <a:gd name="T74" fmla="*/ 680 w 3099"/>
                    <a:gd name="T75" fmla="*/ 1463 h 1551"/>
                    <a:gd name="T76" fmla="*/ 3098 w 3099"/>
                    <a:gd name="T77" fmla="*/ 1510 h 1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099" h="1551">
                      <a:moveTo>
                        <a:pt x="3098" y="1510"/>
                      </a:moveTo>
                      <a:lnTo>
                        <a:pt x="3098" y="1510"/>
                      </a:lnTo>
                      <a:cubicBezTo>
                        <a:pt x="3090" y="1502"/>
                        <a:pt x="3082" y="1502"/>
                        <a:pt x="3082" y="1494"/>
                      </a:cubicBezTo>
                      <a:cubicBezTo>
                        <a:pt x="3066" y="1486"/>
                        <a:pt x="3035" y="1494"/>
                        <a:pt x="3035" y="1463"/>
                      </a:cubicBezTo>
                      <a:cubicBezTo>
                        <a:pt x="3035" y="1431"/>
                        <a:pt x="3059" y="1415"/>
                        <a:pt x="3027" y="1384"/>
                      </a:cubicBezTo>
                      <a:cubicBezTo>
                        <a:pt x="2987" y="1352"/>
                        <a:pt x="2956" y="1336"/>
                        <a:pt x="2948" y="1305"/>
                      </a:cubicBezTo>
                      <a:cubicBezTo>
                        <a:pt x="2940" y="1265"/>
                        <a:pt x="2964" y="1297"/>
                        <a:pt x="2940" y="1265"/>
                      </a:cubicBezTo>
                      <a:cubicBezTo>
                        <a:pt x="2924" y="1241"/>
                        <a:pt x="2932" y="1194"/>
                        <a:pt x="2916" y="1194"/>
                      </a:cubicBezTo>
                      <a:cubicBezTo>
                        <a:pt x="2900" y="1194"/>
                        <a:pt x="2885" y="1210"/>
                        <a:pt x="2885" y="1186"/>
                      </a:cubicBezTo>
                      <a:cubicBezTo>
                        <a:pt x="2885" y="1162"/>
                        <a:pt x="2932" y="1083"/>
                        <a:pt x="2900" y="1044"/>
                      </a:cubicBezTo>
                      <a:cubicBezTo>
                        <a:pt x="2877" y="1012"/>
                        <a:pt x="2869" y="1012"/>
                        <a:pt x="2885" y="988"/>
                      </a:cubicBezTo>
                      <a:cubicBezTo>
                        <a:pt x="2900" y="965"/>
                        <a:pt x="2900" y="933"/>
                        <a:pt x="2885" y="925"/>
                      </a:cubicBezTo>
                      <a:cubicBezTo>
                        <a:pt x="2877" y="917"/>
                        <a:pt x="2877" y="902"/>
                        <a:pt x="2877" y="878"/>
                      </a:cubicBezTo>
                      <a:cubicBezTo>
                        <a:pt x="2885" y="862"/>
                        <a:pt x="2853" y="870"/>
                        <a:pt x="2853" y="846"/>
                      </a:cubicBezTo>
                      <a:cubicBezTo>
                        <a:pt x="2861" y="830"/>
                        <a:pt x="2853" y="807"/>
                        <a:pt x="2853" y="807"/>
                      </a:cubicBezTo>
                      <a:cubicBezTo>
                        <a:pt x="2853" y="807"/>
                        <a:pt x="2845" y="775"/>
                        <a:pt x="2821" y="783"/>
                      </a:cubicBezTo>
                      <a:cubicBezTo>
                        <a:pt x="2806" y="783"/>
                        <a:pt x="2806" y="783"/>
                        <a:pt x="2806" y="767"/>
                      </a:cubicBezTo>
                      <a:cubicBezTo>
                        <a:pt x="2806" y="744"/>
                        <a:pt x="2813" y="649"/>
                        <a:pt x="2790" y="617"/>
                      </a:cubicBezTo>
                      <a:cubicBezTo>
                        <a:pt x="2758" y="585"/>
                        <a:pt x="2766" y="554"/>
                        <a:pt x="2750" y="530"/>
                      </a:cubicBezTo>
                      <a:cubicBezTo>
                        <a:pt x="2726" y="498"/>
                        <a:pt x="2734" y="491"/>
                        <a:pt x="2719" y="459"/>
                      </a:cubicBezTo>
                      <a:cubicBezTo>
                        <a:pt x="2703" y="427"/>
                        <a:pt x="2711" y="396"/>
                        <a:pt x="2703" y="380"/>
                      </a:cubicBezTo>
                      <a:cubicBezTo>
                        <a:pt x="2695" y="372"/>
                        <a:pt x="2695" y="364"/>
                        <a:pt x="2687" y="348"/>
                      </a:cubicBezTo>
                      <a:cubicBezTo>
                        <a:pt x="2679" y="348"/>
                        <a:pt x="2671" y="348"/>
                        <a:pt x="2663" y="348"/>
                      </a:cubicBezTo>
                      <a:cubicBezTo>
                        <a:pt x="2624" y="356"/>
                        <a:pt x="2609" y="293"/>
                        <a:pt x="2601" y="293"/>
                      </a:cubicBezTo>
                      <a:cubicBezTo>
                        <a:pt x="2593" y="293"/>
                        <a:pt x="2561" y="269"/>
                        <a:pt x="2546" y="245"/>
                      </a:cubicBezTo>
                      <a:cubicBezTo>
                        <a:pt x="2530" y="222"/>
                        <a:pt x="2467" y="198"/>
                        <a:pt x="2435" y="198"/>
                      </a:cubicBezTo>
                      <a:cubicBezTo>
                        <a:pt x="2403" y="198"/>
                        <a:pt x="2411" y="182"/>
                        <a:pt x="2395" y="166"/>
                      </a:cubicBezTo>
                      <a:cubicBezTo>
                        <a:pt x="2372" y="143"/>
                        <a:pt x="2245" y="158"/>
                        <a:pt x="2214" y="158"/>
                      </a:cubicBezTo>
                      <a:cubicBezTo>
                        <a:pt x="2190" y="151"/>
                        <a:pt x="2190" y="166"/>
                        <a:pt x="2174" y="190"/>
                      </a:cubicBezTo>
                      <a:cubicBezTo>
                        <a:pt x="2150" y="214"/>
                        <a:pt x="2150" y="222"/>
                        <a:pt x="2143" y="206"/>
                      </a:cubicBezTo>
                      <a:cubicBezTo>
                        <a:pt x="2135" y="198"/>
                        <a:pt x="2119" y="182"/>
                        <a:pt x="2087" y="174"/>
                      </a:cubicBezTo>
                      <a:cubicBezTo>
                        <a:pt x="2048" y="174"/>
                        <a:pt x="2048" y="158"/>
                        <a:pt x="2040" y="143"/>
                      </a:cubicBezTo>
                      <a:cubicBezTo>
                        <a:pt x="2032" y="119"/>
                        <a:pt x="1984" y="95"/>
                        <a:pt x="1984" y="95"/>
                      </a:cubicBezTo>
                      <a:cubicBezTo>
                        <a:pt x="1605" y="111"/>
                        <a:pt x="285" y="16"/>
                        <a:pt x="63" y="0"/>
                      </a:cubicBezTo>
                      <a:cubicBezTo>
                        <a:pt x="0" y="957"/>
                        <a:pt x="0" y="957"/>
                        <a:pt x="0" y="957"/>
                      </a:cubicBezTo>
                      <a:cubicBezTo>
                        <a:pt x="285" y="981"/>
                        <a:pt x="514" y="996"/>
                        <a:pt x="625" y="981"/>
                      </a:cubicBezTo>
                      <a:cubicBezTo>
                        <a:pt x="625" y="981"/>
                        <a:pt x="688" y="965"/>
                        <a:pt x="696" y="1028"/>
                      </a:cubicBezTo>
                      <a:cubicBezTo>
                        <a:pt x="704" y="1044"/>
                        <a:pt x="696" y="1218"/>
                        <a:pt x="680" y="1463"/>
                      </a:cubicBezTo>
                      <a:cubicBezTo>
                        <a:pt x="909" y="1471"/>
                        <a:pt x="2474" y="1550"/>
                        <a:pt x="3098" y="151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7" name="Freeform 351">
                  <a:extLst>
                    <a:ext uri="{FF2B5EF4-FFF2-40B4-BE49-F238E27FC236}">
                      <a16:creationId xmlns:a16="http://schemas.microsoft.com/office/drawing/2014/main" id="{12C222C6-D1F1-4B4A-ACE5-A49FE6A349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75467" y="5120026"/>
                  <a:ext cx="1637430" cy="807118"/>
                </a:xfrm>
                <a:custGeom>
                  <a:avLst/>
                  <a:gdLst>
                    <a:gd name="T0" fmla="*/ 2648 w 3115"/>
                    <a:gd name="T1" fmla="*/ 1534 h 1535"/>
                    <a:gd name="T2" fmla="*/ 688 w 3115"/>
                    <a:gd name="T3" fmla="*/ 1471 h 1535"/>
                    <a:gd name="T4" fmla="*/ 633 w 3115"/>
                    <a:gd name="T5" fmla="*/ 989 h 1535"/>
                    <a:gd name="T6" fmla="*/ 0 w 3115"/>
                    <a:gd name="T7" fmla="*/ 973 h 1535"/>
                    <a:gd name="T8" fmla="*/ 71 w 3115"/>
                    <a:gd name="T9" fmla="*/ 0 h 1535"/>
                    <a:gd name="T10" fmla="*/ 1992 w 3115"/>
                    <a:gd name="T11" fmla="*/ 95 h 1535"/>
                    <a:gd name="T12" fmla="*/ 2048 w 3115"/>
                    <a:gd name="T13" fmla="*/ 151 h 1535"/>
                    <a:gd name="T14" fmla="*/ 2151 w 3115"/>
                    <a:gd name="T15" fmla="*/ 214 h 1535"/>
                    <a:gd name="T16" fmla="*/ 2182 w 3115"/>
                    <a:gd name="T17" fmla="*/ 182 h 1535"/>
                    <a:gd name="T18" fmla="*/ 2332 w 3115"/>
                    <a:gd name="T19" fmla="*/ 159 h 1535"/>
                    <a:gd name="T20" fmla="*/ 2443 w 3115"/>
                    <a:gd name="T21" fmla="*/ 206 h 1535"/>
                    <a:gd name="T22" fmla="*/ 2624 w 3115"/>
                    <a:gd name="T23" fmla="*/ 309 h 1535"/>
                    <a:gd name="T24" fmla="*/ 2695 w 3115"/>
                    <a:gd name="T25" fmla="*/ 356 h 1535"/>
                    <a:gd name="T26" fmla="*/ 2711 w 3115"/>
                    <a:gd name="T27" fmla="*/ 388 h 1535"/>
                    <a:gd name="T28" fmla="*/ 2742 w 3115"/>
                    <a:gd name="T29" fmla="*/ 490 h 1535"/>
                    <a:gd name="T30" fmla="*/ 2798 w 3115"/>
                    <a:gd name="T31" fmla="*/ 625 h 1535"/>
                    <a:gd name="T32" fmla="*/ 2814 w 3115"/>
                    <a:gd name="T33" fmla="*/ 783 h 1535"/>
                    <a:gd name="T34" fmla="*/ 2837 w 3115"/>
                    <a:gd name="T35" fmla="*/ 783 h 1535"/>
                    <a:gd name="T36" fmla="*/ 2869 w 3115"/>
                    <a:gd name="T37" fmla="*/ 854 h 1535"/>
                    <a:gd name="T38" fmla="*/ 2893 w 3115"/>
                    <a:gd name="T39" fmla="*/ 933 h 1535"/>
                    <a:gd name="T40" fmla="*/ 2916 w 3115"/>
                    <a:gd name="T41" fmla="*/ 1052 h 1535"/>
                    <a:gd name="T42" fmla="*/ 2901 w 3115"/>
                    <a:gd name="T43" fmla="*/ 1202 h 1535"/>
                    <a:gd name="T44" fmla="*/ 2924 w 3115"/>
                    <a:gd name="T45" fmla="*/ 1202 h 1535"/>
                    <a:gd name="T46" fmla="*/ 2964 w 3115"/>
                    <a:gd name="T47" fmla="*/ 1289 h 1535"/>
                    <a:gd name="T48" fmla="*/ 3003 w 3115"/>
                    <a:gd name="T49" fmla="*/ 1360 h 1535"/>
                    <a:gd name="T50" fmla="*/ 3051 w 3115"/>
                    <a:gd name="T51" fmla="*/ 1471 h 1535"/>
                    <a:gd name="T52" fmla="*/ 3114 w 3115"/>
                    <a:gd name="T53" fmla="*/ 1526 h 1535"/>
                    <a:gd name="T54" fmla="*/ 696 w 3115"/>
                    <a:gd name="T55" fmla="*/ 1463 h 1535"/>
                    <a:gd name="T56" fmla="*/ 2648 w 3115"/>
                    <a:gd name="T57" fmla="*/ 1526 h 1535"/>
                    <a:gd name="T58" fmla="*/ 3074 w 3115"/>
                    <a:gd name="T59" fmla="*/ 1502 h 1535"/>
                    <a:gd name="T60" fmla="*/ 3027 w 3115"/>
                    <a:gd name="T61" fmla="*/ 1400 h 1535"/>
                    <a:gd name="T62" fmla="*/ 2956 w 3115"/>
                    <a:gd name="T63" fmla="*/ 1289 h 1535"/>
                    <a:gd name="T64" fmla="*/ 2924 w 3115"/>
                    <a:gd name="T65" fmla="*/ 1210 h 1535"/>
                    <a:gd name="T66" fmla="*/ 2893 w 3115"/>
                    <a:gd name="T67" fmla="*/ 1210 h 1535"/>
                    <a:gd name="T68" fmla="*/ 2908 w 3115"/>
                    <a:gd name="T69" fmla="*/ 1060 h 1535"/>
                    <a:gd name="T70" fmla="*/ 2893 w 3115"/>
                    <a:gd name="T71" fmla="*/ 941 h 1535"/>
                    <a:gd name="T72" fmla="*/ 2861 w 3115"/>
                    <a:gd name="T73" fmla="*/ 854 h 1535"/>
                    <a:gd name="T74" fmla="*/ 2829 w 3115"/>
                    <a:gd name="T75" fmla="*/ 791 h 1535"/>
                    <a:gd name="T76" fmla="*/ 2805 w 3115"/>
                    <a:gd name="T77" fmla="*/ 775 h 1535"/>
                    <a:gd name="T78" fmla="*/ 2766 w 3115"/>
                    <a:gd name="T79" fmla="*/ 570 h 1535"/>
                    <a:gd name="T80" fmla="*/ 2719 w 3115"/>
                    <a:gd name="T81" fmla="*/ 467 h 1535"/>
                    <a:gd name="T82" fmla="*/ 2695 w 3115"/>
                    <a:gd name="T83" fmla="*/ 364 h 1535"/>
                    <a:gd name="T84" fmla="*/ 2663 w 3115"/>
                    <a:gd name="T85" fmla="*/ 364 h 1535"/>
                    <a:gd name="T86" fmla="*/ 2554 w 3115"/>
                    <a:gd name="T87" fmla="*/ 253 h 1535"/>
                    <a:gd name="T88" fmla="*/ 2395 w 3115"/>
                    <a:gd name="T89" fmla="*/ 174 h 1535"/>
                    <a:gd name="T90" fmla="*/ 2222 w 3115"/>
                    <a:gd name="T91" fmla="*/ 166 h 1535"/>
                    <a:gd name="T92" fmla="*/ 2158 w 3115"/>
                    <a:gd name="T93" fmla="*/ 230 h 1535"/>
                    <a:gd name="T94" fmla="*/ 2087 w 3115"/>
                    <a:gd name="T95" fmla="*/ 190 h 1535"/>
                    <a:gd name="T96" fmla="*/ 1984 w 3115"/>
                    <a:gd name="T97" fmla="*/ 103 h 1535"/>
                    <a:gd name="T98" fmla="*/ 8 w 3115"/>
                    <a:gd name="T99" fmla="*/ 965 h 1535"/>
                    <a:gd name="T100" fmla="*/ 648 w 3115"/>
                    <a:gd name="T101" fmla="*/ 981 h 15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115" h="1535">
                      <a:moveTo>
                        <a:pt x="2648" y="1534"/>
                      </a:moveTo>
                      <a:lnTo>
                        <a:pt x="2648" y="1534"/>
                      </a:lnTo>
                      <a:lnTo>
                        <a:pt x="2648" y="1534"/>
                      </a:lnTo>
                      <a:cubicBezTo>
                        <a:pt x="1921" y="1534"/>
                        <a:pt x="886" y="1487"/>
                        <a:pt x="688" y="1471"/>
                      </a:cubicBezTo>
                      <a:lnTo>
                        <a:pt x="688" y="1471"/>
                      </a:lnTo>
                      <a:lnTo>
                        <a:pt x="688" y="1471"/>
                      </a:lnTo>
                      <a:cubicBezTo>
                        <a:pt x="696" y="1202"/>
                        <a:pt x="704" y="1052"/>
                        <a:pt x="704" y="1036"/>
                      </a:cubicBezTo>
                      <a:cubicBezTo>
                        <a:pt x="696" y="996"/>
                        <a:pt x="672" y="989"/>
                        <a:pt x="648" y="989"/>
                      </a:cubicBezTo>
                      <a:cubicBezTo>
                        <a:pt x="640" y="989"/>
                        <a:pt x="633" y="989"/>
                        <a:pt x="633" y="989"/>
                      </a:cubicBezTo>
                      <a:cubicBezTo>
                        <a:pt x="601" y="996"/>
                        <a:pt x="553" y="996"/>
                        <a:pt x="498" y="996"/>
                      </a:cubicBezTo>
                      <a:cubicBezTo>
                        <a:pt x="388" y="996"/>
                        <a:pt x="222" y="989"/>
                        <a:pt x="8" y="973"/>
                      </a:cubicBezTo>
                      <a:cubicBezTo>
                        <a:pt x="0" y="973"/>
                        <a:pt x="0" y="973"/>
                        <a:pt x="0" y="973"/>
                      </a:cubicBezTo>
                      <a:cubicBezTo>
                        <a:pt x="0" y="965"/>
                        <a:pt x="0" y="965"/>
                        <a:pt x="0" y="965"/>
                      </a:cubicBezTo>
                      <a:cubicBezTo>
                        <a:pt x="71" y="0"/>
                        <a:pt x="71" y="0"/>
                        <a:pt x="71" y="0"/>
                      </a:cubicBezTo>
                      <a:lnTo>
                        <a:pt x="71" y="0"/>
                      </a:lnTo>
                      <a:cubicBezTo>
                        <a:pt x="293" y="16"/>
                        <a:pt x="1399" y="95"/>
                        <a:pt x="1874" y="95"/>
                      </a:cubicBezTo>
                      <a:cubicBezTo>
                        <a:pt x="1921" y="95"/>
                        <a:pt x="1961" y="95"/>
                        <a:pt x="1992" y="95"/>
                      </a:cubicBezTo>
                      <a:lnTo>
                        <a:pt x="1992" y="95"/>
                      </a:lnTo>
                      <a:lnTo>
                        <a:pt x="1992" y="95"/>
                      </a:lnTo>
                      <a:cubicBezTo>
                        <a:pt x="1992" y="95"/>
                        <a:pt x="2040" y="127"/>
                        <a:pt x="2048" y="151"/>
                      </a:cubicBezTo>
                      <a:lnTo>
                        <a:pt x="2048" y="151"/>
                      </a:lnTo>
                      <a:cubicBezTo>
                        <a:pt x="2056" y="166"/>
                        <a:pt x="2063" y="174"/>
                        <a:pt x="2095" y="182"/>
                      </a:cubicBezTo>
                      <a:cubicBezTo>
                        <a:pt x="2127" y="182"/>
                        <a:pt x="2143" y="198"/>
                        <a:pt x="2151" y="214"/>
                      </a:cubicBezTo>
                      <a:lnTo>
                        <a:pt x="2151" y="214"/>
                      </a:lnTo>
                      <a:lnTo>
                        <a:pt x="2158" y="222"/>
                      </a:lnTo>
                      <a:cubicBezTo>
                        <a:pt x="2158" y="222"/>
                        <a:pt x="2166" y="206"/>
                        <a:pt x="2174" y="198"/>
                      </a:cubicBezTo>
                      <a:cubicBezTo>
                        <a:pt x="2182" y="190"/>
                        <a:pt x="2182" y="190"/>
                        <a:pt x="2182" y="182"/>
                      </a:cubicBezTo>
                      <a:cubicBezTo>
                        <a:pt x="2198" y="166"/>
                        <a:pt x="2198" y="159"/>
                        <a:pt x="2222" y="159"/>
                      </a:cubicBezTo>
                      <a:cubicBezTo>
                        <a:pt x="2229" y="159"/>
                        <a:pt x="2253" y="159"/>
                        <a:pt x="2269" y="159"/>
                      </a:cubicBezTo>
                      <a:cubicBezTo>
                        <a:pt x="2293" y="159"/>
                        <a:pt x="2316" y="159"/>
                        <a:pt x="2332" y="159"/>
                      </a:cubicBezTo>
                      <a:cubicBezTo>
                        <a:pt x="2372" y="159"/>
                        <a:pt x="2395" y="159"/>
                        <a:pt x="2403" y="166"/>
                      </a:cubicBezTo>
                      <a:cubicBezTo>
                        <a:pt x="2411" y="174"/>
                        <a:pt x="2411" y="182"/>
                        <a:pt x="2411" y="190"/>
                      </a:cubicBezTo>
                      <a:cubicBezTo>
                        <a:pt x="2419" y="198"/>
                        <a:pt x="2427" y="206"/>
                        <a:pt x="2443" y="206"/>
                      </a:cubicBezTo>
                      <a:cubicBezTo>
                        <a:pt x="2475" y="206"/>
                        <a:pt x="2538" y="222"/>
                        <a:pt x="2554" y="253"/>
                      </a:cubicBezTo>
                      <a:cubicBezTo>
                        <a:pt x="2577" y="277"/>
                        <a:pt x="2601" y="293"/>
                        <a:pt x="2609" y="293"/>
                      </a:cubicBezTo>
                      <a:cubicBezTo>
                        <a:pt x="2617" y="293"/>
                        <a:pt x="2616" y="301"/>
                        <a:pt x="2624" y="309"/>
                      </a:cubicBezTo>
                      <a:cubicBezTo>
                        <a:pt x="2632" y="332"/>
                        <a:pt x="2648" y="356"/>
                        <a:pt x="2663" y="356"/>
                      </a:cubicBezTo>
                      <a:cubicBezTo>
                        <a:pt x="2671" y="356"/>
                        <a:pt x="2671" y="356"/>
                        <a:pt x="2671" y="356"/>
                      </a:cubicBezTo>
                      <a:cubicBezTo>
                        <a:pt x="2679" y="356"/>
                        <a:pt x="2687" y="356"/>
                        <a:pt x="2695" y="356"/>
                      </a:cubicBezTo>
                      <a:cubicBezTo>
                        <a:pt x="2703" y="356"/>
                        <a:pt x="2703" y="356"/>
                        <a:pt x="2703" y="356"/>
                      </a:cubicBezTo>
                      <a:cubicBezTo>
                        <a:pt x="2703" y="364"/>
                        <a:pt x="2703" y="364"/>
                        <a:pt x="2703" y="364"/>
                      </a:cubicBezTo>
                      <a:cubicBezTo>
                        <a:pt x="2703" y="372"/>
                        <a:pt x="2711" y="380"/>
                        <a:pt x="2711" y="388"/>
                      </a:cubicBezTo>
                      <a:cubicBezTo>
                        <a:pt x="2719" y="396"/>
                        <a:pt x="2719" y="404"/>
                        <a:pt x="2719" y="419"/>
                      </a:cubicBezTo>
                      <a:cubicBezTo>
                        <a:pt x="2719" y="427"/>
                        <a:pt x="2719" y="443"/>
                        <a:pt x="2727" y="467"/>
                      </a:cubicBezTo>
                      <a:cubicBezTo>
                        <a:pt x="2734" y="475"/>
                        <a:pt x="2734" y="483"/>
                        <a:pt x="2742" y="490"/>
                      </a:cubicBezTo>
                      <a:cubicBezTo>
                        <a:pt x="2742" y="506"/>
                        <a:pt x="2750" y="514"/>
                        <a:pt x="2758" y="530"/>
                      </a:cubicBezTo>
                      <a:cubicBezTo>
                        <a:pt x="2766" y="546"/>
                        <a:pt x="2774" y="562"/>
                        <a:pt x="2774" y="570"/>
                      </a:cubicBezTo>
                      <a:cubicBezTo>
                        <a:pt x="2782" y="585"/>
                        <a:pt x="2782" y="601"/>
                        <a:pt x="2798" y="625"/>
                      </a:cubicBezTo>
                      <a:cubicBezTo>
                        <a:pt x="2821" y="649"/>
                        <a:pt x="2814" y="720"/>
                        <a:pt x="2814" y="759"/>
                      </a:cubicBezTo>
                      <a:cubicBezTo>
                        <a:pt x="2814" y="767"/>
                        <a:pt x="2814" y="767"/>
                        <a:pt x="2814" y="775"/>
                      </a:cubicBezTo>
                      <a:lnTo>
                        <a:pt x="2814" y="783"/>
                      </a:lnTo>
                      <a:cubicBezTo>
                        <a:pt x="2814" y="791"/>
                        <a:pt x="2814" y="791"/>
                        <a:pt x="2821" y="791"/>
                      </a:cubicBezTo>
                      <a:lnTo>
                        <a:pt x="2829" y="783"/>
                      </a:lnTo>
                      <a:lnTo>
                        <a:pt x="2837" y="783"/>
                      </a:lnTo>
                      <a:cubicBezTo>
                        <a:pt x="2853" y="783"/>
                        <a:pt x="2869" y="815"/>
                        <a:pt x="2869" y="815"/>
                      </a:cubicBezTo>
                      <a:lnTo>
                        <a:pt x="2869" y="815"/>
                      </a:lnTo>
                      <a:cubicBezTo>
                        <a:pt x="2869" y="815"/>
                        <a:pt x="2869" y="838"/>
                        <a:pt x="2869" y="854"/>
                      </a:cubicBezTo>
                      <a:cubicBezTo>
                        <a:pt x="2861" y="862"/>
                        <a:pt x="2869" y="862"/>
                        <a:pt x="2877" y="870"/>
                      </a:cubicBezTo>
                      <a:cubicBezTo>
                        <a:pt x="2885" y="870"/>
                        <a:pt x="2893" y="878"/>
                        <a:pt x="2893" y="886"/>
                      </a:cubicBezTo>
                      <a:cubicBezTo>
                        <a:pt x="2885" y="910"/>
                        <a:pt x="2885" y="925"/>
                        <a:pt x="2893" y="933"/>
                      </a:cubicBezTo>
                      <a:cubicBezTo>
                        <a:pt x="2908" y="941"/>
                        <a:pt x="2908" y="973"/>
                        <a:pt x="2893" y="996"/>
                      </a:cubicBezTo>
                      <a:cubicBezTo>
                        <a:pt x="2885" y="1020"/>
                        <a:pt x="2885" y="1020"/>
                        <a:pt x="2901" y="1036"/>
                      </a:cubicBezTo>
                      <a:cubicBezTo>
                        <a:pt x="2908" y="1044"/>
                        <a:pt x="2908" y="1044"/>
                        <a:pt x="2916" y="1052"/>
                      </a:cubicBezTo>
                      <a:cubicBezTo>
                        <a:pt x="2932" y="1076"/>
                        <a:pt x="2916" y="1123"/>
                        <a:pt x="2908" y="1154"/>
                      </a:cubicBezTo>
                      <a:cubicBezTo>
                        <a:pt x="2901" y="1170"/>
                        <a:pt x="2901" y="1186"/>
                        <a:pt x="2901" y="1194"/>
                      </a:cubicBezTo>
                      <a:cubicBezTo>
                        <a:pt x="2901" y="1202"/>
                        <a:pt x="2901" y="1202"/>
                        <a:pt x="2901" y="1202"/>
                      </a:cubicBezTo>
                      <a:lnTo>
                        <a:pt x="2901" y="1202"/>
                      </a:lnTo>
                      <a:cubicBezTo>
                        <a:pt x="2908" y="1202"/>
                        <a:pt x="2908" y="1202"/>
                        <a:pt x="2908" y="1202"/>
                      </a:cubicBezTo>
                      <a:cubicBezTo>
                        <a:pt x="2916" y="1202"/>
                        <a:pt x="2916" y="1202"/>
                        <a:pt x="2924" y="1202"/>
                      </a:cubicBezTo>
                      <a:cubicBezTo>
                        <a:pt x="2932" y="1202"/>
                        <a:pt x="2940" y="1210"/>
                        <a:pt x="2940" y="1226"/>
                      </a:cubicBezTo>
                      <a:cubicBezTo>
                        <a:pt x="2940" y="1242"/>
                        <a:pt x="2940" y="1257"/>
                        <a:pt x="2956" y="1273"/>
                      </a:cubicBezTo>
                      <a:cubicBezTo>
                        <a:pt x="2964" y="1289"/>
                        <a:pt x="2964" y="1289"/>
                        <a:pt x="2964" y="1289"/>
                      </a:cubicBezTo>
                      <a:lnTo>
                        <a:pt x="2964" y="1289"/>
                      </a:lnTo>
                      <a:cubicBezTo>
                        <a:pt x="2956" y="1297"/>
                        <a:pt x="2956" y="1305"/>
                        <a:pt x="2956" y="1313"/>
                      </a:cubicBezTo>
                      <a:cubicBezTo>
                        <a:pt x="2964" y="1336"/>
                        <a:pt x="2980" y="1344"/>
                        <a:pt x="3003" y="1360"/>
                      </a:cubicBezTo>
                      <a:cubicBezTo>
                        <a:pt x="3011" y="1368"/>
                        <a:pt x="3027" y="1376"/>
                        <a:pt x="3035" y="1392"/>
                      </a:cubicBezTo>
                      <a:cubicBezTo>
                        <a:pt x="3059" y="1416"/>
                        <a:pt x="3059" y="1431"/>
                        <a:pt x="3051" y="1447"/>
                      </a:cubicBezTo>
                      <a:cubicBezTo>
                        <a:pt x="3051" y="1455"/>
                        <a:pt x="3051" y="1463"/>
                        <a:pt x="3051" y="1471"/>
                      </a:cubicBezTo>
                      <a:cubicBezTo>
                        <a:pt x="3051" y="1487"/>
                        <a:pt x="3059" y="1494"/>
                        <a:pt x="3074" y="1494"/>
                      </a:cubicBezTo>
                      <a:cubicBezTo>
                        <a:pt x="3082" y="1494"/>
                        <a:pt x="3090" y="1502"/>
                        <a:pt x="3090" y="1502"/>
                      </a:cubicBezTo>
                      <a:cubicBezTo>
                        <a:pt x="3114" y="1526"/>
                        <a:pt x="3114" y="1526"/>
                        <a:pt x="3114" y="1526"/>
                      </a:cubicBezTo>
                      <a:cubicBezTo>
                        <a:pt x="3106" y="1526"/>
                        <a:pt x="3106" y="1526"/>
                        <a:pt x="3106" y="1526"/>
                      </a:cubicBezTo>
                      <a:cubicBezTo>
                        <a:pt x="2987" y="1526"/>
                        <a:pt x="2837" y="1534"/>
                        <a:pt x="2648" y="1534"/>
                      </a:cubicBezTo>
                      <a:close/>
                      <a:moveTo>
                        <a:pt x="696" y="1463"/>
                      </a:moveTo>
                      <a:lnTo>
                        <a:pt x="696" y="1463"/>
                      </a:lnTo>
                      <a:cubicBezTo>
                        <a:pt x="901" y="1479"/>
                        <a:pt x="1929" y="1526"/>
                        <a:pt x="2648" y="1526"/>
                      </a:cubicBezTo>
                      <a:lnTo>
                        <a:pt x="2648" y="1526"/>
                      </a:lnTo>
                      <a:cubicBezTo>
                        <a:pt x="2829" y="1526"/>
                        <a:pt x="2980" y="1526"/>
                        <a:pt x="3090" y="1518"/>
                      </a:cubicBezTo>
                      <a:cubicBezTo>
                        <a:pt x="3090" y="1510"/>
                        <a:pt x="3090" y="1510"/>
                        <a:pt x="3090" y="1510"/>
                      </a:cubicBezTo>
                      <a:cubicBezTo>
                        <a:pt x="3082" y="1502"/>
                        <a:pt x="3074" y="1502"/>
                        <a:pt x="3074" y="1502"/>
                      </a:cubicBezTo>
                      <a:cubicBezTo>
                        <a:pt x="3059" y="1502"/>
                        <a:pt x="3043" y="1494"/>
                        <a:pt x="3043" y="1471"/>
                      </a:cubicBezTo>
                      <a:cubicBezTo>
                        <a:pt x="3043" y="1463"/>
                        <a:pt x="3043" y="1455"/>
                        <a:pt x="3043" y="1447"/>
                      </a:cubicBezTo>
                      <a:cubicBezTo>
                        <a:pt x="3051" y="1431"/>
                        <a:pt x="3051" y="1416"/>
                        <a:pt x="3027" y="1400"/>
                      </a:cubicBezTo>
                      <a:cubicBezTo>
                        <a:pt x="3019" y="1384"/>
                        <a:pt x="3003" y="1376"/>
                        <a:pt x="2995" y="1368"/>
                      </a:cubicBezTo>
                      <a:cubicBezTo>
                        <a:pt x="2972" y="1352"/>
                        <a:pt x="2956" y="1336"/>
                        <a:pt x="2956" y="1313"/>
                      </a:cubicBezTo>
                      <a:cubicBezTo>
                        <a:pt x="2948" y="1297"/>
                        <a:pt x="2948" y="1289"/>
                        <a:pt x="2956" y="1289"/>
                      </a:cubicBezTo>
                      <a:cubicBezTo>
                        <a:pt x="2956" y="1289"/>
                        <a:pt x="2948" y="1281"/>
                        <a:pt x="2948" y="1273"/>
                      </a:cubicBezTo>
                      <a:cubicBezTo>
                        <a:pt x="2940" y="1265"/>
                        <a:pt x="2932" y="1242"/>
                        <a:pt x="2932" y="1226"/>
                      </a:cubicBezTo>
                      <a:cubicBezTo>
                        <a:pt x="2932" y="1218"/>
                        <a:pt x="2932" y="1210"/>
                        <a:pt x="2924" y="1210"/>
                      </a:cubicBezTo>
                      <a:lnTo>
                        <a:pt x="2916" y="1210"/>
                      </a:lnTo>
                      <a:cubicBezTo>
                        <a:pt x="2908" y="1210"/>
                        <a:pt x="2908" y="1210"/>
                        <a:pt x="2901" y="1210"/>
                      </a:cubicBezTo>
                      <a:cubicBezTo>
                        <a:pt x="2901" y="1210"/>
                        <a:pt x="2901" y="1210"/>
                        <a:pt x="2893" y="1210"/>
                      </a:cubicBezTo>
                      <a:cubicBezTo>
                        <a:pt x="2893" y="1202"/>
                        <a:pt x="2893" y="1202"/>
                        <a:pt x="2893" y="1194"/>
                      </a:cubicBezTo>
                      <a:cubicBezTo>
                        <a:pt x="2893" y="1186"/>
                        <a:pt x="2901" y="1170"/>
                        <a:pt x="2901" y="1154"/>
                      </a:cubicBezTo>
                      <a:cubicBezTo>
                        <a:pt x="2908" y="1123"/>
                        <a:pt x="2924" y="1083"/>
                        <a:pt x="2908" y="1060"/>
                      </a:cubicBezTo>
                      <a:cubicBezTo>
                        <a:pt x="2901" y="1052"/>
                        <a:pt x="2901" y="1044"/>
                        <a:pt x="2901" y="1044"/>
                      </a:cubicBezTo>
                      <a:cubicBezTo>
                        <a:pt x="2877" y="1020"/>
                        <a:pt x="2877" y="1020"/>
                        <a:pt x="2893" y="996"/>
                      </a:cubicBezTo>
                      <a:cubicBezTo>
                        <a:pt x="2901" y="973"/>
                        <a:pt x="2901" y="949"/>
                        <a:pt x="2893" y="941"/>
                      </a:cubicBezTo>
                      <a:cubicBezTo>
                        <a:pt x="2877" y="933"/>
                        <a:pt x="2877" y="910"/>
                        <a:pt x="2885" y="886"/>
                      </a:cubicBezTo>
                      <a:cubicBezTo>
                        <a:pt x="2885" y="878"/>
                        <a:pt x="2885" y="878"/>
                        <a:pt x="2877" y="878"/>
                      </a:cubicBezTo>
                      <a:cubicBezTo>
                        <a:pt x="2869" y="870"/>
                        <a:pt x="2853" y="870"/>
                        <a:pt x="2861" y="854"/>
                      </a:cubicBezTo>
                      <a:cubicBezTo>
                        <a:pt x="2861" y="838"/>
                        <a:pt x="2861" y="815"/>
                        <a:pt x="2861" y="815"/>
                      </a:cubicBezTo>
                      <a:cubicBezTo>
                        <a:pt x="2853" y="807"/>
                        <a:pt x="2845" y="791"/>
                        <a:pt x="2837" y="791"/>
                      </a:cubicBezTo>
                      <a:lnTo>
                        <a:pt x="2829" y="791"/>
                      </a:lnTo>
                      <a:cubicBezTo>
                        <a:pt x="2821" y="791"/>
                        <a:pt x="2821" y="791"/>
                        <a:pt x="2821" y="791"/>
                      </a:cubicBezTo>
                      <a:cubicBezTo>
                        <a:pt x="2814" y="791"/>
                        <a:pt x="2814" y="791"/>
                        <a:pt x="2805" y="791"/>
                      </a:cubicBezTo>
                      <a:cubicBezTo>
                        <a:pt x="2805" y="783"/>
                        <a:pt x="2805" y="775"/>
                        <a:pt x="2805" y="775"/>
                      </a:cubicBezTo>
                      <a:cubicBezTo>
                        <a:pt x="2805" y="767"/>
                        <a:pt x="2805" y="759"/>
                        <a:pt x="2805" y="759"/>
                      </a:cubicBezTo>
                      <a:cubicBezTo>
                        <a:pt x="2814" y="720"/>
                        <a:pt x="2814" y="657"/>
                        <a:pt x="2790" y="625"/>
                      </a:cubicBezTo>
                      <a:cubicBezTo>
                        <a:pt x="2774" y="609"/>
                        <a:pt x="2774" y="593"/>
                        <a:pt x="2766" y="570"/>
                      </a:cubicBezTo>
                      <a:cubicBezTo>
                        <a:pt x="2766" y="562"/>
                        <a:pt x="2766" y="546"/>
                        <a:pt x="2750" y="538"/>
                      </a:cubicBezTo>
                      <a:cubicBezTo>
                        <a:pt x="2742" y="514"/>
                        <a:pt x="2734" y="506"/>
                        <a:pt x="2734" y="490"/>
                      </a:cubicBezTo>
                      <a:cubicBezTo>
                        <a:pt x="2727" y="490"/>
                        <a:pt x="2727" y="483"/>
                        <a:pt x="2719" y="467"/>
                      </a:cubicBezTo>
                      <a:cubicBezTo>
                        <a:pt x="2711" y="451"/>
                        <a:pt x="2711" y="435"/>
                        <a:pt x="2711" y="419"/>
                      </a:cubicBezTo>
                      <a:cubicBezTo>
                        <a:pt x="2711" y="412"/>
                        <a:pt x="2711" y="396"/>
                        <a:pt x="2703" y="396"/>
                      </a:cubicBezTo>
                      <a:cubicBezTo>
                        <a:pt x="2703" y="388"/>
                        <a:pt x="2703" y="372"/>
                        <a:pt x="2695" y="364"/>
                      </a:cubicBezTo>
                      <a:lnTo>
                        <a:pt x="2695" y="364"/>
                      </a:lnTo>
                      <a:cubicBezTo>
                        <a:pt x="2687" y="364"/>
                        <a:pt x="2679" y="364"/>
                        <a:pt x="2671" y="364"/>
                      </a:cubicBezTo>
                      <a:cubicBezTo>
                        <a:pt x="2671" y="364"/>
                        <a:pt x="2671" y="364"/>
                        <a:pt x="2663" y="364"/>
                      </a:cubicBezTo>
                      <a:cubicBezTo>
                        <a:pt x="2640" y="364"/>
                        <a:pt x="2624" y="332"/>
                        <a:pt x="2617" y="317"/>
                      </a:cubicBezTo>
                      <a:cubicBezTo>
                        <a:pt x="2617" y="309"/>
                        <a:pt x="2609" y="301"/>
                        <a:pt x="2609" y="301"/>
                      </a:cubicBezTo>
                      <a:cubicBezTo>
                        <a:pt x="2601" y="301"/>
                        <a:pt x="2569" y="277"/>
                        <a:pt x="2554" y="253"/>
                      </a:cubicBezTo>
                      <a:cubicBezTo>
                        <a:pt x="2538" y="230"/>
                        <a:pt x="2475" y="214"/>
                        <a:pt x="2443" y="214"/>
                      </a:cubicBezTo>
                      <a:cubicBezTo>
                        <a:pt x="2419" y="214"/>
                        <a:pt x="2419" y="206"/>
                        <a:pt x="2411" y="190"/>
                      </a:cubicBezTo>
                      <a:cubicBezTo>
                        <a:pt x="2403" y="190"/>
                        <a:pt x="2403" y="182"/>
                        <a:pt x="2395" y="174"/>
                      </a:cubicBezTo>
                      <a:cubicBezTo>
                        <a:pt x="2395" y="174"/>
                        <a:pt x="2380" y="166"/>
                        <a:pt x="2332" y="166"/>
                      </a:cubicBezTo>
                      <a:cubicBezTo>
                        <a:pt x="2316" y="166"/>
                        <a:pt x="2293" y="166"/>
                        <a:pt x="2277" y="166"/>
                      </a:cubicBezTo>
                      <a:cubicBezTo>
                        <a:pt x="2253" y="166"/>
                        <a:pt x="2229" y="166"/>
                        <a:pt x="2222" y="166"/>
                      </a:cubicBezTo>
                      <a:cubicBezTo>
                        <a:pt x="2206" y="166"/>
                        <a:pt x="2198" y="174"/>
                        <a:pt x="2190" y="190"/>
                      </a:cubicBezTo>
                      <a:lnTo>
                        <a:pt x="2182" y="198"/>
                      </a:lnTo>
                      <a:cubicBezTo>
                        <a:pt x="2166" y="222"/>
                        <a:pt x="2166" y="230"/>
                        <a:pt x="2158" y="230"/>
                      </a:cubicBezTo>
                      <a:cubicBezTo>
                        <a:pt x="2151" y="230"/>
                        <a:pt x="2151" y="222"/>
                        <a:pt x="2151" y="222"/>
                      </a:cubicBezTo>
                      <a:cubicBezTo>
                        <a:pt x="2151" y="222"/>
                        <a:pt x="2143" y="222"/>
                        <a:pt x="2143" y="214"/>
                      </a:cubicBezTo>
                      <a:cubicBezTo>
                        <a:pt x="2135" y="206"/>
                        <a:pt x="2119" y="190"/>
                        <a:pt x="2087" y="190"/>
                      </a:cubicBezTo>
                      <a:cubicBezTo>
                        <a:pt x="2056" y="182"/>
                        <a:pt x="2048" y="174"/>
                        <a:pt x="2048" y="159"/>
                      </a:cubicBezTo>
                      <a:cubicBezTo>
                        <a:pt x="2040" y="151"/>
                        <a:pt x="2040" y="151"/>
                        <a:pt x="2040" y="151"/>
                      </a:cubicBezTo>
                      <a:cubicBezTo>
                        <a:pt x="2032" y="135"/>
                        <a:pt x="1992" y="111"/>
                        <a:pt x="1984" y="103"/>
                      </a:cubicBezTo>
                      <a:cubicBezTo>
                        <a:pt x="1961" y="103"/>
                        <a:pt x="1921" y="103"/>
                        <a:pt x="1874" y="103"/>
                      </a:cubicBezTo>
                      <a:cubicBezTo>
                        <a:pt x="1399" y="103"/>
                        <a:pt x="300" y="24"/>
                        <a:pt x="71" y="8"/>
                      </a:cubicBezTo>
                      <a:cubicBezTo>
                        <a:pt x="8" y="965"/>
                        <a:pt x="8" y="965"/>
                        <a:pt x="8" y="965"/>
                      </a:cubicBezTo>
                      <a:cubicBezTo>
                        <a:pt x="222" y="981"/>
                        <a:pt x="388" y="989"/>
                        <a:pt x="498" y="989"/>
                      </a:cubicBezTo>
                      <a:cubicBezTo>
                        <a:pt x="553" y="989"/>
                        <a:pt x="601" y="989"/>
                        <a:pt x="633" y="981"/>
                      </a:cubicBezTo>
                      <a:cubicBezTo>
                        <a:pt x="633" y="981"/>
                        <a:pt x="640" y="981"/>
                        <a:pt x="648" y="981"/>
                      </a:cubicBezTo>
                      <a:cubicBezTo>
                        <a:pt x="672" y="981"/>
                        <a:pt x="704" y="989"/>
                        <a:pt x="712" y="1036"/>
                      </a:cubicBezTo>
                      <a:cubicBezTo>
                        <a:pt x="712" y="1052"/>
                        <a:pt x="704" y="1194"/>
                        <a:pt x="696" y="14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8" name="Freeform 352">
                  <a:extLst>
                    <a:ext uri="{FF2B5EF4-FFF2-40B4-BE49-F238E27FC236}">
                      <a16:creationId xmlns:a16="http://schemas.microsoft.com/office/drawing/2014/main" id="{4D4FE045-1C2B-ED45-B7CB-3D46527AC1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195531" y="5894674"/>
                  <a:ext cx="1454204" cy="776968"/>
                </a:xfrm>
                <a:custGeom>
                  <a:avLst/>
                  <a:gdLst>
                    <a:gd name="T0" fmla="*/ 2758 w 2767"/>
                    <a:gd name="T1" fmla="*/ 529 h 1478"/>
                    <a:gd name="T2" fmla="*/ 2758 w 2767"/>
                    <a:gd name="T3" fmla="*/ 529 h 1478"/>
                    <a:gd name="T4" fmla="*/ 2711 w 2767"/>
                    <a:gd name="T5" fmla="*/ 419 h 1478"/>
                    <a:gd name="T6" fmla="*/ 2655 w 2767"/>
                    <a:gd name="T7" fmla="*/ 356 h 1478"/>
                    <a:gd name="T8" fmla="*/ 2624 w 2767"/>
                    <a:gd name="T9" fmla="*/ 300 h 1478"/>
                    <a:gd name="T10" fmla="*/ 2560 w 2767"/>
                    <a:gd name="T11" fmla="*/ 245 h 1478"/>
                    <a:gd name="T12" fmla="*/ 2631 w 2767"/>
                    <a:gd name="T13" fmla="*/ 182 h 1478"/>
                    <a:gd name="T14" fmla="*/ 2655 w 2767"/>
                    <a:gd name="T15" fmla="*/ 150 h 1478"/>
                    <a:gd name="T16" fmla="*/ 2624 w 2767"/>
                    <a:gd name="T17" fmla="*/ 103 h 1478"/>
                    <a:gd name="T18" fmla="*/ 2584 w 2767"/>
                    <a:gd name="T19" fmla="*/ 95 h 1478"/>
                    <a:gd name="T20" fmla="*/ 2560 w 2767"/>
                    <a:gd name="T21" fmla="*/ 118 h 1478"/>
                    <a:gd name="T22" fmla="*/ 2497 w 2767"/>
                    <a:gd name="T23" fmla="*/ 47 h 1478"/>
                    <a:gd name="T24" fmla="*/ 79 w 2767"/>
                    <a:gd name="T25" fmla="*/ 0 h 1478"/>
                    <a:gd name="T26" fmla="*/ 0 w 2767"/>
                    <a:gd name="T27" fmla="*/ 1414 h 1478"/>
                    <a:gd name="T28" fmla="*/ 2758 w 2767"/>
                    <a:gd name="T29" fmla="*/ 1469 h 1478"/>
                    <a:gd name="T30" fmla="*/ 2758 w 2767"/>
                    <a:gd name="T31" fmla="*/ 529 h 1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767" h="1478">
                      <a:moveTo>
                        <a:pt x="2758" y="529"/>
                      </a:moveTo>
                      <a:lnTo>
                        <a:pt x="2758" y="529"/>
                      </a:lnTo>
                      <a:cubicBezTo>
                        <a:pt x="2766" y="403"/>
                        <a:pt x="2726" y="442"/>
                        <a:pt x="2711" y="419"/>
                      </a:cubicBezTo>
                      <a:cubicBezTo>
                        <a:pt x="2687" y="395"/>
                        <a:pt x="2655" y="387"/>
                        <a:pt x="2655" y="356"/>
                      </a:cubicBezTo>
                      <a:cubicBezTo>
                        <a:pt x="2655" y="324"/>
                        <a:pt x="2655" y="324"/>
                        <a:pt x="2624" y="300"/>
                      </a:cubicBezTo>
                      <a:cubicBezTo>
                        <a:pt x="2584" y="276"/>
                        <a:pt x="2536" y="269"/>
                        <a:pt x="2560" y="245"/>
                      </a:cubicBezTo>
                      <a:cubicBezTo>
                        <a:pt x="2592" y="213"/>
                        <a:pt x="2608" y="189"/>
                        <a:pt x="2631" y="182"/>
                      </a:cubicBezTo>
                      <a:cubicBezTo>
                        <a:pt x="2655" y="174"/>
                        <a:pt x="2671" y="174"/>
                        <a:pt x="2655" y="150"/>
                      </a:cubicBezTo>
                      <a:cubicBezTo>
                        <a:pt x="2647" y="126"/>
                        <a:pt x="2624" y="126"/>
                        <a:pt x="2624" y="103"/>
                      </a:cubicBezTo>
                      <a:cubicBezTo>
                        <a:pt x="2624" y="79"/>
                        <a:pt x="2584" y="71"/>
                        <a:pt x="2584" y="95"/>
                      </a:cubicBezTo>
                      <a:cubicBezTo>
                        <a:pt x="2584" y="118"/>
                        <a:pt x="2584" y="134"/>
                        <a:pt x="2560" y="118"/>
                      </a:cubicBezTo>
                      <a:cubicBezTo>
                        <a:pt x="2545" y="103"/>
                        <a:pt x="2513" y="71"/>
                        <a:pt x="2497" y="47"/>
                      </a:cubicBezTo>
                      <a:cubicBezTo>
                        <a:pt x="1873" y="87"/>
                        <a:pt x="308" y="8"/>
                        <a:pt x="79" y="0"/>
                      </a:cubicBezTo>
                      <a:cubicBezTo>
                        <a:pt x="55" y="411"/>
                        <a:pt x="24" y="1019"/>
                        <a:pt x="0" y="1414"/>
                      </a:cubicBezTo>
                      <a:cubicBezTo>
                        <a:pt x="814" y="1461"/>
                        <a:pt x="1739" y="1477"/>
                        <a:pt x="2758" y="1469"/>
                      </a:cubicBezTo>
                      <a:cubicBezTo>
                        <a:pt x="2758" y="1469"/>
                        <a:pt x="2750" y="656"/>
                        <a:pt x="2758" y="5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9" name="Freeform 353">
                  <a:extLst>
                    <a:ext uri="{FF2B5EF4-FFF2-40B4-BE49-F238E27FC236}">
                      <a16:creationId xmlns:a16="http://schemas.microsoft.com/office/drawing/2014/main" id="{4D9A1464-39C9-AB41-8E8C-ED24CF92A5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195531" y="5890036"/>
                  <a:ext cx="1454204" cy="781607"/>
                </a:xfrm>
                <a:custGeom>
                  <a:avLst/>
                  <a:gdLst>
                    <a:gd name="T0" fmla="*/ 2181 w 2767"/>
                    <a:gd name="T1" fmla="*/ 1485 h 1486"/>
                    <a:gd name="T2" fmla="*/ 0 w 2767"/>
                    <a:gd name="T3" fmla="*/ 1430 h 1486"/>
                    <a:gd name="T4" fmla="*/ 0 w 2767"/>
                    <a:gd name="T5" fmla="*/ 1422 h 1486"/>
                    <a:gd name="T6" fmla="*/ 79 w 2767"/>
                    <a:gd name="T7" fmla="*/ 0 h 1486"/>
                    <a:gd name="T8" fmla="*/ 2039 w 2767"/>
                    <a:gd name="T9" fmla="*/ 63 h 1486"/>
                    <a:gd name="T10" fmla="*/ 2497 w 2767"/>
                    <a:gd name="T11" fmla="*/ 55 h 1486"/>
                    <a:gd name="T12" fmla="*/ 2576 w 2767"/>
                    <a:gd name="T13" fmla="*/ 126 h 1486"/>
                    <a:gd name="T14" fmla="*/ 2600 w 2767"/>
                    <a:gd name="T15" fmla="*/ 87 h 1486"/>
                    <a:gd name="T16" fmla="*/ 2639 w 2767"/>
                    <a:gd name="T17" fmla="*/ 134 h 1486"/>
                    <a:gd name="T18" fmla="*/ 2663 w 2767"/>
                    <a:gd name="T19" fmla="*/ 182 h 1486"/>
                    <a:gd name="T20" fmla="*/ 2631 w 2767"/>
                    <a:gd name="T21" fmla="*/ 197 h 1486"/>
                    <a:gd name="T22" fmla="*/ 2568 w 2767"/>
                    <a:gd name="T23" fmla="*/ 253 h 1486"/>
                    <a:gd name="T24" fmla="*/ 2584 w 2767"/>
                    <a:gd name="T25" fmla="*/ 284 h 1486"/>
                    <a:gd name="T26" fmla="*/ 2631 w 2767"/>
                    <a:gd name="T27" fmla="*/ 308 h 1486"/>
                    <a:gd name="T28" fmla="*/ 2687 w 2767"/>
                    <a:gd name="T29" fmla="*/ 403 h 1486"/>
                    <a:gd name="T30" fmla="*/ 2726 w 2767"/>
                    <a:gd name="T31" fmla="*/ 435 h 1486"/>
                    <a:gd name="T32" fmla="*/ 2766 w 2767"/>
                    <a:gd name="T33" fmla="*/ 1477 h 1486"/>
                    <a:gd name="T34" fmla="*/ 2758 w 2767"/>
                    <a:gd name="T35" fmla="*/ 1477 h 1486"/>
                    <a:gd name="T36" fmla="*/ 8 w 2767"/>
                    <a:gd name="T37" fmla="*/ 1422 h 1486"/>
                    <a:gd name="T38" fmla="*/ 2181 w 2767"/>
                    <a:gd name="T39" fmla="*/ 1477 h 1486"/>
                    <a:gd name="T40" fmla="*/ 2758 w 2767"/>
                    <a:gd name="T41" fmla="*/ 1469 h 1486"/>
                    <a:gd name="T42" fmla="*/ 2726 w 2767"/>
                    <a:gd name="T43" fmla="*/ 443 h 1486"/>
                    <a:gd name="T44" fmla="*/ 2687 w 2767"/>
                    <a:gd name="T45" fmla="*/ 411 h 1486"/>
                    <a:gd name="T46" fmla="*/ 2631 w 2767"/>
                    <a:gd name="T47" fmla="*/ 316 h 1486"/>
                    <a:gd name="T48" fmla="*/ 2584 w 2767"/>
                    <a:gd name="T49" fmla="*/ 292 h 1486"/>
                    <a:gd name="T50" fmla="*/ 2560 w 2767"/>
                    <a:gd name="T51" fmla="*/ 245 h 1486"/>
                    <a:gd name="T52" fmla="*/ 2631 w 2767"/>
                    <a:gd name="T53" fmla="*/ 190 h 1486"/>
                    <a:gd name="T54" fmla="*/ 2663 w 2767"/>
                    <a:gd name="T55" fmla="*/ 174 h 1486"/>
                    <a:gd name="T56" fmla="*/ 2639 w 2767"/>
                    <a:gd name="T57" fmla="*/ 134 h 1486"/>
                    <a:gd name="T58" fmla="*/ 2600 w 2767"/>
                    <a:gd name="T59" fmla="*/ 95 h 1486"/>
                    <a:gd name="T60" fmla="*/ 2576 w 2767"/>
                    <a:gd name="T61" fmla="*/ 134 h 1486"/>
                    <a:gd name="T62" fmla="*/ 2489 w 2767"/>
                    <a:gd name="T63" fmla="*/ 63 h 1486"/>
                    <a:gd name="T64" fmla="*/ 87 w 2767"/>
                    <a:gd name="T65" fmla="*/ 8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767" h="1486">
                      <a:moveTo>
                        <a:pt x="2181" y="1485"/>
                      </a:moveTo>
                      <a:lnTo>
                        <a:pt x="2181" y="1485"/>
                      </a:lnTo>
                      <a:lnTo>
                        <a:pt x="2181" y="1485"/>
                      </a:lnTo>
                      <a:cubicBezTo>
                        <a:pt x="1447" y="1485"/>
                        <a:pt x="711" y="1461"/>
                        <a:pt x="0" y="1430"/>
                      </a:cubicBezTo>
                      <a:lnTo>
                        <a:pt x="0" y="1430"/>
                      </a:ln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24" y="1003"/>
                        <a:pt x="55" y="411"/>
                        <a:pt x="79" y="8"/>
                      </a:cubicBezTo>
                      <a:cubicBezTo>
                        <a:pt x="79" y="0"/>
                        <a:pt x="79" y="0"/>
                        <a:pt x="79" y="0"/>
                      </a:cubicBezTo>
                      <a:lnTo>
                        <a:pt x="79" y="0"/>
                      </a:lnTo>
                      <a:cubicBezTo>
                        <a:pt x="277" y="16"/>
                        <a:pt x="1312" y="63"/>
                        <a:pt x="2039" y="63"/>
                      </a:cubicBezTo>
                      <a:cubicBezTo>
                        <a:pt x="2228" y="63"/>
                        <a:pt x="2378" y="63"/>
                        <a:pt x="2497" y="55"/>
                      </a:cubicBezTo>
                      <a:lnTo>
                        <a:pt x="2497" y="55"/>
                      </a:lnTo>
                      <a:cubicBezTo>
                        <a:pt x="2568" y="126"/>
                        <a:pt x="2568" y="126"/>
                        <a:pt x="2568" y="126"/>
                      </a:cubicBezTo>
                      <a:lnTo>
                        <a:pt x="2576" y="126"/>
                      </a:lnTo>
                      <a:cubicBezTo>
                        <a:pt x="2576" y="126"/>
                        <a:pt x="2576" y="111"/>
                        <a:pt x="2576" y="103"/>
                      </a:cubicBezTo>
                      <a:cubicBezTo>
                        <a:pt x="2576" y="95"/>
                        <a:pt x="2584" y="87"/>
                        <a:pt x="2600" y="87"/>
                      </a:cubicBezTo>
                      <a:cubicBezTo>
                        <a:pt x="2608" y="87"/>
                        <a:pt x="2624" y="95"/>
                        <a:pt x="2624" y="111"/>
                      </a:cubicBezTo>
                      <a:cubicBezTo>
                        <a:pt x="2624" y="119"/>
                        <a:pt x="2631" y="126"/>
                        <a:pt x="2639" y="134"/>
                      </a:cubicBezTo>
                      <a:cubicBezTo>
                        <a:pt x="2647" y="142"/>
                        <a:pt x="2655" y="142"/>
                        <a:pt x="2663" y="158"/>
                      </a:cubicBezTo>
                      <a:cubicBezTo>
                        <a:pt x="2671" y="166"/>
                        <a:pt x="2671" y="174"/>
                        <a:pt x="2663" y="182"/>
                      </a:cubicBezTo>
                      <a:cubicBezTo>
                        <a:pt x="2663" y="190"/>
                        <a:pt x="2655" y="190"/>
                        <a:pt x="2639" y="190"/>
                      </a:cubicBezTo>
                      <a:cubicBezTo>
                        <a:pt x="2639" y="190"/>
                        <a:pt x="2639" y="190"/>
                        <a:pt x="2631" y="197"/>
                      </a:cubicBezTo>
                      <a:cubicBezTo>
                        <a:pt x="2616" y="197"/>
                        <a:pt x="2592" y="221"/>
                        <a:pt x="2568" y="245"/>
                      </a:cubicBezTo>
                      <a:cubicBezTo>
                        <a:pt x="2568" y="253"/>
                        <a:pt x="2568" y="253"/>
                        <a:pt x="2568" y="253"/>
                      </a:cubicBezTo>
                      <a:cubicBezTo>
                        <a:pt x="2560" y="261"/>
                        <a:pt x="2560" y="261"/>
                        <a:pt x="2560" y="269"/>
                      </a:cubicBezTo>
                      <a:cubicBezTo>
                        <a:pt x="2560" y="277"/>
                        <a:pt x="2576" y="277"/>
                        <a:pt x="2584" y="284"/>
                      </a:cubicBezTo>
                      <a:cubicBezTo>
                        <a:pt x="2600" y="292"/>
                        <a:pt x="2616" y="300"/>
                        <a:pt x="2624" y="308"/>
                      </a:cubicBezTo>
                      <a:cubicBezTo>
                        <a:pt x="2631" y="308"/>
                        <a:pt x="2631" y="308"/>
                        <a:pt x="2631" y="308"/>
                      </a:cubicBezTo>
                      <a:cubicBezTo>
                        <a:pt x="2663" y="332"/>
                        <a:pt x="2663" y="332"/>
                        <a:pt x="2663" y="364"/>
                      </a:cubicBezTo>
                      <a:cubicBezTo>
                        <a:pt x="2655" y="379"/>
                        <a:pt x="2671" y="395"/>
                        <a:pt x="2687" y="403"/>
                      </a:cubicBezTo>
                      <a:cubicBezTo>
                        <a:pt x="2695" y="411"/>
                        <a:pt x="2703" y="419"/>
                        <a:pt x="2711" y="427"/>
                      </a:cubicBezTo>
                      <a:cubicBezTo>
                        <a:pt x="2711" y="427"/>
                        <a:pt x="2718" y="435"/>
                        <a:pt x="2726" y="435"/>
                      </a:cubicBezTo>
                      <a:cubicBezTo>
                        <a:pt x="2750" y="443"/>
                        <a:pt x="2766" y="450"/>
                        <a:pt x="2758" y="537"/>
                      </a:cubicBezTo>
                      <a:cubicBezTo>
                        <a:pt x="2750" y="664"/>
                        <a:pt x="2766" y="1469"/>
                        <a:pt x="2766" y="1477"/>
                      </a:cubicBezTo>
                      <a:lnTo>
                        <a:pt x="2766" y="1477"/>
                      </a:lnTo>
                      <a:cubicBezTo>
                        <a:pt x="2758" y="1477"/>
                        <a:pt x="2758" y="1477"/>
                        <a:pt x="2758" y="1477"/>
                      </a:cubicBezTo>
                      <a:cubicBezTo>
                        <a:pt x="2568" y="1477"/>
                        <a:pt x="2378" y="1485"/>
                        <a:pt x="2181" y="1485"/>
                      </a:cubicBezTo>
                      <a:close/>
                      <a:moveTo>
                        <a:pt x="8" y="1422"/>
                      </a:moveTo>
                      <a:lnTo>
                        <a:pt x="8" y="1422"/>
                      </a:lnTo>
                      <a:cubicBezTo>
                        <a:pt x="711" y="1453"/>
                        <a:pt x="1447" y="1477"/>
                        <a:pt x="2181" y="1477"/>
                      </a:cubicBezTo>
                      <a:lnTo>
                        <a:pt x="2181" y="1477"/>
                      </a:lnTo>
                      <a:cubicBezTo>
                        <a:pt x="2371" y="1477"/>
                        <a:pt x="2568" y="1477"/>
                        <a:pt x="2758" y="1469"/>
                      </a:cubicBezTo>
                      <a:cubicBezTo>
                        <a:pt x="2758" y="1414"/>
                        <a:pt x="2750" y="664"/>
                        <a:pt x="2758" y="537"/>
                      </a:cubicBezTo>
                      <a:cubicBezTo>
                        <a:pt x="2758" y="450"/>
                        <a:pt x="2742" y="443"/>
                        <a:pt x="2726" y="443"/>
                      </a:cubicBezTo>
                      <a:cubicBezTo>
                        <a:pt x="2718" y="435"/>
                        <a:pt x="2711" y="435"/>
                        <a:pt x="2703" y="427"/>
                      </a:cubicBezTo>
                      <a:cubicBezTo>
                        <a:pt x="2695" y="427"/>
                        <a:pt x="2695" y="419"/>
                        <a:pt x="2687" y="411"/>
                      </a:cubicBezTo>
                      <a:cubicBezTo>
                        <a:pt x="2671" y="395"/>
                        <a:pt x="2647" y="387"/>
                        <a:pt x="2655" y="364"/>
                      </a:cubicBezTo>
                      <a:cubicBezTo>
                        <a:pt x="2655" y="332"/>
                        <a:pt x="2655" y="332"/>
                        <a:pt x="2631" y="316"/>
                      </a:cubicBezTo>
                      <a:cubicBezTo>
                        <a:pt x="2624" y="308"/>
                        <a:pt x="2624" y="308"/>
                        <a:pt x="2624" y="308"/>
                      </a:cubicBezTo>
                      <a:cubicBezTo>
                        <a:pt x="2608" y="300"/>
                        <a:pt x="2592" y="300"/>
                        <a:pt x="2584" y="292"/>
                      </a:cubicBezTo>
                      <a:cubicBezTo>
                        <a:pt x="2568" y="284"/>
                        <a:pt x="2552" y="277"/>
                        <a:pt x="2552" y="269"/>
                      </a:cubicBezTo>
                      <a:cubicBezTo>
                        <a:pt x="2552" y="261"/>
                        <a:pt x="2552" y="253"/>
                        <a:pt x="2560" y="245"/>
                      </a:cubicBezTo>
                      <a:lnTo>
                        <a:pt x="2560" y="245"/>
                      </a:lnTo>
                      <a:cubicBezTo>
                        <a:pt x="2592" y="213"/>
                        <a:pt x="2608" y="190"/>
                        <a:pt x="2631" y="190"/>
                      </a:cubicBezTo>
                      <a:lnTo>
                        <a:pt x="2639" y="182"/>
                      </a:lnTo>
                      <a:cubicBezTo>
                        <a:pt x="2647" y="182"/>
                        <a:pt x="2655" y="182"/>
                        <a:pt x="2663" y="174"/>
                      </a:cubicBezTo>
                      <a:cubicBezTo>
                        <a:pt x="2663" y="174"/>
                        <a:pt x="2663" y="166"/>
                        <a:pt x="2655" y="158"/>
                      </a:cubicBezTo>
                      <a:cubicBezTo>
                        <a:pt x="2647" y="150"/>
                        <a:pt x="2639" y="142"/>
                        <a:pt x="2639" y="134"/>
                      </a:cubicBezTo>
                      <a:cubicBezTo>
                        <a:pt x="2624" y="126"/>
                        <a:pt x="2616" y="126"/>
                        <a:pt x="2616" y="111"/>
                      </a:cubicBezTo>
                      <a:cubicBezTo>
                        <a:pt x="2616" y="95"/>
                        <a:pt x="2608" y="95"/>
                        <a:pt x="2600" y="95"/>
                      </a:cubicBezTo>
                      <a:cubicBezTo>
                        <a:pt x="2592" y="95"/>
                        <a:pt x="2584" y="95"/>
                        <a:pt x="2584" y="103"/>
                      </a:cubicBezTo>
                      <a:cubicBezTo>
                        <a:pt x="2584" y="119"/>
                        <a:pt x="2584" y="134"/>
                        <a:pt x="2576" y="134"/>
                      </a:cubicBezTo>
                      <a:cubicBezTo>
                        <a:pt x="2568" y="134"/>
                        <a:pt x="2568" y="134"/>
                        <a:pt x="2560" y="126"/>
                      </a:cubicBezTo>
                      <a:cubicBezTo>
                        <a:pt x="2489" y="63"/>
                        <a:pt x="2489" y="63"/>
                        <a:pt x="2489" y="63"/>
                      </a:cubicBezTo>
                      <a:cubicBezTo>
                        <a:pt x="2378" y="63"/>
                        <a:pt x="2220" y="71"/>
                        <a:pt x="2039" y="71"/>
                      </a:cubicBezTo>
                      <a:cubicBezTo>
                        <a:pt x="1320" y="71"/>
                        <a:pt x="292" y="24"/>
                        <a:pt x="87" y="8"/>
                      </a:cubicBezTo>
                      <a:cubicBezTo>
                        <a:pt x="63" y="411"/>
                        <a:pt x="31" y="995"/>
                        <a:pt x="8" y="142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0" name="Freeform 384">
                  <a:extLst>
                    <a:ext uri="{FF2B5EF4-FFF2-40B4-BE49-F238E27FC236}">
                      <a16:creationId xmlns:a16="http://schemas.microsoft.com/office/drawing/2014/main" id="{5AE1011A-5CDF-3942-9D9C-7DE142EB59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166561" y="7963495"/>
                  <a:ext cx="1809058" cy="1393905"/>
                </a:xfrm>
                <a:custGeom>
                  <a:avLst/>
                  <a:gdLst>
                    <a:gd name="T0" fmla="*/ 3392 w 3440"/>
                    <a:gd name="T1" fmla="*/ 2403 h 2649"/>
                    <a:gd name="T2" fmla="*/ 3431 w 3440"/>
                    <a:gd name="T3" fmla="*/ 2063 h 2649"/>
                    <a:gd name="T4" fmla="*/ 3052 w 3440"/>
                    <a:gd name="T5" fmla="*/ 1146 h 2649"/>
                    <a:gd name="T6" fmla="*/ 2981 w 3440"/>
                    <a:gd name="T7" fmla="*/ 1027 h 2649"/>
                    <a:gd name="T8" fmla="*/ 2965 w 3440"/>
                    <a:gd name="T9" fmla="*/ 948 h 2649"/>
                    <a:gd name="T10" fmla="*/ 3052 w 3440"/>
                    <a:gd name="T11" fmla="*/ 1035 h 2649"/>
                    <a:gd name="T12" fmla="*/ 2680 w 3440"/>
                    <a:gd name="T13" fmla="*/ 458 h 2649"/>
                    <a:gd name="T14" fmla="*/ 2514 w 3440"/>
                    <a:gd name="T15" fmla="*/ 63 h 2649"/>
                    <a:gd name="T16" fmla="*/ 2491 w 3440"/>
                    <a:gd name="T17" fmla="*/ 15 h 2649"/>
                    <a:gd name="T18" fmla="*/ 2285 w 3440"/>
                    <a:gd name="T19" fmla="*/ 197 h 2649"/>
                    <a:gd name="T20" fmla="*/ 2190 w 3440"/>
                    <a:gd name="T21" fmla="*/ 134 h 2649"/>
                    <a:gd name="T22" fmla="*/ 24 w 3440"/>
                    <a:gd name="T23" fmla="*/ 237 h 2649"/>
                    <a:gd name="T24" fmla="*/ 127 w 3440"/>
                    <a:gd name="T25" fmla="*/ 458 h 2649"/>
                    <a:gd name="T26" fmla="*/ 198 w 3440"/>
                    <a:gd name="T27" fmla="*/ 474 h 2649"/>
                    <a:gd name="T28" fmla="*/ 285 w 3440"/>
                    <a:gd name="T29" fmla="*/ 403 h 2649"/>
                    <a:gd name="T30" fmla="*/ 214 w 3440"/>
                    <a:gd name="T31" fmla="*/ 506 h 2649"/>
                    <a:gd name="T32" fmla="*/ 514 w 3440"/>
                    <a:gd name="T33" fmla="*/ 395 h 2649"/>
                    <a:gd name="T34" fmla="*/ 546 w 3440"/>
                    <a:gd name="T35" fmla="*/ 419 h 2649"/>
                    <a:gd name="T36" fmla="*/ 815 w 3440"/>
                    <a:gd name="T37" fmla="*/ 521 h 2649"/>
                    <a:gd name="T38" fmla="*/ 830 w 3440"/>
                    <a:gd name="T39" fmla="*/ 450 h 2649"/>
                    <a:gd name="T40" fmla="*/ 862 w 3440"/>
                    <a:gd name="T41" fmla="*/ 513 h 2649"/>
                    <a:gd name="T42" fmla="*/ 965 w 3440"/>
                    <a:gd name="T43" fmla="*/ 672 h 2649"/>
                    <a:gd name="T44" fmla="*/ 1241 w 3440"/>
                    <a:gd name="T45" fmla="*/ 640 h 2649"/>
                    <a:gd name="T46" fmla="*/ 1170 w 3440"/>
                    <a:gd name="T47" fmla="*/ 735 h 2649"/>
                    <a:gd name="T48" fmla="*/ 1352 w 3440"/>
                    <a:gd name="T49" fmla="*/ 561 h 2649"/>
                    <a:gd name="T50" fmla="*/ 1471 w 3440"/>
                    <a:gd name="T51" fmla="*/ 458 h 2649"/>
                    <a:gd name="T52" fmla="*/ 1811 w 3440"/>
                    <a:gd name="T53" fmla="*/ 664 h 2649"/>
                    <a:gd name="T54" fmla="*/ 2087 w 3440"/>
                    <a:gd name="T55" fmla="*/ 853 h 2649"/>
                    <a:gd name="T56" fmla="*/ 2174 w 3440"/>
                    <a:gd name="T57" fmla="*/ 1106 h 2649"/>
                    <a:gd name="T58" fmla="*/ 2159 w 3440"/>
                    <a:gd name="T59" fmla="*/ 1415 h 2649"/>
                    <a:gd name="T60" fmla="*/ 2214 w 3440"/>
                    <a:gd name="T61" fmla="*/ 1367 h 2649"/>
                    <a:gd name="T62" fmla="*/ 2324 w 3440"/>
                    <a:gd name="T63" fmla="*/ 1423 h 2649"/>
                    <a:gd name="T64" fmla="*/ 2222 w 3440"/>
                    <a:gd name="T65" fmla="*/ 1589 h 2649"/>
                    <a:gd name="T66" fmla="*/ 2451 w 3440"/>
                    <a:gd name="T67" fmla="*/ 1865 h 2649"/>
                    <a:gd name="T68" fmla="*/ 2530 w 3440"/>
                    <a:gd name="T69" fmla="*/ 1818 h 2649"/>
                    <a:gd name="T70" fmla="*/ 2609 w 3440"/>
                    <a:gd name="T71" fmla="*/ 1992 h 2649"/>
                    <a:gd name="T72" fmla="*/ 2672 w 3440"/>
                    <a:gd name="T73" fmla="*/ 2071 h 2649"/>
                    <a:gd name="T74" fmla="*/ 2902 w 3440"/>
                    <a:gd name="T75" fmla="*/ 2276 h 2649"/>
                    <a:gd name="T76" fmla="*/ 3123 w 3440"/>
                    <a:gd name="T77" fmla="*/ 2474 h 2649"/>
                    <a:gd name="T78" fmla="*/ 3052 w 3440"/>
                    <a:gd name="T79" fmla="*/ 2490 h 2649"/>
                    <a:gd name="T80" fmla="*/ 3194 w 3440"/>
                    <a:gd name="T81" fmla="*/ 2537 h 2649"/>
                    <a:gd name="T82" fmla="*/ 3360 w 3440"/>
                    <a:gd name="T83" fmla="*/ 2506 h 2649"/>
                    <a:gd name="T84" fmla="*/ 3352 w 3440"/>
                    <a:gd name="T85" fmla="*/ 2593 h 2649"/>
                    <a:gd name="T86" fmla="*/ 3321 w 3440"/>
                    <a:gd name="T87" fmla="*/ 1849 h 2649"/>
                    <a:gd name="T88" fmla="*/ 3242 w 3440"/>
                    <a:gd name="T89" fmla="*/ 1929 h 2649"/>
                    <a:gd name="T90" fmla="*/ 3131 w 3440"/>
                    <a:gd name="T91" fmla="*/ 1810 h 2649"/>
                    <a:gd name="T92" fmla="*/ 3234 w 3440"/>
                    <a:gd name="T93" fmla="*/ 1683 h 26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440" h="2649">
                      <a:moveTo>
                        <a:pt x="3400" y="2434"/>
                      </a:moveTo>
                      <a:lnTo>
                        <a:pt x="3400" y="2434"/>
                      </a:lnTo>
                      <a:cubicBezTo>
                        <a:pt x="3384" y="2434"/>
                        <a:pt x="3384" y="2427"/>
                        <a:pt x="3392" y="2403"/>
                      </a:cubicBezTo>
                      <a:cubicBezTo>
                        <a:pt x="3408" y="2371"/>
                        <a:pt x="3392" y="2387"/>
                        <a:pt x="3384" y="2355"/>
                      </a:cubicBezTo>
                      <a:cubicBezTo>
                        <a:pt x="3384" y="2324"/>
                        <a:pt x="3360" y="2316"/>
                        <a:pt x="3384" y="2284"/>
                      </a:cubicBezTo>
                      <a:cubicBezTo>
                        <a:pt x="3408" y="2253"/>
                        <a:pt x="3431" y="2102"/>
                        <a:pt x="3431" y="2063"/>
                      </a:cubicBezTo>
                      <a:cubicBezTo>
                        <a:pt x="3423" y="2023"/>
                        <a:pt x="3416" y="2000"/>
                        <a:pt x="3423" y="1905"/>
                      </a:cubicBezTo>
                      <a:cubicBezTo>
                        <a:pt x="3439" y="1810"/>
                        <a:pt x="3392" y="1620"/>
                        <a:pt x="3305" y="1549"/>
                      </a:cubicBezTo>
                      <a:cubicBezTo>
                        <a:pt x="3210" y="1486"/>
                        <a:pt x="3202" y="1320"/>
                        <a:pt x="3052" y="1146"/>
                      </a:cubicBezTo>
                      <a:cubicBezTo>
                        <a:pt x="3052" y="1146"/>
                        <a:pt x="3044" y="1075"/>
                        <a:pt x="3036" y="1083"/>
                      </a:cubicBezTo>
                      <a:cubicBezTo>
                        <a:pt x="3020" y="1083"/>
                        <a:pt x="3012" y="1099"/>
                        <a:pt x="3012" y="1083"/>
                      </a:cubicBezTo>
                      <a:cubicBezTo>
                        <a:pt x="3004" y="1067"/>
                        <a:pt x="2997" y="1059"/>
                        <a:pt x="2981" y="1027"/>
                      </a:cubicBezTo>
                      <a:cubicBezTo>
                        <a:pt x="2965" y="996"/>
                        <a:pt x="2910" y="901"/>
                        <a:pt x="2917" y="893"/>
                      </a:cubicBezTo>
                      <a:cubicBezTo>
                        <a:pt x="2925" y="885"/>
                        <a:pt x="2925" y="909"/>
                        <a:pt x="2941" y="917"/>
                      </a:cubicBezTo>
                      <a:cubicBezTo>
                        <a:pt x="2957" y="932"/>
                        <a:pt x="2957" y="948"/>
                        <a:pt x="2965" y="948"/>
                      </a:cubicBezTo>
                      <a:cubicBezTo>
                        <a:pt x="2981" y="948"/>
                        <a:pt x="2981" y="932"/>
                        <a:pt x="2989" y="940"/>
                      </a:cubicBezTo>
                      <a:cubicBezTo>
                        <a:pt x="2997" y="940"/>
                        <a:pt x="3020" y="964"/>
                        <a:pt x="3028" y="996"/>
                      </a:cubicBezTo>
                      <a:cubicBezTo>
                        <a:pt x="3036" y="1027"/>
                        <a:pt x="3044" y="1051"/>
                        <a:pt x="3052" y="1035"/>
                      </a:cubicBezTo>
                      <a:cubicBezTo>
                        <a:pt x="3060" y="1012"/>
                        <a:pt x="3060" y="996"/>
                        <a:pt x="3020" y="924"/>
                      </a:cubicBezTo>
                      <a:cubicBezTo>
                        <a:pt x="2973" y="853"/>
                        <a:pt x="2957" y="853"/>
                        <a:pt x="2941" y="846"/>
                      </a:cubicBezTo>
                      <a:cubicBezTo>
                        <a:pt x="2925" y="830"/>
                        <a:pt x="2704" y="506"/>
                        <a:pt x="2680" y="458"/>
                      </a:cubicBezTo>
                      <a:cubicBezTo>
                        <a:pt x="2680" y="458"/>
                        <a:pt x="2593" y="268"/>
                        <a:pt x="2570" y="229"/>
                      </a:cubicBezTo>
                      <a:cubicBezTo>
                        <a:pt x="2554" y="181"/>
                        <a:pt x="2562" y="158"/>
                        <a:pt x="2538" y="126"/>
                      </a:cubicBezTo>
                      <a:cubicBezTo>
                        <a:pt x="2514" y="95"/>
                        <a:pt x="2506" y="102"/>
                        <a:pt x="2514" y="63"/>
                      </a:cubicBezTo>
                      <a:cubicBezTo>
                        <a:pt x="2522" y="23"/>
                        <a:pt x="2522" y="23"/>
                        <a:pt x="2499" y="7"/>
                      </a:cubicBezTo>
                      <a:lnTo>
                        <a:pt x="2499" y="7"/>
                      </a:lnTo>
                      <a:cubicBezTo>
                        <a:pt x="2491" y="7"/>
                        <a:pt x="2491" y="7"/>
                        <a:pt x="2491" y="15"/>
                      </a:cubicBezTo>
                      <a:cubicBezTo>
                        <a:pt x="2475" y="55"/>
                        <a:pt x="2301" y="0"/>
                        <a:pt x="2277" y="15"/>
                      </a:cubicBezTo>
                      <a:cubicBezTo>
                        <a:pt x="2253" y="23"/>
                        <a:pt x="2261" y="47"/>
                        <a:pt x="2285" y="79"/>
                      </a:cubicBezTo>
                      <a:cubicBezTo>
                        <a:pt x="2301" y="110"/>
                        <a:pt x="2285" y="158"/>
                        <a:pt x="2285" y="197"/>
                      </a:cubicBezTo>
                      <a:cubicBezTo>
                        <a:pt x="2285" y="237"/>
                        <a:pt x="2269" y="229"/>
                        <a:pt x="2238" y="221"/>
                      </a:cubicBezTo>
                      <a:cubicBezTo>
                        <a:pt x="2206" y="221"/>
                        <a:pt x="2214" y="181"/>
                        <a:pt x="2206" y="158"/>
                      </a:cubicBezTo>
                      <a:cubicBezTo>
                        <a:pt x="2198" y="134"/>
                        <a:pt x="2190" y="134"/>
                        <a:pt x="2190" y="134"/>
                      </a:cubicBezTo>
                      <a:cubicBezTo>
                        <a:pt x="2190" y="134"/>
                        <a:pt x="1154" y="213"/>
                        <a:pt x="1139" y="213"/>
                      </a:cubicBezTo>
                      <a:cubicBezTo>
                        <a:pt x="1131" y="213"/>
                        <a:pt x="1052" y="87"/>
                        <a:pt x="1052" y="87"/>
                      </a:cubicBezTo>
                      <a:cubicBezTo>
                        <a:pt x="1052" y="87"/>
                        <a:pt x="40" y="205"/>
                        <a:pt x="24" y="237"/>
                      </a:cubicBezTo>
                      <a:cubicBezTo>
                        <a:pt x="0" y="260"/>
                        <a:pt x="64" y="300"/>
                        <a:pt x="95" y="324"/>
                      </a:cubicBezTo>
                      <a:cubicBezTo>
                        <a:pt x="127" y="347"/>
                        <a:pt x="111" y="363"/>
                        <a:pt x="103" y="387"/>
                      </a:cubicBezTo>
                      <a:cubicBezTo>
                        <a:pt x="95" y="411"/>
                        <a:pt x="127" y="442"/>
                        <a:pt x="127" y="458"/>
                      </a:cubicBezTo>
                      <a:cubicBezTo>
                        <a:pt x="135" y="466"/>
                        <a:pt x="119" y="498"/>
                        <a:pt x="103" y="521"/>
                      </a:cubicBezTo>
                      <a:cubicBezTo>
                        <a:pt x="119" y="529"/>
                        <a:pt x="127" y="537"/>
                        <a:pt x="143" y="521"/>
                      </a:cubicBezTo>
                      <a:cubicBezTo>
                        <a:pt x="166" y="506"/>
                        <a:pt x="182" y="506"/>
                        <a:pt x="198" y="474"/>
                      </a:cubicBezTo>
                      <a:cubicBezTo>
                        <a:pt x="214" y="442"/>
                        <a:pt x="198" y="419"/>
                        <a:pt x="222" y="411"/>
                      </a:cubicBezTo>
                      <a:cubicBezTo>
                        <a:pt x="237" y="403"/>
                        <a:pt x="253" y="426"/>
                        <a:pt x="261" y="426"/>
                      </a:cubicBezTo>
                      <a:cubicBezTo>
                        <a:pt x="269" y="419"/>
                        <a:pt x="261" y="387"/>
                        <a:pt x="285" y="403"/>
                      </a:cubicBezTo>
                      <a:cubicBezTo>
                        <a:pt x="317" y="419"/>
                        <a:pt x="340" y="442"/>
                        <a:pt x="309" y="450"/>
                      </a:cubicBezTo>
                      <a:cubicBezTo>
                        <a:pt x="277" y="450"/>
                        <a:pt x="269" y="466"/>
                        <a:pt x="253" y="474"/>
                      </a:cubicBezTo>
                      <a:cubicBezTo>
                        <a:pt x="237" y="490"/>
                        <a:pt x="182" y="498"/>
                        <a:pt x="214" y="506"/>
                      </a:cubicBezTo>
                      <a:cubicBezTo>
                        <a:pt x="246" y="513"/>
                        <a:pt x="261" y="490"/>
                        <a:pt x="317" y="482"/>
                      </a:cubicBezTo>
                      <a:cubicBezTo>
                        <a:pt x="364" y="474"/>
                        <a:pt x="451" y="458"/>
                        <a:pt x="467" y="434"/>
                      </a:cubicBezTo>
                      <a:cubicBezTo>
                        <a:pt x="483" y="403"/>
                        <a:pt x="475" y="395"/>
                        <a:pt x="514" y="395"/>
                      </a:cubicBezTo>
                      <a:cubicBezTo>
                        <a:pt x="546" y="395"/>
                        <a:pt x="562" y="379"/>
                        <a:pt x="593" y="387"/>
                      </a:cubicBezTo>
                      <a:cubicBezTo>
                        <a:pt x="625" y="387"/>
                        <a:pt x="641" y="411"/>
                        <a:pt x="609" y="411"/>
                      </a:cubicBezTo>
                      <a:cubicBezTo>
                        <a:pt x="577" y="411"/>
                        <a:pt x="562" y="403"/>
                        <a:pt x="546" y="419"/>
                      </a:cubicBezTo>
                      <a:cubicBezTo>
                        <a:pt x="522" y="426"/>
                        <a:pt x="475" y="419"/>
                        <a:pt x="490" y="434"/>
                      </a:cubicBezTo>
                      <a:cubicBezTo>
                        <a:pt x="506" y="450"/>
                        <a:pt x="514" y="442"/>
                        <a:pt x="562" y="442"/>
                      </a:cubicBezTo>
                      <a:cubicBezTo>
                        <a:pt x="601" y="442"/>
                        <a:pt x="791" y="498"/>
                        <a:pt x="815" y="521"/>
                      </a:cubicBezTo>
                      <a:cubicBezTo>
                        <a:pt x="830" y="545"/>
                        <a:pt x="830" y="529"/>
                        <a:pt x="823" y="506"/>
                      </a:cubicBezTo>
                      <a:cubicBezTo>
                        <a:pt x="815" y="482"/>
                        <a:pt x="775" y="490"/>
                        <a:pt x="791" y="466"/>
                      </a:cubicBezTo>
                      <a:cubicBezTo>
                        <a:pt x="807" y="434"/>
                        <a:pt x="807" y="450"/>
                        <a:pt x="830" y="450"/>
                      </a:cubicBezTo>
                      <a:cubicBezTo>
                        <a:pt x="854" y="450"/>
                        <a:pt x="870" y="426"/>
                        <a:pt x="870" y="442"/>
                      </a:cubicBezTo>
                      <a:cubicBezTo>
                        <a:pt x="870" y="458"/>
                        <a:pt x="830" y="458"/>
                        <a:pt x="846" y="482"/>
                      </a:cubicBezTo>
                      <a:cubicBezTo>
                        <a:pt x="854" y="506"/>
                        <a:pt x="854" y="506"/>
                        <a:pt x="862" y="513"/>
                      </a:cubicBezTo>
                      <a:cubicBezTo>
                        <a:pt x="870" y="529"/>
                        <a:pt x="838" y="537"/>
                        <a:pt x="846" y="545"/>
                      </a:cubicBezTo>
                      <a:cubicBezTo>
                        <a:pt x="854" y="553"/>
                        <a:pt x="989" y="616"/>
                        <a:pt x="989" y="640"/>
                      </a:cubicBezTo>
                      <a:cubicBezTo>
                        <a:pt x="989" y="664"/>
                        <a:pt x="957" y="656"/>
                        <a:pt x="965" y="672"/>
                      </a:cubicBezTo>
                      <a:cubicBezTo>
                        <a:pt x="973" y="695"/>
                        <a:pt x="989" y="711"/>
                        <a:pt x="1012" y="719"/>
                      </a:cubicBezTo>
                      <a:cubicBezTo>
                        <a:pt x="1028" y="727"/>
                        <a:pt x="1068" y="711"/>
                        <a:pt x="1123" y="695"/>
                      </a:cubicBezTo>
                      <a:cubicBezTo>
                        <a:pt x="1178" y="679"/>
                        <a:pt x="1226" y="640"/>
                        <a:pt x="1241" y="640"/>
                      </a:cubicBezTo>
                      <a:cubicBezTo>
                        <a:pt x="1249" y="648"/>
                        <a:pt x="1241" y="664"/>
                        <a:pt x="1210" y="679"/>
                      </a:cubicBezTo>
                      <a:cubicBezTo>
                        <a:pt x="1178" y="695"/>
                        <a:pt x="1163" y="711"/>
                        <a:pt x="1147" y="727"/>
                      </a:cubicBezTo>
                      <a:cubicBezTo>
                        <a:pt x="1123" y="735"/>
                        <a:pt x="1147" y="750"/>
                        <a:pt x="1170" y="735"/>
                      </a:cubicBezTo>
                      <a:cubicBezTo>
                        <a:pt x="1194" y="719"/>
                        <a:pt x="1257" y="679"/>
                        <a:pt x="1257" y="640"/>
                      </a:cubicBezTo>
                      <a:cubicBezTo>
                        <a:pt x="1265" y="600"/>
                        <a:pt x="1273" y="608"/>
                        <a:pt x="1289" y="600"/>
                      </a:cubicBezTo>
                      <a:cubicBezTo>
                        <a:pt x="1305" y="585"/>
                        <a:pt x="1321" y="561"/>
                        <a:pt x="1352" y="561"/>
                      </a:cubicBezTo>
                      <a:cubicBezTo>
                        <a:pt x="1392" y="561"/>
                        <a:pt x="1407" y="569"/>
                        <a:pt x="1400" y="545"/>
                      </a:cubicBezTo>
                      <a:cubicBezTo>
                        <a:pt x="1392" y="529"/>
                        <a:pt x="1360" y="521"/>
                        <a:pt x="1392" y="498"/>
                      </a:cubicBezTo>
                      <a:cubicBezTo>
                        <a:pt x="1431" y="474"/>
                        <a:pt x="1400" y="458"/>
                        <a:pt x="1471" y="458"/>
                      </a:cubicBezTo>
                      <a:cubicBezTo>
                        <a:pt x="1542" y="466"/>
                        <a:pt x="1574" y="482"/>
                        <a:pt x="1613" y="506"/>
                      </a:cubicBezTo>
                      <a:cubicBezTo>
                        <a:pt x="1653" y="521"/>
                        <a:pt x="1740" y="608"/>
                        <a:pt x="1771" y="624"/>
                      </a:cubicBezTo>
                      <a:cubicBezTo>
                        <a:pt x="1795" y="632"/>
                        <a:pt x="1787" y="632"/>
                        <a:pt x="1811" y="664"/>
                      </a:cubicBezTo>
                      <a:cubicBezTo>
                        <a:pt x="1827" y="695"/>
                        <a:pt x="1850" y="711"/>
                        <a:pt x="1898" y="735"/>
                      </a:cubicBezTo>
                      <a:cubicBezTo>
                        <a:pt x="1937" y="766"/>
                        <a:pt x="1937" y="822"/>
                        <a:pt x="2000" y="822"/>
                      </a:cubicBezTo>
                      <a:cubicBezTo>
                        <a:pt x="2071" y="822"/>
                        <a:pt x="2080" y="822"/>
                        <a:pt x="2087" y="853"/>
                      </a:cubicBezTo>
                      <a:cubicBezTo>
                        <a:pt x="2103" y="893"/>
                        <a:pt x="2111" y="924"/>
                        <a:pt x="2135" y="932"/>
                      </a:cubicBezTo>
                      <a:cubicBezTo>
                        <a:pt x="2159" y="940"/>
                        <a:pt x="2159" y="948"/>
                        <a:pt x="2166" y="988"/>
                      </a:cubicBezTo>
                      <a:cubicBezTo>
                        <a:pt x="2174" y="1027"/>
                        <a:pt x="2190" y="1059"/>
                        <a:pt x="2174" y="1106"/>
                      </a:cubicBezTo>
                      <a:cubicBezTo>
                        <a:pt x="2166" y="1154"/>
                        <a:pt x="2166" y="1201"/>
                        <a:pt x="2166" y="1241"/>
                      </a:cubicBezTo>
                      <a:cubicBezTo>
                        <a:pt x="2159" y="1280"/>
                        <a:pt x="2135" y="1296"/>
                        <a:pt x="2143" y="1336"/>
                      </a:cubicBezTo>
                      <a:cubicBezTo>
                        <a:pt x="2151" y="1367"/>
                        <a:pt x="2166" y="1375"/>
                        <a:pt x="2159" y="1415"/>
                      </a:cubicBezTo>
                      <a:cubicBezTo>
                        <a:pt x="2159" y="1454"/>
                        <a:pt x="2174" y="1486"/>
                        <a:pt x="2198" y="1486"/>
                      </a:cubicBezTo>
                      <a:cubicBezTo>
                        <a:pt x="2230" y="1486"/>
                        <a:pt x="2253" y="1486"/>
                        <a:pt x="2246" y="1454"/>
                      </a:cubicBezTo>
                      <a:cubicBezTo>
                        <a:pt x="2238" y="1423"/>
                        <a:pt x="2214" y="1399"/>
                        <a:pt x="2214" y="1367"/>
                      </a:cubicBezTo>
                      <a:cubicBezTo>
                        <a:pt x="2214" y="1336"/>
                        <a:pt x="2230" y="1328"/>
                        <a:pt x="2253" y="1359"/>
                      </a:cubicBezTo>
                      <a:cubicBezTo>
                        <a:pt x="2269" y="1391"/>
                        <a:pt x="2269" y="1383"/>
                        <a:pt x="2293" y="1391"/>
                      </a:cubicBezTo>
                      <a:cubicBezTo>
                        <a:pt x="2317" y="1391"/>
                        <a:pt x="2324" y="1383"/>
                        <a:pt x="2324" y="1423"/>
                      </a:cubicBezTo>
                      <a:cubicBezTo>
                        <a:pt x="2317" y="1454"/>
                        <a:pt x="2277" y="1510"/>
                        <a:pt x="2277" y="1533"/>
                      </a:cubicBezTo>
                      <a:cubicBezTo>
                        <a:pt x="2277" y="1549"/>
                        <a:pt x="2269" y="1565"/>
                        <a:pt x="2246" y="1565"/>
                      </a:cubicBezTo>
                      <a:cubicBezTo>
                        <a:pt x="2230" y="1573"/>
                        <a:pt x="2198" y="1573"/>
                        <a:pt x="2222" y="1589"/>
                      </a:cubicBezTo>
                      <a:cubicBezTo>
                        <a:pt x="2246" y="1604"/>
                        <a:pt x="2246" y="1557"/>
                        <a:pt x="2277" y="1612"/>
                      </a:cubicBezTo>
                      <a:cubicBezTo>
                        <a:pt x="2301" y="1668"/>
                        <a:pt x="2293" y="1683"/>
                        <a:pt x="2333" y="1739"/>
                      </a:cubicBezTo>
                      <a:cubicBezTo>
                        <a:pt x="2364" y="1802"/>
                        <a:pt x="2419" y="1857"/>
                        <a:pt x="2451" y="1865"/>
                      </a:cubicBezTo>
                      <a:cubicBezTo>
                        <a:pt x="2475" y="1881"/>
                        <a:pt x="2514" y="1881"/>
                        <a:pt x="2499" y="1849"/>
                      </a:cubicBezTo>
                      <a:cubicBezTo>
                        <a:pt x="2483" y="1818"/>
                        <a:pt x="2451" y="1794"/>
                        <a:pt x="2483" y="1802"/>
                      </a:cubicBezTo>
                      <a:cubicBezTo>
                        <a:pt x="2514" y="1810"/>
                        <a:pt x="2514" y="1834"/>
                        <a:pt x="2530" y="1818"/>
                      </a:cubicBezTo>
                      <a:cubicBezTo>
                        <a:pt x="2554" y="1810"/>
                        <a:pt x="2570" y="1818"/>
                        <a:pt x="2554" y="1849"/>
                      </a:cubicBezTo>
                      <a:cubicBezTo>
                        <a:pt x="2546" y="1873"/>
                        <a:pt x="2538" y="1913"/>
                        <a:pt x="2554" y="1936"/>
                      </a:cubicBezTo>
                      <a:cubicBezTo>
                        <a:pt x="2562" y="1968"/>
                        <a:pt x="2601" y="2007"/>
                        <a:pt x="2609" y="1992"/>
                      </a:cubicBezTo>
                      <a:cubicBezTo>
                        <a:pt x="2617" y="1984"/>
                        <a:pt x="2625" y="1992"/>
                        <a:pt x="2625" y="2007"/>
                      </a:cubicBezTo>
                      <a:cubicBezTo>
                        <a:pt x="2625" y="2031"/>
                        <a:pt x="2625" y="2031"/>
                        <a:pt x="2649" y="2031"/>
                      </a:cubicBezTo>
                      <a:cubicBezTo>
                        <a:pt x="2664" y="2039"/>
                        <a:pt x="2664" y="2047"/>
                        <a:pt x="2672" y="2071"/>
                      </a:cubicBezTo>
                      <a:cubicBezTo>
                        <a:pt x="2672" y="2102"/>
                        <a:pt x="2696" y="2150"/>
                        <a:pt x="2728" y="2189"/>
                      </a:cubicBezTo>
                      <a:cubicBezTo>
                        <a:pt x="2752" y="2229"/>
                        <a:pt x="2752" y="2276"/>
                        <a:pt x="2783" y="2276"/>
                      </a:cubicBezTo>
                      <a:cubicBezTo>
                        <a:pt x="2815" y="2269"/>
                        <a:pt x="2862" y="2237"/>
                        <a:pt x="2902" y="2276"/>
                      </a:cubicBezTo>
                      <a:cubicBezTo>
                        <a:pt x="2941" y="2324"/>
                        <a:pt x="2981" y="2355"/>
                        <a:pt x="2997" y="2387"/>
                      </a:cubicBezTo>
                      <a:cubicBezTo>
                        <a:pt x="3012" y="2419"/>
                        <a:pt x="3036" y="2442"/>
                        <a:pt x="3052" y="2450"/>
                      </a:cubicBezTo>
                      <a:cubicBezTo>
                        <a:pt x="3068" y="2466"/>
                        <a:pt x="3107" y="2482"/>
                        <a:pt x="3123" y="2474"/>
                      </a:cubicBezTo>
                      <a:cubicBezTo>
                        <a:pt x="3139" y="2466"/>
                        <a:pt x="3147" y="2474"/>
                        <a:pt x="3131" y="2490"/>
                      </a:cubicBezTo>
                      <a:cubicBezTo>
                        <a:pt x="3123" y="2513"/>
                        <a:pt x="3123" y="2521"/>
                        <a:pt x="3099" y="2506"/>
                      </a:cubicBezTo>
                      <a:cubicBezTo>
                        <a:pt x="3083" y="2490"/>
                        <a:pt x="3060" y="2474"/>
                        <a:pt x="3052" y="2490"/>
                      </a:cubicBezTo>
                      <a:cubicBezTo>
                        <a:pt x="3036" y="2513"/>
                        <a:pt x="2997" y="2537"/>
                        <a:pt x="3060" y="2561"/>
                      </a:cubicBezTo>
                      <a:cubicBezTo>
                        <a:pt x="3123" y="2577"/>
                        <a:pt x="3099" y="2569"/>
                        <a:pt x="3131" y="2553"/>
                      </a:cubicBezTo>
                      <a:cubicBezTo>
                        <a:pt x="3163" y="2545"/>
                        <a:pt x="3147" y="2529"/>
                        <a:pt x="3194" y="2537"/>
                      </a:cubicBezTo>
                      <a:cubicBezTo>
                        <a:pt x="3242" y="2545"/>
                        <a:pt x="3250" y="2553"/>
                        <a:pt x="3257" y="2529"/>
                      </a:cubicBezTo>
                      <a:cubicBezTo>
                        <a:pt x="3265" y="2506"/>
                        <a:pt x="3281" y="2474"/>
                        <a:pt x="3313" y="2482"/>
                      </a:cubicBezTo>
                      <a:cubicBezTo>
                        <a:pt x="3344" y="2490"/>
                        <a:pt x="3368" y="2482"/>
                        <a:pt x="3360" y="2506"/>
                      </a:cubicBezTo>
                      <a:cubicBezTo>
                        <a:pt x="3352" y="2529"/>
                        <a:pt x="3336" y="2569"/>
                        <a:pt x="3313" y="2593"/>
                      </a:cubicBezTo>
                      <a:cubicBezTo>
                        <a:pt x="3297" y="2616"/>
                        <a:pt x="3281" y="2648"/>
                        <a:pt x="3297" y="2640"/>
                      </a:cubicBezTo>
                      <a:cubicBezTo>
                        <a:pt x="3321" y="2632"/>
                        <a:pt x="3329" y="2624"/>
                        <a:pt x="3352" y="2593"/>
                      </a:cubicBezTo>
                      <a:cubicBezTo>
                        <a:pt x="3368" y="2561"/>
                        <a:pt x="3423" y="2411"/>
                        <a:pt x="3416" y="2411"/>
                      </a:cubicBezTo>
                      <a:cubicBezTo>
                        <a:pt x="3408" y="2419"/>
                        <a:pt x="3408" y="2427"/>
                        <a:pt x="3400" y="2434"/>
                      </a:cubicBezTo>
                      <a:close/>
                      <a:moveTo>
                        <a:pt x="3321" y="1849"/>
                      </a:moveTo>
                      <a:lnTo>
                        <a:pt x="3321" y="1849"/>
                      </a:lnTo>
                      <a:cubicBezTo>
                        <a:pt x="3305" y="1865"/>
                        <a:pt x="3289" y="1873"/>
                        <a:pt x="3289" y="1913"/>
                      </a:cubicBezTo>
                      <a:cubicBezTo>
                        <a:pt x="3289" y="1952"/>
                        <a:pt x="3281" y="1936"/>
                        <a:pt x="3242" y="1929"/>
                      </a:cubicBezTo>
                      <a:cubicBezTo>
                        <a:pt x="3202" y="1929"/>
                        <a:pt x="3210" y="1913"/>
                        <a:pt x="3194" y="1881"/>
                      </a:cubicBezTo>
                      <a:cubicBezTo>
                        <a:pt x="3178" y="1857"/>
                        <a:pt x="3170" y="1865"/>
                        <a:pt x="3139" y="1849"/>
                      </a:cubicBezTo>
                      <a:cubicBezTo>
                        <a:pt x="3107" y="1841"/>
                        <a:pt x="3131" y="1826"/>
                        <a:pt x="3131" y="1810"/>
                      </a:cubicBezTo>
                      <a:cubicBezTo>
                        <a:pt x="3139" y="1794"/>
                        <a:pt x="3178" y="1754"/>
                        <a:pt x="3194" y="1747"/>
                      </a:cubicBezTo>
                      <a:cubicBezTo>
                        <a:pt x="3210" y="1739"/>
                        <a:pt x="3218" y="1723"/>
                        <a:pt x="3218" y="1707"/>
                      </a:cubicBezTo>
                      <a:cubicBezTo>
                        <a:pt x="3218" y="1699"/>
                        <a:pt x="3234" y="1683"/>
                        <a:pt x="3234" y="1683"/>
                      </a:cubicBezTo>
                      <a:cubicBezTo>
                        <a:pt x="3257" y="1676"/>
                        <a:pt x="3297" y="1747"/>
                        <a:pt x="3313" y="1778"/>
                      </a:cubicBezTo>
                      <a:cubicBezTo>
                        <a:pt x="3321" y="1802"/>
                        <a:pt x="3329" y="1841"/>
                        <a:pt x="3321" y="1849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1" name="Freeform 385">
                  <a:extLst>
                    <a:ext uri="{FF2B5EF4-FFF2-40B4-BE49-F238E27FC236}">
                      <a16:creationId xmlns:a16="http://schemas.microsoft.com/office/drawing/2014/main" id="{B7483B98-60DA-B34A-9BBA-DA982C0F3A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175838" y="7963495"/>
                  <a:ext cx="1799781" cy="1389265"/>
                </a:xfrm>
                <a:custGeom>
                  <a:avLst/>
                  <a:gdLst>
                    <a:gd name="T0" fmla="*/ 3249 w 3424"/>
                    <a:gd name="T1" fmla="*/ 2529 h 2641"/>
                    <a:gd name="T2" fmla="*/ 3004 w 3424"/>
                    <a:gd name="T3" fmla="*/ 2537 h 2641"/>
                    <a:gd name="T4" fmla="*/ 3107 w 3424"/>
                    <a:gd name="T5" fmla="*/ 2474 h 2641"/>
                    <a:gd name="T6" fmla="*/ 2704 w 3424"/>
                    <a:gd name="T7" fmla="*/ 2189 h 2641"/>
                    <a:gd name="T8" fmla="*/ 2538 w 3424"/>
                    <a:gd name="T9" fmla="*/ 1841 h 2641"/>
                    <a:gd name="T10" fmla="*/ 2467 w 3424"/>
                    <a:gd name="T11" fmla="*/ 1881 h 2641"/>
                    <a:gd name="T12" fmla="*/ 2222 w 3424"/>
                    <a:gd name="T13" fmla="*/ 1565 h 2641"/>
                    <a:gd name="T14" fmla="*/ 2214 w 3424"/>
                    <a:gd name="T15" fmla="*/ 1343 h 2641"/>
                    <a:gd name="T16" fmla="*/ 2119 w 3424"/>
                    <a:gd name="T17" fmla="*/ 1336 h 2641"/>
                    <a:gd name="T18" fmla="*/ 1992 w 3424"/>
                    <a:gd name="T19" fmla="*/ 822 h 2641"/>
                    <a:gd name="T20" fmla="*/ 1455 w 3424"/>
                    <a:gd name="T21" fmla="*/ 466 h 2641"/>
                    <a:gd name="T22" fmla="*/ 1289 w 3424"/>
                    <a:gd name="T23" fmla="*/ 593 h 2641"/>
                    <a:gd name="T24" fmla="*/ 1218 w 3424"/>
                    <a:gd name="T25" fmla="*/ 648 h 2641"/>
                    <a:gd name="T26" fmla="*/ 838 w 3424"/>
                    <a:gd name="T27" fmla="*/ 545 h 2641"/>
                    <a:gd name="T28" fmla="*/ 846 w 3424"/>
                    <a:gd name="T29" fmla="*/ 442 h 2641"/>
                    <a:gd name="T30" fmla="*/ 546 w 3424"/>
                    <a:gd name="T31" fmla="*/ 450 h 2641"/>
                    <a:gd name="T32" fmla="*/ 609 w 3424"/>
                    <a:gd name="T33" fmla="*/ 403 h 2641"/>
                    <a:gd name="T34" fmla="*/ 206 w 3424"/>
                    <a:gd name="T35" fmla="*/ 513 h 2641"/>
                    <a:gd name="T36" fmla="*/ 253 w 3424"/>
                    <a:gd name="T37" fmla="*/ 411 h 2641"/>
                    <a:gd name="T38" fmla="*/ 87 w 3424"/>
                    <a:gd name="T39" fmla="*/ 521 h 2641"/>
                    <a:gd name="T40" fmla="*/ 0 w 3424"/>
                    <a:gd name="T41" fmla="*/ 237 h 2641"/>
                    <a:gd name="T42" fmla="*/ 2222 w 3424"/>
                    <a:gd name="T43" fmla="*/ 221 h 2641"/>
                    <a:gd name="T44" fmla="*/ 2427 w 3424"/>
                    <a:gd name="T45" fmla="*/ 23 h 2641"/>
                    <a:gd name="T46" fmla="*/ 2546 w 3424"/>
                    <a:gd name="T47" fmla="*/ 173 h 2641"/>
                    <a:gd name="T48" fmla="*/ 3012 w 3424"/>
                    <a:gd name="T49" fmla="*/ 996 h 2641"/>
                    <a:gd name="T50" fmla="*/ 2949 w 3424"/>
                    <a:gd name="T51" fmla="*/ 980 h 2641"/>
                    <a:gd name="T52" fmla="*/ 3289 w 3424"/>
                    <a:gd name="T53" fmla="*/ 1549 h 2641"/>
                    <a:gd name="T54" fmla="*/ 3376 w 3424"/>
                    <a:gd name="T55" fmla="*/ 2427 h 2641"/>
                    <a:gd name="T56" fmla="*/ 3289 w 3424"/>
                    <a:gd name="T57" fmla="*/ 2474 h 2641"/>
                    <a:gd name="T58" fmla="*/ 3392 w 3424"/>
                    <a:gd name="T59" fmla="*/ 2427 h 2641"/>
                    <a:gd name="T60" fmla="*/ 3407 w 3424"/>
                    <a:gd name="T61" fmla="*/ 1905 h 2641"/>
                    <a:gd name="T62" fmla="*/ 2981 w 3424"/>
                    <a:gd name="T63" fmla="*/ 1067 h 2641"/>
                    <a:gd name="T64" fmla="*/ 2965 w 3424"/>
                    <a:gd name="T65" fmla="*/ 940 h 2641"/>
                    <a:gd name="T66" fmla="*/ 2925 w 3424"/>
                    <a:gd name="T67" fmla="*/ 846 h 2641"/>
                    <a:gd name="T68" fmla="*/ 2483 w 3424"/>
                    <a:gd name="T69" fmla="*/ 15 h 2641"/>
                    <a:gd name="T70" fmla="*/ 2230 w 3424"/>
                    <a:gd name="T71" fmla="*/ 229 h 2641"/>
                    <a:gd name="T72" fmla="*/ 79 w 3424"/>
                    <a:gd name="T73" fmla="*/ 324 h 2641"/>
                    <a:gd name="T74" fmla="*/ 190 w 3424"/>
                    <a:gd name="T75" fmla="*/ 434 h 2641"/>
                    <a:gd name="T76" fmla="*/ 253 w 3424"/>
                    <a:gd name="T77" fmla="*/ 474 h 2641"/>
                    <a:gd name="T78" fmla="*/ 498 w 3424"/>
                    <a:gd name="T79" fmla="*/ 387 h 2641"/>
                    <a:gd name="T80" fmla="*/ 474 w 3424"/>
                    <a:gd name="T81" fmla="*/ 434 h 2641"/>
                    <a:gd name="T82" fmla="*/ 791 w 3424"/>
                    <a:gd name="T83" fmla="*/ 442 h 2641"/>
                    <a:gd name="T84" fmla="*/ 838 w 3424"/>
                    <a:gd name="T85" fmla="*/ 537 h 2641"/>
                    <a:gd name="T86" fmla="*/ 1107 w 3424"/>
                    <a:gd name="T87" fmla="*/ 687 h 2641"/>
                    <a:gd name="T88" fmla="*/ 1265 w 3424"/>
                    <a:gd name="T89" fmla="*/ 600 h 2641"/>
                    <a:gd name="T90" fmla="*/ 1376 w 3424"/>
                    <a:gd name="T91" fmla="*/ 498 h 2641"/>
                    <a:gd name="T92" fmla="*/ 1921 w 3424"/>
                    <a:gd name="T93" fmla="*/ 774 h 2641"/>
                    <a:gd name="T94" fmla="*/ 2150 w 3424"/>
                    <a:gd name="T95" fmla="*/ 1241 h 2641"/>
                    <a:gd name="T96" fmla="*/ 2214 w 3424"/>
                    <a:gd name="T97" fmla="*/ 1423 h 2641"/>
                    <a:gd name="T98" fmla="*/ 2261 w 3424"/>
                    <a:gd name="T99" fmla="*/ 1533 h 2641"/>
                    <a:gd name="T100" fmla="*/ 2435 w 3424"/>
                    <a:gd name="T101" fmla="*/ 1865 h 2641"/>
                    <a:gd name="T102" fmla="*/ 2546 w 3424"/>
                    <a:gd name="T103" fmla="*/ 1849 h 2641"/>
                    <a:gd name="T104" fmla="*/ 2712 w 3424"/>
                    <a:gd name="T105" fmla="*/ 2189 h 2641"/>
                    <a:gd name="T106" fmla="*/ 3107 w 3424"/>
                    <a:gd name="T107" fmla="*/ 2466 h 2641"/>
                    <a:gd name="T108" fmla="*/ 3044 w 3424"/>
                    <a:gd name="T109" fmla="*/ 2553 h 2641"/>
                    <a:gd name="T110" fmla="*/ 3265 w 3424"/>
                    <a:gd name="T111" fmla="*/ 1944 h 2641"/>
                    <a:gd name="T112" fmla="*/ 3115 w 3424"/>
                    <a:gd name="T113" fmla="*/ 1810 h 2641"/>
                    <a:gd name="T114" fmla="*/ 3226 w 3424"/>
                    <a:gd name="T115" fmla="*/ 1691 h 2641"/>
                    <a:gd name="T116" fmla="*/ 3178 w 3424"/>
                    <a:gd name="T117" fmla="*/ 1881 h 26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424" h="2641">
                      <a:moveTo>
                        <a:pt x="3281" y="2640"/>
                      </a:moveTo>
                      <a:lnTo>
                        <a:pt x="3281" y="2640"/>
                      </a:lnTo>
                      <a:cubicBezTo>
                        <a:pt x="3273" y="2640"/>
                        <a:pt x="3273" y="2640"/>
                        <a:pt x="3273" y="2640"/>
                      </a:cubicBezTo>
                      <a:cubicBezTo>
                        <a:pt x="3273" y="2640"/>
                        <a:pt x="3265" y="2632"/>
                        <a:pt x="3297" y="2593"/>
                      </a:cubicBezTo>
                      <a:cubicBezTo>
                        <a:pt x="3313" y="2569"/>
                        <a:pt x="3336" y="2529"/>
                        <a:pt x="3344" y="2506"/>
                      </a:cubicBezTo>
                      <a:cubicBezTo>
                        <a:pt x="3344" y="2498"/>
                        <a:pt x="3344" y="2498"/>
                        <a:pt x="3344" y="2498"/>
                      </a:cubicBezTo>
                      <a:cubicBezTo>
                        <a:pt x="3336" y="2490"/>
                        <a:pt x="3328" y="2490"/>
                        <a:pt x="3320" y="2490"/>
                      </a:cubicBezTo>
                      <a:cubicBezTo>
                        <a:pt x="3313" y="2482"/>
                        <a:pt x="3305" y="2482"/>
                        <a:pt x="3297" y="2482"/>
                      </a:cubicBezTo>
                      <a:lnTo>
                        <a:pt x="3289" y="2482"/>
                      </a:lnTo>
                      <a:cubicBezTo>
                        <a:pt x="3265" y="2482"/>
                        <a:pt x="3257" y="2513"/>
                        <a:pt x="3249" y="2529"/>
                      </a:cubicBezTo>
                      <a:cubicBezTo>
                        <a:pt x="3241" y="2545"/>
                        <a:pt x="3234" y="2553"/>
                        <a:pt x="3218" y="2553"/>
                      </a:cubicBezTo>
                      <a:cubicBezTo>
                        <a:pt x="3210" y="2553"/>
                        <a:pt x="3202" y="2545"/>
                        <a:pt x="3178" y="2545"/>
                      </a:cubicBezTo>
                      <a:lnTo>
                        <a:pt x="3178" y="2545"/>
                      </a:lnTo>
                      <a:cubicBezTo>
                        <a:pt x="3170" y="2545"/>
                        <a:pt x="3162" y="2537"/>
                        <a:pt x="3154" y="2537"/>
                      </a:cubicBezTo>
                      <a:cubicBezTo>
                        <a:pt x="3147" y="2537"/>
                        <a:pt x="3139" y="2545"/>
                        <a:pt x="3139" y="2545"/>
                      </a:cubicBezTo>
                      <a:cubicBezTo>
                        <a:pt x="3131" y="2553"/>
                        <a:pt x="3123" y="2553"/>
                        <a:pt x="3115" y="2561"/>
                      </a:cubicBezTo>
                      <a:cubicBezTo>
                        <a:pt x="3107" y="2561"/>
                        <a:pt x="3099" y="2569"/>
                        <a:pt x="3099" y="2569"/>
                      </a:cubicBezTo>
                      <a:cubicBezTo>
                        <a:pt x="3099" y="2569"/>
                        <a:pt x="3091" y="2577"/>
                        <a:pt x="3083" y="2577"/>
                      </a:cubicBezTo>
                      <a:cubicBezTo>
                        <a:pt x="3083" y="2577"/>
                        <a:pt x="3067" y="2569"/>
                        <a:pt x="3044" y="2561"/>
                      </a:cubicBezTo>
                      <a:cubicBezTo>
                        <a:pt x="3020" y="2553"/>
                        <a:pt x="3004" y="2545"/>
                        <a:pt x="3004" y="2537"/>
                      </a:cubicBezTo>
                      <a:cubicBezTo>
                        <a:pt x="3004" y="2521"/>
                        <a:pt x="3012" y="2513"/>
                        <a:pt x="3020" y="2506"/>
                      </a:cubicBezTo>
                      <a:cubicBezTo>
                        <a:pt x="3020" y="2498"/>
                        <a:pt x="3028" y="2498"/>
                        <a:pt x="3028" y="2490"/>
                      </a:cubicBezTo>
                      <a:cubicBezTo>
                        <a:pt x="3036" y="2482"/>
                        <a:pt x="3044" y="2482"/>
                        <a:pt x="3052" y="2482"/>
                      </a:cubicBezTo>
                      <a:cubicBezTo>
                        <a:pt x="3060" y="2482"/>
                        <a:pt x="3076" y="2490"/>
                        <a:pt x="3091" y="2498"/>
                      </a:cubicBezTo>
                      <a:cubicBezTo>
                        <a:pt x="3099" y="2506"/>
                        <a:pt x="3099" y="2513"/>
                        <a:pt x="3099" y="2513"/>
                      </a:cubicBezTo>
                      <a:cubicBezTo>
                        <a:pt x="3107" y="2513"/>
                        <a:pt x="3107" y="2506"/>
                        <a:pt x="3107" y="2506"/>
                      </a:cubicBezTo>
                      <a:cubicBezTo>
                        <a:pt x="3107" y="2498"/>
                        <a:pt x="3115" y="2498"/>
                        <a:pt x="3115" y="2490"/>
                      </a:cubicBezTo>
                      <a:cubicBezTo>
                        <a:pt x="3123" y="2482"/>
                        <a:pt x="3123" y="2482"/>
                        <a:pt x="3123" y="2474"/>
                      </a:cubicBezTo>
                      <a:lnTo>
                        <a:pt x="3115" y="2474"/>
                      </a:lnTo>
                      <a:cubicBezTo>
                        <a:pt x="3115" y="2474"/>
                        <a:pt x="3115" y="2474"/>
                        <a:pt x="3107" y="2474"/>
                      </a:cubicBezTo>
                      <a:cubicBezTo>
                        <a:pt x="3107" y="2482"/>
                        <a:pt x="3099" y="2482"/>
                        <a:pt x="3091" y="2482"/>
                      </a:cubicBezTo>
                      <a:cubicBezTo>
                        <a:pt x="3076" y="2482"/>
                        <a:pt x="3052" y="2466"/>
                        <a:pt x="3036" y="2458"/>
                      </a:cubicBezTo>
                      <a:cubicBezTo>
                        <a:pt x="3036" y="2450"/>
                        <a:pt x="3028" y="2450"/>
                        <a:pt x="3028" y="2450"/>
                      </a:cubicBezTo>
                      <a:cubicBezTo>
                        <a:pt x="3012" y="2434"/>
                        <a:pt x="2988" y="2419"/>
                        <a:pt x="2973" y="2395"/>
                      </a:cubicBezTo>
                      <a:cubicBezTo>
                        <a:pt x="2957" y="2355"/>
                        <a:pt x="2925" y="2324"/>
                        <a:pt x="2886" y="2284"/>
                      </a:cubicBezTo>
                      <a:cubicBezTo>
                        <a:pt x="2870" y="2269"/>
                        <a:pt x="2854" y="2260"/>
                        <a:pt x="2838" y="2260"/>
                      </a:cubicBezTo>
                      <a:cubicBezTo>
                        <a:pt x="2823" y="2260"/>
                        <a:pt x="2807" y="2269"/>
                        <a:pt x="2799" y="2269"/>
                      </a:cubicBezTo>
                      <a:cubicBezTo>
                        <a:pt x="2783" y="2269"/>
                        <a:pt x="2775" y="2276"/>
                        <a:pt x="2767" y="2276"/>
                      </a:cubicBezTo>
                      <a:cubicBezTo>
                        <a:pt x="2743" y="2276"/>
                        <a:pt x="2736" y="2260"/>
                        <a:pt x="2728" y="2237"/>
                      </a:cubicBezTo>
                      <a:cubicBezTo>
                        <a:pt x="2720" y="2221"/>
                        <a:pt x="2720" y="2205"/>
                        <a:pt x="2704" y="2189"/>
                      </a:cubicBezTo>
                      <a:cubicBezTo>
                        <a:pt x="2680" y="2158"/>
                        <a:pt x="2656" y="2102"/>
                        <a:pt x="2648" y="2071"/>
                      </a:cubicBezTo>
                      <a:lnTo>
                        <a:pt x="2648" y="2071"/>
                      </a:lnTo>
                      <a:cubicBezTo>
                        <a:pt x="2648" y="2047"/>
                        <a:pt x="2648" y="2047"/>
                        <a:pt x="2633" y="2039"/>
                      </a:cubicBezTo>
                      <a:cubicBezTo>
                        <a:pt x="2625" y="2039"/>
                        <a:pt x="2625" y="2039"/>
                        <a:pt x="2625" y="2039"/>
                      </a:cubicBezTo>
                      <a:cubicBezTo>
                        <a:pt x="2609" y="2031"/>
                        <a:pt x="2601" y="2031"/>
                        <a:pt x="2601" y="2007"/>
                      </a:cubicBezTo>
                      <a:cubicBezTo>
                        <a:pt x="2601" y="2000"/>
                        <a:pt x="2601" y="1992"/>
                        <a:pt x="2601" y="1992"/>
                      </a:cubicBezTo>
                      <a:cubicBezTo>
                        <a:pt x="2601" y="1992"/>
                        <a:pt x="2601" y="1992"/>
                        <a:pt x="2593" y="2000"/>
                      </a:cubicBezTo>
                      <a:cubicBezTo>
                        <a:pt x="2593" y="2000"/>
                        <a:pt x="2593" y="2000"/>
                        <a:pt x="2585" y="2000"/>
                      </a:cubicBezTo>
                      <a:cubicBezTo>
                        <a:pt x="2570" y="2000"/>
                        <a:pt x="2538" y="1960"/>
                        <a:pt x="2530" y="1936"/>
                      </a:cubicBezTo>
                      <a:cubicBezTo>
                        <a:pt x="2522" y="1913"/>
                        <a:pt x="2522" y="1873"/>
                        <a:pt x="2538" y="1841"/>
                      </a:cubicBezTo>
                      <a:cubicBezTo>
                        <a:pt x="2538" y="1834"/>
                        <a:pt x="2538" y="1826"/>
                        <a:pt x="2538" y="1826"/>
                      </a:cubicBezTo>
                      <a:cubicBezTo>
                        <a:pt x="2538" y="1818"/>
                        <a:pt x="2530" y="1818"/>
                        <a:pt x="2514" y="1826"/>
                      </a:cubicBezTo>
                      <a:cubicBezTo>
                        <a:pt x="2514" y="1826"/>
                        <a:pt x="2514" y="1826"/>
                        <a:pt x="2506" y="1826"/>
                      </a:cubicBezTo>
                      <a:cubicBezTo>
                        <a:pt x="2498" y="1826"/>
                        <a:pt x="2498" y="1826"/>
                        <a:pt x="2490" y="1818"/>
                      </a:cubicBezTo>
                      <a:cubicBezTo>
                        <a:pt x="2483" y="1818"/>
                        <a:pt x="2475" y="1810"/>
                        <a:pt x="2467" y="1802"/>
                      </a:cubicBezTo>
                      <a:cubicBezTo>
                        <a:pt x="2459" y="1802"/>
                        <a:pt x="2459" y="1802"/>
                        <a:pt x="2459" y="1802"/>
                      </a:cubicBezTo>
                      <a:cubicBezTo>
                        <a:pt x="2459" y="1810"/>
                        <a:pt x="2467" y="1810"/>
                        <a:pt x="2467" y="1818"/>
                      </a:cubicBezTo>
                      <a:cubicBezTo>
                        <a:pt x="2475" y="1826"/>
                        <a:pt x="2483" y="1834"/>
                        <a:pt x="2483" y="1849"/>
                      </a:cubicBezTo>
                      <a:cubicBezTo>
                        <a:pt x="2490" y="1857"/>
                        <a:pt x="2490" y="1865"/>
                        <a:pt x="2490" y="1873"/>
                      </a:cubicBezTo>
                      <a:cubicBezTo>
                        <a:pt x="2483" y="1873"/>
                        <a:pt x="2475" y="1881"/>
                        <a:pt x="2467" y="1881"/>
                      </a:cubicBezTo>
                      <a:cubicBezTo>
                        <a:pt x="2459" y="1881"/>
                        <a:pt x="2443" y="1873"/>
                        <a:pt x="2427" y="1873"/>
                      </a:cubicBezTo>
                      <a:cubicBezTo>
                        <a:pt x="2403" y="1857"/>
                        <a:pt x="2348" y="1802"/>
                        <a:pt x="2308" y="1747"/>
                      </a:cubicBezTo>
                      <a:cubicBezTo>
                        <a:pt x="2293" y="1707"/>
                        <a:pt x="2285" y="1691"/>
                        <a:pt x="2277" y="1668"/>
                      </a:cubicBezTo>
                      <a:cubicBezTo>
                        <a:pt x="2269" y="1652"/>
                        <a:pt x="2269" y="1636"/>
                        <a:pt x="2253" y="1612"/>
                      </a:cubicBezTo>
                      <a:cubicBezTo>
                        <a:pt x="2245" y="1596"/>
                        <a:pt x="2245" y="1589"/>
                        <a:pt x="2237" y="1589"/>
                      </a:cubicBezTo>
                      <a:lnTo>
                        <a:pt x="2230" y="1589"/>
                      </a:lnTo>
                      <a:cubicBezTo>
                        <a:pt x="2230" y="1596"/>
                        <a:pt x="2222" y="1596"/>
                        <a:pt x="2214" y="1596"/>
                      </a:cubicBezTo>
                      <a:cubicBezTo>
                        <a:pt x="2214" y="1596"/>
                        <a:pt x="2206" y="1596"/>
                        <a:pt x="2206" y="1589"/>
                      </a:cubicBezTo>
                      <a:cubicBezTo>
                        <a:pt x="2198" y="1589"/>
                        <a:pt x="2190" y="1581"/>
                        <a:pt x="2198" y="1581"/>
                      </a:cubicBezTo>
                      <a:cubicBezTo>
                        <a:pt x="2198" y="1573"/>
                        <a:pt x="2206" y="1565"/>
                        <a:pt x="2222" y="1565"/>
                      </a:cubicBezTo>
                      <a:lnTo>
                        <a:pt x="2230" y="1565"/>
                      </a:lnTo>
                      <a:cubicBezTo>
                        <a:pt x="2245" y="1557"/>
                        <a:pt x="2253" y="1549"/>
                        <a:pt x="2253" y="1533"/>
                      </a:cubicBezTo>
                      <a:cubicBezTo>
                        <a:pt x="2253" y="1517"/>
                        <a:pt x="2269" y="1502"/>
                        <a:pt x="2277" y="1478"/>
                      </a:cubicBezTo>
                      <a:cubicBezTo>
                        <a:pt x="2285" y="1462"/>
                        <a:pt x="2301" y="1438"/>
                        <a:pt x="2301" y="1423"/>
                      </a:cubicBezTo>
                      <a:cubicBezTo>
                        <a:pt x="2301" y="1415"/>
                        <a:pt x="2308" y="1399"/>
                        <a:pt x="2301" y="1399"/>
                      </a:cubicBezTo>
                      <a:cubicBezTo>
                        <a:pt x="2301" y="1391"/>
                        <a:pt x="2293" y="1391"/>
                        <a:pt x="2293" y="1391"/>
                      </a:cubicBezTo>
                      <a:cubicBezTo>
                        <a:pt x="2285" y="1391"/>
                        <a:pt x="2285" y="1391"/>
                        <a:pt x="2277" y="1391"/>
                      </a:cubicBezTo>
                      <a:cubicBezTo>
                        <a:pt x="2269" y="1391"/>
                        <a:pt x="2269" y="1391"/>
                        <a:pt x="2269" y="1391"/>
                      </a:cubicBezTo>
                      <a:cubicBezTo>
                        <a:pt x="2253" y="1391"/>
                        <a:pt x="2245" y="1391"/>
                        <a:pt x="2230" y="1359"/>
                      </a:cubicBezTo>
                      <a:cubicBezTo>
                        <a:pt x="2222" y="1351"/>
                        <a:pt x="2214" y="1343"/>
                        <a:pt x="2214" y="1343"/>
                      </a:cubicBezTo>
                      <a:cubicBezTo>
                        <a:pt x="2206" y="1343"/>
                        <a:pt x="2206" y="1351"/>
                        <a:pt x="2206" y="1367"/>
                      </a:cubicBezTo>
                      <a:cubicBezTo>
                        <a:pt x="2206" y="1383"/>
                        <a:pt x="2214" y="1399"/>
                        <a:pt x="2222" y="1423"/>
                      </a:cubicBezTo>
                      <a:cubicBezTo>
                        <a:pt x="2222" y="1430"/>
                        <a:pt x="2230" y="1438"/>
                        <a:pt x="2237" y="1454"/>
                      </a:cubicBezTo>
                      <a:cubicBezTo>
                        <a:pt x="2237" y="1462"/>
                        <a:pt x="2237" y="1470"/>
                        <a:pt x="2230" y="1478"/>
                      </a:cubicBezTo>
                      <a:cubicBezTo>
                        <a:pt x="2222" y="1486"/>
                        <a:pt x="2206" y="1486"/>
                        <a:pt x="2190" y="1486"/>
                      </a:cubicBezTo>
                      <a:cubicBezTo>
                        <a:pt x="2182" y="1486"/>
                        <a:pt x="2182" y="1486"/>
                        <a:pt x="2182" y="1486"/>
                      </a:cubicBezTo>
                      <a:cubicBezTo>
                        <a:pt x="2174" y="1494"/>
                        <a:pt x="2166" y="1486"/>
                        <a:pt x="2158" y="1478"/>
                      </a:cubicBezTo>
                      <a:cubicBezTo>
                        <a:pt x="2150" y="1470"/>
                        <a:pt x="2143" y="1446"/>
                        <a:pt x="2143" y="1415"/>
                      </a:cubicBezTo>
                      <a:cubicBezTo>
                        <a:pt x="2143" y="1391"/>
                        <a:pt x="2135" y="1383"/>
                        <a:pt x="2135" y="1367"/>
                      </a:cubicBezTo>
                      <a:cubicBezTo>
                        <a:pt x="2127" y="1359"/>
                        <a:pt x="2127" y="1351"/>
                        <a:pt x="2119" y="1336"/>
                      </a:cubicBezTo>
                      <a:cubicBezTo>
                        <a:pt x="2119" y="1312"/>
                        <a:pt x="2127" y="1296"/>
                        <a:pt x="2135" y="1280"/>
                      </a:cubicBezTo>
                      <a:cubicBezTo>
                        <a:pt x="2135" y="1264"/>
                        <a:pt x="2143" y="1256"/>
                        <a:pt x="2143" y="1241"/>
                      </a:cubicBezTo>
                      <a:cubicBezTo>
                        <a:pt x="2143" y="1225"/>
                        <a:pt x="2143" y="1209"/>
                        <a:pt x="2150" y="1201"/>
                      </a:cubicBezTo>
                      <a:cubicBezTo>
                        <a:pt x="2150" y="1170"/>
                        <a:pt x="2150" y="1138"/>
                        <a:pt x="2158" y="1106"/>
                      </a:cubicBezTo>
                      <a:cubicBezTo>
                        <a:pt x="2166" y="1067"/>
                        <a:pt x="2158" y="1035"/>
                        <a:pt x="2150" y="1003"/>
                      </a:cubicBezTo>
                      <a:cubicBezTo>
                        <a:pt x="2150" y="1003"/>
                        <a:pt x="2150" y="996"/>
                        <a:pt x="2150" y="988"/>
                      </a:cubicBezTo>
                      <a:cubicBezTo>
                        <a:pt x="2150" y="988"/>
                        <a:pt x="2150" y="980"/>
                        <a:pt x="2143" y="972"/>
                      </a:cubicBezTo>
                      <a:cubicBezTo>
                        <a:pt x="2143" y="948"/>
                        <a:pt x="2143" y="940"/>
                        <a:pt x="2119" y="932"/>
                      </a:cubicBezTo>
                      <a:cubicBezTo>
                        <a:pt x="2095" y="924"/>
                        <a:pt x="2079" y="893"/>
                        <a:pt x="2071" y="861"/>
                      </a:cubicBezTo>
                      <a:cubicBezTo>
                        <a:pt x="2064" y="822"/>
                        <a:pt x="2055" y="822"/>
                        <a:pt x="1992" y="822"/>
                      </a:cubicBezTo>
                      <a:cubicBezTo>
                        <a:pt x="1984" y="822"/>
                        <a:pt x="1984" y="822"/>
                        <a:pt x="1984" y="822"/>
                      </a:cubicBezTo>
                      <a:cubicBezTo>
                        <a:pt x="1945" y="822"/>
                        <a:pt x="1929" y="798"/>
                        <a:pt x="1913" y="782"/>
                      </a:cubicBezTo>
                      <a:cubicBezTo>
                        <a:pt x="1905" y="766"/>
                        <a:pt x="1890" y="750"/>
                        <a:pt x="1874" y="743"/>
                      </a:cubicBezTo>
                      <a:cubicBezTo>
                        <a:pt x="1826" y="711"/>
                        <a:pt x="1811" y="695"/>
                        <a:pt x="1787" y="664"/>
                      </a:cubicBezTo>
                      <a:cubicBezTo>
                        <a:pt x="1787" y="656"/>
                        <a:pt x="1779" y="648"/>
                        <a:pt x="1779" y="648"/>
                      </a:cubicBezTo>
                      <a:cubicBezTo>
                        <a:pt x="1771" y="632"/>
                        <a:pt x="1771" y="632"/>
                        <a:pt x="1747" y="624"/>
                      </a:cubicBezTo>
                      <a:cubicBezTo>
                        <a:pt x="1739" y="616"/>
                        <a:pt x="1708" y="600"/>
                        <a:pt x="1684" y="569"/>
                      </a:cubicBezTo>
                      <a:cubicBezTo>
                        <a:pt x="1653" y="545"/>
                        <a:pt x="1621" y="513"/>
                        <a:pt x="1597" y="506"/>
                      </a:cubicBezTo>
                      <a:cubicBezTo>
                        <a:pt x="1589" y="506"/>
                        <a:pt x="1589" y="506"/>
                        <a:pt x="1581" y="506"/>
                      </a:cubicBezTo>
                      <a:cubicBezTo>
                        <a:pt x="1550" y="482"/>
                        <a:pt x="1518" y="474"/>
                        <a:pt x="1455" y="466"/>
                      </a:cubicBezTo>
                      <a:cubicBezTo>
                        <a:pt x="1447" y="466"/>
                        <a:pt x="1439" y="466"/>
                        <a:pt x="1431" y="466"/>
                      </a:cubicBezTo>
                      <a:cubicBezTo>
                        <a:pt x="1407" y="466"/>
                        <a:pt x="1407" y="466"/>
                        <a:pt x="1400" y="474"/>
                      </a:cubicBezTo>
                      <a:cubicBezTo>
                        <a:pt x="1400" y="482"/>
                        <a:pt x="1391" y="490"/>
                        <a:pt x="1384" y="498"/>
                      </a:cubicBezTo>
                      <a:cubicBezTo>
                        <a:pt x="1368" y="506"/>
                        <a:pt x="1368" y="513"/>
                        <a:pt x="1368" y="521"/>
                      </a:cubicBezTo>
                      <a:cubicBezTo>
                        <a:pt x="1368" y="521"/>
                        <a:pt x="1368" y="529"/>
                        <a:pt x="1376" y="529"/>
                      </a:cubicBezTo>
                      <a:cubicBezTo>
                        <a:pt x="1384" y="537"/>
                        <a:pt x="1384" y="537"/>
                        <a:pt x="1391" y="545"/>
                      </a:cubicBezTo>
                      <a:cubicBezTo>
                        <a:pt x="1391" y="553"/>
                        <a:pt x="1391" y="553"/>
                        <a:pt x="1391" y="561"/>
                      </a:cubicBezTo>
                      <a:cubicBezTo>
                        <a:pt x="1384" y="569"/>
                        <a:pt x="1376" y="569"/>
                        <a:pt x="1360" y="569"/>
                      </a:cubicBezTo>
                      <a:cubicBezTo>
                        <a:pt x="1352" y="569"/>
                        <a:pt x="1344" y="569"/>
                        <a:pt x="1336" y="569"/>
                      </a:cubicBezTo>
                      <a:cubicBezTo>
                        <a:pt x="1313" y="569"/>
                        <a:pt x="1297" y="577"/>
                        <a:pt x="1289" y="593"/>
                      </a:cubicBezTo>
                      <a:cubicBezTo>
                        <a:pt x="1281" y="593"/>
                        <a:pt x="1281" y="600"/>
                        <a:pt x="1273" y="600"/>
                      </a:cubicBezTo>
                      <a:cubicBezTo>
                        <a:pt x="1273" y="600"/>
                        <a:pt x="1265" y="600"/>
                        <a:pt x="1265" y="608"/>
                      </a:cubicBezTo>
                      <a:cubicBezTo>
                        <a:pt x="1257" y="608"/>
                        <a:pt x="1249" y="616"/>
                        <a:pt x="1249" y="640"/>
                      </a:cubicBezTo>
                      <a:cubicBezTo>
                        <a:pt x="1249" y="687"/>
                        <a:pt x="1170" y="727"/>
                        <a:pt x="1154" y="743"/>
                      </a:cubicBezTo>
                      <a:cubicBezTo>
                        <a:pt x="1147" y="743"/>
                        <a:pt x="1138" y="743"/>
                        <a:pt x="1131" y="743"/>
                      </a:cubicBezTo>
                      <a:cubicBezTo>
                        <a:pt x="1123" y="743"/>
                        <a:pt x="1123" y="743"/>
                        <a:pt x="1115" y="735"/>
                      </a:cubicBezTo>
                      <a:cubicBezTo>
                        <a:pt x="1115" y="735"/>
                        <a:pt x="1115" y="727"/>
                        <a:pt x="1123" y="719"/>
                      </a:cubicBezTo>
                      <a:cubicBezTo>
                        <a:pt x="1147" y="703"/>
                        <a:pt x="1170" y="695"/>
                        <a:pt x="1194" y="679"/>
                      </a:cubicBezTo>
                      <a:cubicBezTo>
                        <a:pt x="1218" y="672"/>
                        <a:pt x="1225" y="656"/>
                        <a:pt x="1225" y="656"/>
                      </a:cubicBezTo>
                      <a:cubicBezTo>
                        <a:pt x="1225" y="648"/>
                        <a:pt x="1225" y="648"/>
                        <a:pt x="1218" y="648"/>
                      </a:cubicBezTo>
                      <a:lnTo>
                        <a:pt x="1218" y="648"/>
                      </a:lnTo>
                      <a:cubicBezTo>
                        <a:pt x="1210" y="648"/>
                        <a:pt x="1202" y="656"/>
                        <a:pt x="1186" y="664"/>
                      </a:cubicBezTo>
                      <a:cubicBezTo>
                        <a:pt x="1162" y="672"/>
                        <a:pt x="1131" y="687"/>
                        <a:pt x="1107" y="695"/>
                      </a:cubicBezTo>
                      <a:cubicBezTo>
                        <a:pt x="1091" y="703"/>
                        <a:pt x="1075" y="703"/>
                        <a:pt x="1060" y="711"/>
                      </a:cubicBezTo>
                      <a:cubicBezTo>
                        <a:pt x="1028" y="719"/>
                        <a:pt x="1004" y="727"/>
                        <a:pt x="988" y="719"/>
                      </a:cubicBezTo>
                      <a:cubicBezTo>
                        <a:pt x="973" y="711"/>
                        <a:pt x="949" y="687"/>
                        <a:pt x="949" y="672"/>
                      </a:cubicBezTo>
                      <a:cubicBezTo>
                        <a:pt x="941" y="672"/>
                        <a:pt x="941" y="664"/>
                        <a:pt x="941" y="664"/>
                      </a:cubicBezTo>
                      <a:cubicBezTo>
                        <a:pt x="949" y="656"/>
                        <a:pt x="949" y="656"/>
                        <a:pt x="957" y="656"/>
                      </a:cubicBezTo>
                      <a:cubicBezTo>
                        <a:pt x="965" y="648"/>
                        <a:pt x="965" y="648"/>
                        <a:pt x="965" y="640"/>
                      </a:cubicBezTo>
                      <a:cubicBezTo>
                        <a:pt x="965" y="640"/>
                        <a:pt x="957" y="616"/>
                        <a:pt x="838" y="545"/>
                      </a:cubicBezTo>
                      <a:cubicBezTo>
                        <a:pt x="830" y="545"/>
                        <a:pt x="830" y="545"/>
                        <a:pt x="830" y="545"/>
                      </a:cubicBezTo>
                      <a:lnTo>
                        <a:pt x="830" y="545"/>
                      </a:lnTo>
                      <a:cubicBezTo>
                        <a:pt x="822" y="537"/>
                        <a:pt x="830" y="537"/>
                        <a:pt x="838" y="529"/>
                      </a:cubicBezTo>
                      <a:cubicBezTo>
                        <a:pt x="838" y="521"/>
                        <a:pt x="846" y="521"/>
                        <a:pt x="838" y="513"/>
                      </a:cubicBezTo>
                      <a:lnTo>
                        <a:pt x="838" y="513"/>
                      </a:lnTo>
                      <a:cubicBezTo>
                        <a:pt x="830" y="506"/>
                        <a:pt x="830" y="498"/>
                        <a:pt x="822" y="482"/>
                      </a:cubicBezTo>
                      <a:cubicBezTo>
                        <a:pt x="814" y="466"/>
                        <a:pt x="830" y="458"/>
                        <a:pt x="838" y="458"/>
                      </a:cubicBezTo>
                      <a:cubicBezTo>
                        <a:pt x="846" y="450"/>
                        <a:pt x="854" y="450"/>
                        <a:pt x="854" y="442"/>
                      </a:cubicBezTo>
                      <a:lnTo>
                        <a:pt x="854" y="442"/>
                      </a:lnTo>
                      <a:cubicBezTo>
                        <a:pt x="846" y="442"/>
                        <a:pt x="846" y="442"/>
                        <a:pt x="846" y="442"/>
                      </a:cubicBezTo>
                      <a:cubicBezTo>
                        <a:pt x="838" y="450"/>
                        <a:pt x="822" y="458"/>
                        <a:pt x="814" y="450"/>
                      </a:cubicBezTo>
                      <a:cubicBezTo>
                        <a:pt x="807" y="450"/>
                        <a:pt x="799" y="450"/>
                        <a:pt x="799" y="450"/>
                      </a:cubicBezTo>
                      <a:cubicBezTo>
                        <a:pt x="791" y="450"/>
                        <a:pt x="791" y="450"/>
                        <a:pt x="775" y="466"/>
                      </a:cubicBezTo>
                      <a:cubicBezTo>
                        <a:pt x="775" y="474"/>
                        <a:pt x="775" y="474"/>
                        <a:pt x="775" y="474"/>
                      </a:cubicBezTo>
                      <a:cubicBezTo>
                        <a:pt x="775" y="482"/>
                        <a:pt x="783" y="482"/>
                        <a:pt x="783" y="490"/>
                      </a:cubicBezTo>
                      <a:cubicBezTo>
                        <a:pt x="799" y="490"/>
                        <a:pt x="807" y="498"/>
                        <a:pt x="814" y="506"/>
                      </a:cubicBezTo>
                      <a:cubicBezTo>
                        <a:pt x="822" y="529"/>
                        <a:pt x="814" y="537"/>
                        <a:pt x="814" y="537"/>
                      </a:cubicBezTo>
                      <a:lnTo>
                        <a:pt x="814" y="537"/>
                      </a:lnTo>
                      <a:cubicBezTo>
                        <a:pt x="807" y="537"/>
                        <a:pt x="807" y="537"/>
                        <a:pt x="799" y="529"/>
                      </a:cubicBezTo>
                      <a:cubicBezTo>
                        <a:pt x="775" y="506"/>
                        <a:pt x="585" y="450"/>
                        <a:pt x="546" y="450"/>
                      </a:cubicBezTo>
                      <a:cubicBezTo>
                        <a:pt x="538" y="450"/>
                        <a:pt x="530" y="450"/>
                        <a:pt x="522" y="450"/>
                      </a:cubicBezTo>
                      <a:cubicBezTo>
                        <a:pt x="514" y="450"/>
                        <a:pt x="514" y="450"/>
                        <a:pt x="506" y="450"/>
                      </a:cubicBezTo>
                      <a:cubicBezTo>
                        <a:pt x="490" y="450"/>
                        <a:pt x="482" y="450"/>
                        <a:pt x="474" y="442"/>
                      </a:cubicBezTo>
                      <a:cubicBezTo>
                        <a:pt x="474" y="434"/>
                        <a:pt x="467" y="434"/>
                        <a:pt x="467" y="426"/>
                      </a:cubicBezTo>
                      <a:cubicBezTo>
                        <a:pt x="467" y="426"/>
                        <a:pt x="474" y="426"/>
                        <a:pt x="490" y="419"/>
                      </a:cubicBezTo>
                      <a:cubicBezTo>
                        <a:pt x="506" y="419"/>
                        <a:pt x="522" y="419"/>
                        <a:pt x="530" y="411"/>
                      </a:cubicBezTo>
                      <a:cubicBezTo>
                        <a:pt x="538" y="403"/>
                        <a:pt x="546" y="403"/>
                        <a:pt x="554" y="403"/>
                      </a:cubicBezTo>
                      <a:cubicBezTo>
                        <a:pt x="561" y="403"/>
                        <a:pt x="561" y="403"/>
                        <a:pt x="569" y="403"/>
                      </a:cubicBezTo>
                      <a:cubicBezTo>
                        <a:pt x="577" y="403"/>
                        <a:pt x="585" y="403"/>
                        <a:pt x="593" y="403"/>
                      </a:cubicBezTo>
                      <a:cubicBezTo>
                        <a:pt x="601" y="403"/>
                        <a:pt x="609" y="403"/>
                        <a:pt x="609" y="403"/>
                      </a:cubicBezTo>
                      <a:cubicBezTo>
                        <a:pt x="609" y="403"/>
                        <a:pt x="593" y="395"/>
                        <a:pt x="577" y="387"/>
                      </a:cubicBezTo>
                      <a:cubicBezTo>
                        <a:pt x="569" y="387"/>
                        <a:pt x="569" y="387"/>
                        <a:pt x="561" y="387"/>
                      </a:cubicBezTo>
                      <a:cubicBezTo>
                        <a:pt x="554" y="387"/>
                        <a:pt x="546" y="387"/>
                        <a:pt x="538" y="395"/>
                      </a:cubicBezTo>
                      <a:cubicBezTo>
                        <a:pt x="522" y="395"/>
                        <a:pt x="514" y="395"/>
                        <a:pt x="498" y="395"/>
                      </a:cubicBezTo>
                      <a:cubicBezTo>
                        <a:pt x="467" y="395"/>
                        <a:pt x="467" y="403"/>
                        <a:pt x="467" y="411"/>
                      </a:cubicBezTo>
                      <a:cubicBezTo>
                        <a:pt x="459" y="419"/>
                        <a:pt x="459" y="426"/>
                        <a:pt x="451" y="434"/>
                      </a:cubicBezTo>
                      <a:cubicBezTo>
                        <a:pt x="435" y="458"/>
                        <a:pt x="380" y="466"/>
                        <a:pt x="324" y="482"/>
                      </a:cubicBezTo>
                      <a:cubicBezTo>
                        <a:pt x="316" y="482"/>
                        <a:pt x="308" y="482"/>
                        <a:pt x="301" y="482"/>
                      </a:cubicBezTo>
                      <a:cubicBezTo>
                        <a:pt x="277" y="490"/>
                        <a:pt x="261" y="498"/>
                        <a:pt x="245" y="498"/>
                      </a:cubicBezTo>
                      <a:cubicBezTo>
                        <a:pt x="230" y="506"/>
                        <a:pt x="221" y="513"/>
                        <a:pt x="206" y="513"/>
                      </a:cubicBezTo>
                      <a:lnTo>
                        <a:pt x="198" y="513"/>
                      </a:lnTo>
                      <a:cubicBezTo>
                        <a:pt x="190" y="506"/>
                        <a:pt x="182" y="506"/>
                        <a:pt x="182" y="506"/>
                      </a:cubicBezTo>
                      <a:cubicBezTo>
                        <a:pt x="182" y="498"/>
                        <a:pt x="190" y="498"/>
                        <a:pt x="206" y="490"/>
                      </a:cubicBezTo>
                      <a:cubicBezTo>
                        <a:pt x="221" y="482"/>
                        <a:pt x="230" y="482"/>
                        <a:pt x="237" y="474"/>
                      </a:cubicBezTo>
                      <a:cubicBezTo>
                        <a:pt x="245" y="474"/>
                        <a:pt x="245" y="466"/>
                        <a:pt x="245" y="466"/>
                      </a:cubicBezTo>
                      <a:cubicBezTo>
                        <a:pt x="253" y="458"/>
                        <a:pt x="261" y="450"/>
                        <a:pt x="293" y="442"/>
                      </a:cubicBezTo>
                      <a:lnTo>
                        <a:pt x="301" y="442"/>
                      </a:lnTo>
                      <a:cubicBezTo>
                        <a:pt x="301" y="434"/>
                        <a:pt x="293" y="419"/>
                        <a:pt x="269" y="403"/>
                      </a:cubicBezTo>
                      <a:cubicBezTo>
                        <a:pt x="261" y="403"/>
                        <a:pt x="261" y="403"/>
                        <a:pt x="261" y="403"/>
                      </a:cubicBezTo>
                      <a:cubicBezTo>
                        <a:pt x="253" y="403"/>
                        <a:pt x="253" y="403"/>
                        <a:pt x="253" y="411"/>
                      </a:cubicBezTo>
                      <a:cubicBezTo>
                        <a:pt x="253" y="419"/>
                        <a:pt x="253" y="426"/>
                        <a:pt x="245" y="426"/>
                      </a:cubicBezTo>
                      <a:lnTo>
                        <a:pt x="245" y="426"/>
                      </a:lnTo>
                      <a:cubicBezTo>
                        <a:pt x="237" y="426"/>
                        <a:pt x="230" y="426"/>
                        <a:pt x="230" y="419"/>
                      </a:cubicBezTo>
                      <a:cubicBezTo>
                        <a:pt x="221" y="419"/>
                        <a:pt x="214" y="411"/>
                        <a:pt x="206" y="411"/>
                      </a:cubicBezTo>
                      <a:cubicBezTo>
                        <a:pt x="198" y="419"/>
                        <a:pt x="198" y="419"/>
                        <a:pt x="198" y="434"/>
                      </a:cubicBezTo>
                      <a:cubicBezTo>
                        <a:pt x="198" y="442"/>
                        <a:pt x="198" y="458"/>
                        <a:pt x="182" y="474"/>
                      </a:cubicBezTo>
                      <a:cubicBezTo>
                        <a:pt x="174" y="498"/>
                        <a:pt x="166" y="498"/>
                        <a:pt x="150" y="506"/>
                      </a:cubicBezTo>
                      <a:cubicBezTo>
                        <a:pt x="142" y="513"/>
                        <a:pt x="142" y="521"/>
                        <a:pt x="135" y="529"/>
                      </a:cubicBezTo>
                      <a:cubicBezTo>
                        <a:pt x="127" y="529"/>
                        <a:pt x="119" y="537"/>
                        <a:pt x="111" y="537"/>
                      </a:cubicBezTo>
                      <a:cubicBezTo>
                        <a:pt x="103" y="537"/>
                        <a:pt x="95" y="529"/>
                        <a:pt x="87" y="521"/>
                      </a:cubicBezTo>
                      <a:lnTo>
                        <a:pt x="87" y="521"/>
                      </a:lnTo>
                      <a:cubicBezTo>
                        <a:pt x="87" y="513"/>
                        <a:pt x="87" y="513"/>
                        <a:pt x="87" y="513"/>
                      </a:cubicBezTo>
                      <a:cubicBezTo>
                        <a:pt x="95" y="498"/>
                        <a:pt x="111" y="466"/>
                        <a:pt x="111" y="458"/>
                      </a:cubicBezTo>
                      <a:cubicBezTo>
                        <a:pt x="111" y="450"/>
                        <a:pt x="103" y="442"/>
                        <a:pt x="95" y="434"/>
                      </a:cubicBezTo>
                      <a:cubicBezTo>
                        <a:pt x="87" y="419"/>
                        <a:pt x="79" y="403"/>
                        <a:pt x="79" y="387"/>
                      </a:cubicBezTo>
                      <a:cubicBezTo>
                        <a:pt x="87" y="379"/>
                        <a:pt x="87" y="379"/>
                        <a:pt x="87" y="371"/>
                      </a:cubicBezTo>
                      <a:cubicBezTo>
                        <a:pt x="95" y="355"/>
                        <a:pt x="95" y="347"/>
                        <a:pt x="71" y="324"/>
                      </a:cubicBezTo>
                      <a:cubicBezTo>
                        <a:pt x="71" y="324"/>
                        <a:pt x="63" y="316"/>
                        <a:pt x="48" y="308"/>
                      </a:cubicBezTo>
                      <a:cubicBezTo>
                        <a:pt x="24" y="292"/>
                        <a:pt x="0" y="268"/>
                        <a:pt x="0" y="253"/>
                      </a:cubicBezTo>
                      <a:cubicBezTo>
                        <a:pt x="0" y="245"/>
                        <a:pt x="0" y="237"/>
                        <a:pt x="0" y="237"/>
                      </a:cubicBezTo>
                      <a:cubicBezTo>
                        <a:pt x="24" y="205"/>
                        <a:pt x="933" y="95"/>
                        <a:pt x="1036" y="79"/>
                      </a:cubicBezTo>
                      <a:lnTo>
                        <a:pt x="1036" y="79"/>
                      </a:lnTo>
                      <a:lnTo>
                        <a:pt x="1036" y="79"/>
                      </a:lnTo>
                      <a:cubicBezTo>
                        <a:pt x="1075" y="142"/>
                        <a:pt x="1115" y="205"/>
                        <a:pt x="1123" y="213"/>
                      </a:cubicBezTo>
                      <a:cubicBezTo>
                        <a:pt x="1138" y="213"/>
                        <a:pt x="2158" y="126"/>
                        <a:pt x="2174" y="126"/>
                      </a:cubicBezTo>
                      <a:lnTo>
                        <a:pt x="2174" y="126"/>
                      </a:lnTo>
                      <a:lnTo>
                        <a:pt x="2174" y="126"/>
                      </a:lnTo>
                      <a:cubicBezTo>
                        <a:pt x="2174" y="126"/>
                        <a:pt x="2182" y="134"/>
                        <a:pt x="2198" y="158"/>
                      </a:cubicBezTo>
                      <a:cubicBezTo>
                        <a:pt x="2198" y="166"/>
                        <a:pt x="2198" y="173"/>
                        <a:pt x="2198" y="181"/>
                      </a:cubicBezTo>
                      <a:cubicBezTo>
                        <a:pt x="2198" y="205"/>
                        <a:pt x="2198" y="221"/>
                        <a:pt x="2222" y="221"/>
                      </a:cubicBezTo>
                      <a:cubicBezTo>
                        <a:pt x="2222" y="221"/>
                        <a:pt x="2230" y="221"/>
                        <a:pt x="2237" y="221"/>
                      </a:cubicBezTo>
                      <a:cubicBezTo>
                        <a:pt x="2237" y="221"/>
                        <a:pt x="2245" y="221"/>
                        <a:pt x="2253" y="221"/>
                      </a:cubicBezTo>
                      <a:cubicBezTo>
                        <a:pt x="2261" y="221"/>
                        <a:pt x="2269" y="221"/>
                        <a:pt x="2269" y="197"/>
                      </a:cubicBezTo>
                      <a:cubicBezTo>
                        <a:pt x="2269" y="189"/>
                        <a:pt x="2269" y="173"/>
                        <a:pt x="2269" y="158"/>
                      </a:cubicBezTo>
                      <a:cubicBezTo>
                        <a:pt x="2277" y="134"/>
                        <a:pt x="2277" y="102"/>
                        <a:pt x="2261" y="79"/>
                      </a:cubicBezTo>
                      <a:cubicBezTo>
                        <a:pt x="2245" y="55"/>
                        <a:pt x="2245" y="39"/>
                        <a:pt x="2245" y="31"/>
                      </a:cubicBezTo>
                      <a:cubicBezTo>
                        <a:pt x="2245" y="23"/>
                        <a:pt x="2253" y="15"/>
                        <a:pt x="2261" y="7"/>
                      </a:cubicBezTo>
                      <a:cubicBezTo>
                        <a:pt x="2261" y="7"/>
                        <a:pt x="2269" y="7"/>
                        <a:pt x="2277" y="7"/>
                      </a:cubicBezTo>
                      <a:cubicBezTo>
                        <a:pt x="2285" y="7"/>
                        <a:pt x="2308" y="7"/>
                        <a:pt x="2332" y="15"/>
                      </a:cubicBezTo>
                      <a:cubicBezTo>
                        <a:pt x="2364" y="23"/>
                        <a:pt x="2403" y="23"/>
                        <a:pt x="2427" y="23"/>
                      </a:cubicBezTo>
                      <a:cubicBezTo>
                        <a:pt x="2451" y="23"/>
                        <a:pt x="2467" y="23"/>
                        <a:pt x="2475" y="15"/>
                      </a:cubicBezTo>
                      <a:cubicBezTo>
                        <a:pt x="2475" y="7"/>
                        <a:pt x="2475" y="7"/>
                        <a:pt x="2475" y="7"/>
                      </a:cubicBezTo>
                      <a:cubicBezTo>
                        <a:pt x="2483" y="0"/>
                        <a:pt x="2483" y="0"/>
                        <a:pt x="2483" y="0"/>
                      </a:cubicBezTo>
                      <a:cubicBezTo>
                        <a:pt x="2483" y="7"/>
                        <a:pt x="2483" y="7"/>
                        <a:pt x="2483" y="7"/>
                      </a:cubicBezTo>
                      <a:lnTo>
                        <a:pt x="2483" y="7"/>
                      </a:lnTo>
                      <a:cubicBezTo>
                        <a:pt x="2506" y="23"/>
                        <a:pt x="2506" y="23"/>
                        <a:pt x="2506" y="47"/>
                      </a:cubicBezTo>
                      <a:cubicBezTo>
                        <a:pt x="2506" y="55"/>
                        <a:pt x="2506" y="63"/>
                        <a:pt x="2506" y="63"/>
                      </a:cubicBezTo>
                      <a:cubicBezTo>
                        <a:pt x="2498" y="95"/>
                        <a:pt x="2498" y="95"/>
                        <a:pt x="2514" y="102"/>
                      </a:cubicBezTo>
                      <a:cubicBezTo>
                        <a:pt x="2514" y="110"/>
                        <a:pt x="2522" y="118"/>
                        <a:pt x="2522" y="126"/>
                      </a:cubicBezTo>
                      <a:cubicBezTo>
                        <a:pt x="2538" y="142"/>
                        <a:pt x="2546" y="158"/>
                        <a:pt x="2546" y="173"/>
                      </a:cubicBezTo>
                      <a:cubicBezTo>
                        <a:pt x="2546" y="189"/>
                        <a:pt x="2554" y="205"/>
                        <a:pt x="2561" y="221"/>
                      </a:cubicBezTo>
                      <a:cubicBezTo>
                        <a:pt x="2577" y="268"/>
                        <a:pt x="2664" y="458"/>
                        <a:pt x="2672" y="458"/>
                      </a:cubicBezTo>
                      <a:cubicBezTo>
                        <a:pt x="2688" y="513"/>
                        <a:pt x="2909" y="830"/>
                        <a:pt x="2925" y="837"/>
                      </a:cubicBezTo>
                      <a:lnTo>
                        <a:pt x="2933" y="837"/>
                      </a:lnTo>
                      <a:cubicBezTo>
                        <a:pt x="2949" y="846"/>
                        <a:pt x="2965" y="853"/>
                        <a:pt x="3004" y="924"/>
                      </a:cubicBezTo>
                      <a:cubicBezTo>
                        <a:pt x="3052" y="996"/>
                        <a:pt x="3044" y="1012"/>
                        <a:pt x="3036" y="1035"/>
                      </a:cubicBezTo>
                      <a:lnTo>
                        <a:pt x="3036" y="1035"/>
                      </a:lnTo>
                      <a:cubicBezTo>
                        <a:pt x="3036" y="1035"/>
                        <a:pt x="3036" y="1043"/>
                        <a:pt x="3028" y="1043"/>
                      </a:cubicBezTo>
                      <a:cubicBezTo>
                        <a:pt x="3028" y="1043"/>
                        <a:pt x="3020" y="1035"/>
                        <a:pt x="3012" y="1012"/>
                      </a:cubicBezTo>
                      <a:cubicBezTo>
                        <a:pt x="3012" y="1003"/>
                        <a:pt x="3012" y="1003"/>
                        <a:pt x="3012" y="996"/>
                      </a:cubicBezTo>
                      <a:cubicBezTo>
                        <a:pt x="2996" y="964"/>
                        <a:pt x="2973" y="940"/>
                        <a:pt x="2973" y="940"/>
                      </a:cubicBezTo>
                      <a:lnTo>
                        <a:pt x="2973" y="940"/>
                      </a:lnTo>
                      <a:lnTo>
                        <a:pt x="2973" y="940"/>
                      </a:lnTo>
                      <a:cubicBezTo>
                        <a:pt x="2965" y="948"/>
                        <a:pt x="2965" y="956"/>
                        <a:pt x="2949" y="956"/>
                      </a:cubicBezTo>
                      <a:cubicBezTo>
                        <a:pt x="2941" y="948"/>
                        <a:pt x="2941" y="948"/>
                        <a:pt x="2933" y="940"/>
                      </a:cubicBezTo>
                      <a:cubicBezTo>
                        <a:pt x="2933" y="932"/>
                        <a:pt x="2933" y="924"/>
                        <a:pt x="2925" y="924"/>
                      </a:cubicBezTo>
                      <a:cubicBezTo>
                        <a:pt x="2917" y="917"/>
                        <a:pt x="2909" y="909"/>
                        <a:pt x="2909" y="901"/>
                      </a:cubicBezTo>
                      <a:lnTo>
                        <a:pt x="2909" y="893"/>
                      </a:lnTo>
                      <a:lnTo>
                        <a:pt x="2909" y="893"/>
                      </a:lnTo>
                      <a:cubicBezTo>
                        <a:pt x="2901" y="901"/>
                        <a:pt x="2933" y="956"/>
                        <a:pt x="2949" y="980"/>
                      </a:cubicBezTo>
                      <a:cubicBezTo>
                        <a:pt x="2957" y="1003"/>
                        <a:pt x="2965" y="1019"/>
                        <a:pt x="2965" y="1027"/>
                      </a:cubicBezTo>
                      <a:cubicBezTo>
                        <a:pt x="2973" y="1043"/>
                        <a:pt x="2981" y="1051"/>
                        <a:pt x="2988" y="1059"/>
                      </a:cubicBezTo>
                      <a:cubicBezTo>
                        <a:pt x="2988" y="1067"/>
                        <a:pt x="2996" y="1075"/>
                        <a:pt x="2996" y="1083"/>
                      </a:cubicBezTo>
                      <a:lnTo>
                        <a:pt x="2996" y="1090"/>
                      </a:lnTo>
                      <a:cubicBezTo>
                        <a:pt x="3004" y="1090"/>
                        <a:pt x="3004" y="1090"/>
                        <a:pt x="3004" y="1090"/>
                      </a:cubicBezTo>
                      <a:cubicBezTo>
                        <a:pt x="3004" y="1083"/>
                        <a:pt x="3012" y="1083"/>
                        <a:pt x="3012" y="1075"/>
                      </a:cubicBezTo>
                      <a:cubicBezTo>
                        <a:pt x="3020" y="1075"/>
                        <a:pt x="3020" y="1075"/>
                        <a:pt x="3020" y="1075"/>
                      </a:cubicBezTo>
                      <a:cubicBezTo>
                        <a:pt x="3036" y="1075"/>
                        <a:pt x="3036" y="1122"/>
                        <a:pt x="3044" y="1146"/>
                      </a:cubicBezTo>
                      <a:cubicBezTo>
                        <a:pt x="3115" y="1233"/>
                        <a:pt x="3154" y="1328"/>
                        <a:pt x="3194" y="1399"/>
                      </a:cubicBezTo>
                      <a:cubicBezTo>
                        <a:pt x="3226" y="1462"/>
                        <a:pt x="3249" y="1517"/>
                        <a:pt x="3289" y="1549"/>
                      </a:cubicBezTo>
                      <a:cubicBezTo>
                        <a:pt x="3376" y="1620"/>
                        <a:pt x="3423" y="1810"/>
                        <a:pt x="3415" y="1905"/>
                      </a:cubicBezTo>
                      <a:cubicBezTo>
                        <a:pt x="3407" y="1976"/>
                        <a:pt x="3407" y="2000"/>
                        <a:pt x="3415" y="2031"/>
                      </a:cubicBezTo>
                      <a:cubicBezTo>
                        <a:pt x="3415" y="2039"/>
                        <a:pt x="3415" y="2047"/>
                        <a:pt x="3415" y="2063"/>
                      </a:cubicBezTo>
                      <a:cubicBezTo>
                        <a:pt x="3415" y="2102"/>
                        <a:pt x="3400" y="2253"/>
                        <a:pt x="3368" y="2284"/>
                      </a:cubicBezTo>
                      <a:cubicBezTo>
                        <a:pt x="3360" y="2308"/>
                        <a:pt x="3360" y="2316"/>
                        <a:pt x="3368" y="2332"/>
                      </a:cubicBezTo>
                      <a:cubicBezTo>
                        <a:pt x="3368" y="2340"/>
                        <a:pt x="3368" y="2347"/>
                        <a:pt x="3376" y="2355"/>
                      </a:cubicBezTo>
                      <a:cubicBezTo>
                        <a:pt x="3376" y="2371"/>
                        <a:pt x="3376" y="2371"/>
                        <a:pt x="3384" y="2379"/>
                      </a:cubicBezTo>
                      <a:cubicBezTo>
                        <a:pt x="3384" y="2387"/>
                        <a:pt x="3384" y="2387"/>
                        <a:pt x="3384" y="2403"/>
                      </a:cubicBezTo>
                      <a:cubicBezTo>
                        <a:pt x="3376" y="2419"/>
                        <a:pt x="3376" y="2427"/>
                        <a:pt x="3376" y="2427"/>
                      </a:cubicBezTo>
                      <a:lnTo>
                        <a:pt x="3376" y="2427"/>
                      </a:lnTo>
                      <a:cubicBezTo>
                        <a:pt x="3384" y="2427"/>
                        <a:pt x="3384" y="2427"/>
                        <a:pt x="3392" y="2419"/>
                      </a:cubicBezTo>
                      <a:cubicBezTo>
                        <a:pt x="3392" y="2419"/>
                        <a:pt x="3392" y="2411"/>
                        <a:pt x="3400" y="2411"/>
                      </a:cubicBezTo>
                      <a:lnTo>
                        <a:pt x="3400" y="2411"/>
                      </a:lnTo>
                      <a:cubicBezTo>
                        <a:pt x="3407" y="2411"/>
                        <a:pt x="3407" y="2411"/>
                        <a:pt x="3407" y="2411"/>
                      </a:cubicBezTo>
                      <a:lnTo>
                        <a:pt x="3407" y="2411"/>
                      </a:lnTo>
                      <a:cubicBezTo>
                        <a:pt x="3407" y="2419"/>
                        <a:pt x="3352" y="2569"/>
                        <a:pt x="3336" y="2593"/>
                      </a:cubicBezTo>
                      <a:cubicBezTo>
                        <a:pt x="3320" y="2624"/>
                        <a:pt x="3305" y="2632"/>
                        <a:pt x="3289" y="2640"/>
                      </a:cubicBezTo>
                      <a:cubicBezTo>
                        <a:pt x="3281" y="2640"/>
                        <a:pt x="3281" y="2640"/>
                        <a:pt x="3281" y="2640"/>
                      </a:cubicBezTo>
                      <a:close/>
                      <a:moveTo>
                        <a:pt x="3289" y="2474"/>
                      </a:moveTo>
                      <a:lnTo>
                        <a:pt x="3289" y="2474"/>
                      </a:lnTo>
                      <a:cubicBezTo>
                        <a:pt x="3297" y="2474"/>
                        <a:pt x="3297" y="2474"/>
                        <a:pt x="3297" y="2474"/>
                      </a:cubicBezTo>
                      <a:cubicBezTo>
                        <a:pt x="3305" y="2474"/>
                        <a:pt x="3313" y="2482"/>
                        <a:pt x="3320" y="2482"/>
                      </a:cubicBezTo>
                      <a:cubicBezTo>
                        <a:pt x="3336" y="2482"/>
                        <a:pt x="3344" y="2482"/>
                        <a:pt x="3344" y="2490"/>
                      </a:cubicBezTo>
                      <a:cubicBezTo>
                        <a:pt x="3352" y="2498"/>
                        <a:pt x="3352" y="2498"/>
                        <a:pt x="3352" y="2506"/>
                      </a:cubicBezTo>
                      <a:cubicBezTo>
                        <a:pt x="3344" y="2529"/>
                        <a:pt x="3320" y="2577"/>
                        <a:pt x="3305" y="2600"/>
                      </a:cubicBezTo>
                      <a:cubicBezTo>
                        <a:pt x="3281" y="2624"/>
                        <a:pt x="3281" y="2632"/>
                        <a:pt x="3281" y="2640"/>
                      </a:cubicBezTo>
                      <a:cubicBezTo>
                        <a:pt x="3281" y="2640"/>
                        <a:pt x="3281" y="2640"/>
                        <a:pt x="3281" y="2632"/>
                      </a:cubicBezTo>
                      <a:cubicBezTo>
                        <a:pt x="3305" y="2624"/>
                        <a:pt x="3313" y="2616"/>
                        <a:pt x="3328" y="2593"/>
                      </a:cubicBezTo>
                      <a:cubicBezTo>
                        <a:pt x="3352" y="2561"/>
                        <a:pt x="3392" y="2450"/>
                        <a:pt x="3400" y="2419"/>
                      </a:cubicBezTo>
                      <a:cubicBezTo>
                        <a:pt x="3400" y="2419"/>
                        <a:pt x="3392" y="2419"/>
                        <a:pt x="3392" y="2427"/>
                      </a:cubicBezTo>
                      <a:lnTo>
                        <a:pt x="3384" y="2434"/>
                      </a:lnTo>
                      <a:cubicBezTo>
                        <a:pt x="3376" y="2434"/>
                        <a:pt x="3368" y="2434"/>
                        <a:pt x="3368" y="2434"/>
                      </a:cubicBezTo>
                      <a:cubicBezTo>
                        <a:pt x="3368" y="2427"/>
                        <a:pt x="3368" y="2411"/>
                        <a:pt x="3376" y="2403"/>
                      </a:cubicBezTo>
                      <a:cubicBezTo>
                        <a:pt x="3376" y="2387"/>
                        <a:pt x="3376" y="2387"/>
                        <a:pt x="3376" y="2379"/>
                      </a:cubicBezTo>
                      <a:cubicBezTo>
                        <a:pt x="3376" y="2379"/>
                        <a:pt x="3368" y="2371"/>
                        <a:pt x="3368" y="2355"/>
                      </a:cubicBezTo>
                      <a:cubicBezTo>
                        <a:pt x="3360" y="2347"/>
                        <a:pt x="3360" y="2340"/>
                        <a:pt x="3360" y="2332"/>
                      </a:cubicBezTo>
                      <a:cubicBezTo>
                        <a:pt x="3352" y="2316"/>
                        <a:pt x="3344" y="2308"/>
                        <a:pt x="3368" y="2284"/>
                      </a:cubicBezTo>
                      <a:cubicBezTo>
                        <a:pt x="3392" y="2253"/>
                        <a:pt x="3407" y="2102"/>
                        <a:pt x="3407" y="2063"/>
                      </a:cubicBezTo>
                      <a:cubicBezTo>
                        <a:pt x="3407" y="2047"/>
                        <a:pt x="3407" y="2039"/>
                        <a:pt x="3407" y="2031"/>
                      </a:cubicBezTo>
                      <a:cubicBezTo>
                        <a:pt x="3400" y="2007"/>
                        <a:pt x="3400" y="1976"/>
                        <a:pt x="3407" y="1905"/>
                      </a:cubicBezTo>
                      <a:cubicBezTo>
                        <a:pt x="3415" y="1818"/>
                        <a:pt x="3368" y="1620"/>
                        <a:pt x="3281" y="1557"/>
                      </a:cubicBezTo>
                      <a:cubicBezTo>
                        <a:pt x="3241" y="1525"/>
                        <a:pt x="3218" y="1462"/>
                        <a:pt x="3186" y="1399"/>
                      </a:cubicBezTo>
                      <a:cubicBezTo>
                        <a:pt x="3154" y="1328"/>
                        <a:pt x="3115" y="1241"/>
                        <a:pt x="3036" y="1154"/>
                      </a:cubicBezTo>
                      <a:lnTo>
                        <a:pt x="3036" y="1154"/>
                      </a:lnTo>
                      <a:lnTo>
                        <a:pt x="3036" y="1154"/>
                      </a:lnTo>
                      <a:cubicBezTo>
                        <a:pt x="3028" y="1114"/>
                        <a:pt x="3020" y="1083"/>
                        <a:pt x="3020" y="1083"/>
                      </a:cubicBezTo>
                      <a:cubicBezTo>
                        <a:pt x="3012" y="1083"/>
                        <a:pt x="3012" y="1090"/>
                        <a:pt x="3004" y="1090"/>
                      </a:cubicBezTo>
                      <a:cubicBezTo>
                        <a:pt x="3004" y="1090"/>
                        <a:pt x="3004" y="1099"/>
                        <a:pt x="2996" y="1099"/>
                      </a:cubicBezTo>
                      <a:cubicBezTo>
                        <a:pt x="2996" y="1099"/>
                        <a:pt x="2996" y="1090"/>
                        <a:pt x="2988" y="1083"/>
                      </a:cubicBezTo>
                      <a:cubicBezTo>
                        <a:pt x="2988" y="1075"/>
                        <a:pt x="2988" y="1075"/>
                        <a:pt x="2981" y="1067"/>
                      </a:cubicBezTo>
                      <a:cubicBezTo>
                        <a:pt x="2973" y="1059"/>
                        <a:pt x="2973" y="1051"/>
                        <a:pt x="2965" y="1027"/>
                      </a:cubicBezTo>
                      <a:cubicBezTo>
                        <a:pt x="2957" y="1019"/>
                        <a:pt x="2949" y="1003"/>
                        <a:pt x="2941" y="988"/>
                      </a:cubicBezTo>
                      <a:cubicBezTo>
                        <a:pt x="2909" y="924"/>
                        <a:pt x="2894" y="901"/>
                        <a:pt x="2901" y="893"/>
                      </a:cubicBezTo>
                      <a:cubicBezTo>
                        <a:pt x="2901" y="893"/>
                        <a:pt x="2901" y="885"/>
                        <a:pt x="2909" y="885"/>
                      </a:cubicBezTo>
                      <a:cubicBezTo>
                        <a:pt x="2909" y="885"/>
                        <a:pt x="2909" y="893"/>
                        <a:pt x="2917" y="901"/>
                      </a:cubicBezTo>
                      <a:cubicBezTo>
                        <a:pt x="2917" y="901"/>
                        <a:pt x="2917" y="909"/>
                        <a:pt x="2925" y="917"/>
                      </a:cubicBezTo>
                      <a:cubicBezTo>
                        <a:pt x="2933" y="924"/>
                        <a:pt x="2941" y="932"/>
                        <a:pt x="2941" y="932"/>
                      </a:cubicBezTo>
                      <a:cubicBezTo>
                        <a:pt x="2949" y="940"/>
                        <a:pt x="2949" y="948"/>
                        <a:pt x="2949" y="948"/>
                      </a:cubicBezTo>
                      <a:cubicBezTo>
                        <a:pt x="2957" y="948"/>
                        <a:pt x="2957" y="948"/>
                        <a:pt x="2957" y="948"/>
                      </a:cubicBezTo>
                      <a:cubicBezTo>
                        <a:pt x="2957" y="948"/>
                        <a:pt x="2957" y="940"/>
                        <a:pt x="2965" y="940"/>
                      </a:cubicBezTo>
                      <a:cubicBezTo>
                        <a:pt x="2965" y="932"/>
                        <a:pt x="2965" y="932"/>
                        <a:pt x="2973" y="932"/>
                      </a:cubicBezTo>
                      <a:lnTo>
                        <a:pt x="2973" y="932"/>
                      </a:lnTo>
                      <a:cubicBezTo>
                        <a:pt x="2981" y="940"/>
                        <a:pt x="3004" y="964"/>
                        <a:pt x="3020" y="996"/>
                      </a:cubicBezTo>
                      <a:lnTo>
                        <a:pt x="3020" y="1003"/>
                      </a:lnTo>
                      <a:cubicBezTo>
                        <a:pt x="3020" y="1019"/>
                        <a:pt x="3028" y="1027"/>
                        <a:pt x="3028" y="1035"/>
                      </a:cubicBezTo>
                      <a:lnTo>
                        <a:pt x="3028" y="1035"/>
                      </a:lnTo>
                      <a:cubicBezTo>
                        <a:pt x="3036" y="1035"/>
                        <a:pt x="3036" y="1035"/>
                        <a:pt x="3036" y="1035"/>
                      </a:cubicBezTo>
                      <a:cubicBezTo>
                        <a:pt x="3036" y="1012"/>
                        <a:pt x="3044" y="996"/>
                        <a:pt x="2996" y="924"/>
                      </a:cubicBezTo>
                      <a:cubicBezTo>
                        <a:pt x="2957" y="861"/>
                        <a:pt x="2941" y="853"/>
                        <a:pt x="2925" y="846"/>
                      </a:cubicBezTo>
                      <a:lnTo>
                        <a:pt x="2925" y="846"/>
                      </a:lnTo>
                      <a:cubicBezTo>
                        <a:pt x="2901" y="837"/>
                        <a:pt x="2680" y="506"/>
                        <a:pt x="2664" y="458"/>
                      </a:cubicBezTo>
                      <a:cubicBezTo>
                        <a:pt x="2664" y="458"/>
                        <a:pt x="2577" y="268"/>
                        <a:pt x="2554" y="229"/>
                      </a:cubicBezTo>
                      <a:cubicBezTo>
                        <a:pt x="2546" y="205"/>
                        <a:pt x="2538" y="189"/>
                        <a:pt x="2538" y="173"/>
                      </a:cubicBezTo>
                      <a:cubicBezTo>
                        <a:pt x="2538" y="158"/>
                        <a:pt x="2530" y="142"/>
                        <a:pt x="2522" y="126"/>
                      </a:cubicBezTo>
                      <a:cubicBezTo>
                        <a:pt x="2514" y="118"/>
                        <a:pt x="2506" y="118"/>
                        <a:pt x="2506" y="110"/>
                      </a:cubicBezTo>
                      <a:cubicBezTo>
                        <a:pt x="2490" y="95"/>
                        <a:pt x="2490" y="95"/>
                        <a:pt x="2498" y="63"/>
                      </a:cubicBezTo>
                      <a:cubicBezTo>
                        <a:pt x="2498" y="55"/>
                        <a:pt x="2498" y="55"/>
                        <a:pt x="2498" y="47"/>
                      </a:cubicBezTo>
                      <a:cubicBezTo>
                        <a:pt x="2506" y="23"/>
                        <a:pt x="2506" y="23"/>
                        <a:pt x="2483" y="15"/>
                      </a:cubicBezTo>
                      <a:cubicBezTo>
                        <a:pt x="2483" y="7"/>
                        <a:pt x="2483" y="7"/>
                        <a:pt x="2483" y="7"/>
                      </a:cubicBezTo>
                      <a:cubicBezTo>
                        <a:pt x="2483" y="15"/>
                        <a:pt x="2483" y="15"/>
                        <a:pt x="2483" y="15"/>
                      </a:cubicBezTo>
                      <a:cubicBezTo>
                        <a:pt x="2475" y="23"/>
                        <a:pt x="2459" y="31"/>
                        <a:pt x="2427" y="31"/>
                      </a:cubicBezTo>
                      <a:cubicBezTo>
                        <a:pt x="2403" y="31"/>
                        <a:pt x="2364" y="23"/>
                        <a:pt x="2332" y="23"/>
                      </a:cubicBezTo>
                      <a:cubicBezTo>
                        <a:pt x="2308" y="15"/>
                        <a:pt x="2285" y="15"/>
                        <a:pt x="2277" y="15"/>
                      </a:cubicBezTo>
                      <a:cubicBezTo>
                        <a:pt x="2269" y="15"/>
                        <a:pt x="2261" y="15"/>
                        <a:pt x="2261" y="15"/>
                      </a:cubicBezTo>
                      <a:cubicBezTo>
                        <a:pt x="2253" y="23"/>
                        <a:pt x="2253" y="23"/>
                        <a:pt x="2253" y="31"/>
                      </a:cubicBezTo>
                      <a:cubicBezTo>
                        <a:pt x="2253" y="39"/>
                        <a:pt x="2253" y="55"/>
                        <a:pt x="2269" y="79"/>
                      </a:cubicBezTo>
                      <a:cubicBezTo>
                        <a:pt x="2285" y="102"/>
                        <a:pt x="2285" y="134"/>
                        <a:pt x="2277" y="166"/>
                      </a:cubicBezTo>
                      <a:cubicBezTo>
                        <a:pt x="2277" y="173"/>
                        <a:pt x="2277" y="189"/>
                        <a:pt x="2277" y="197"/>
                      </a:cubicBezTo>
                      <a:cubicBezTo>
                        <a:pt x="2277" y="221"/>
                        <a:pt x="2269" y="229"/>
                        <a:pt x="2253" y="229"/>
                      </a:cubicBezTo>
                      <a:cubicBezTo>
                        <a:pt x="2245" y="229"/>
                        <a:pt x="2237" y="229"/>
                        <a:pt x="2230" y="229"/>
                      </a:cubicBezTo>
                      <a:lnTo>
                        <a:pt x="2222" y="229"/>
                      </a:lnTo>
                      <a:cubicBezTo>
                        <a:pt x="2190" y="229"/>
                        <a:pt x="2190" y="205"/>
                        <a:pt x="2190" y="181"/>
                      </a:cubicBezTo>
                      <a:cubicBezTo>
                        <a:pt x="2190" y="173"/>
                        <a:pt x="2190" y="166"/>
                        <a:pt x="2190" y="158"/>
                      </a:cubicBezTo>
                      <a:cubicBezTo>
                        <a:pt x="2182" y="142"/>
                        <a:pt x="2174" y="134"/>
                        <a:pt x="2174" y="134"/>
                      </a:cubicBezTo>
                      <a:cubicBezTo>
                        <a:pt x="2119" y="142"/>
                        <a:pt x="1138" y="221"/>
                        <a:pt x="1123" y="221"/>
                      </a:cubicBezTo>
                      <a:cubicBezTo>
                        <a:pt x="1115" y="221"/>
                        <a:pt x="1060" y="126"/>
                        <a:pt x="1036" y="87"/>
                      </a:cubicBezTo>
                      <a:cubicBezTo>
                        <a:pt x="633" y="134"/>
                        <a:pt x="24" y="221"/>
                        <a:pt x="8" y="237"/>
                      </a:cubicBezTo>
                      <a:cubicBezTo>
                        <a:pt x="8" y="245"/>
                        <a:pt x="0" y="245"/>
                        <a:pt x="8" y="253"/>
                      </a:cubicBezTo>
                      <a:cubicBezTo>
                        <a:pt x="8" y="268"/>
                        <a:pt x="32" y="284"/>
                        <a:pt x="55" y="300"/>
                      </a:cubicBezTo>
                      <a:cubicBezTo>
                        <a:pt x="63" y="308"/>
                        <a:pt x="71" y="316"/>
                        <a:pt x="79" y="324"/>
                      </a:cubicBezTo>
                      <a:cubicBezTo>
                        <a:pt x="103" y="340"/>
                        <a:pt x="103" y="355"/>
                        <a:pt x="95" y="379"/>
                      </a:cubicBezTo>
                      <a:lnTo>
                        <a:pt x="87" y="387"/>
                      </a:lnTo>
                      <a:cubicBezTo>
                        <a:pt x="87" y="403"/>
                        <a:pt x="95" y="419"/>
                        <a:pt x="103" y="426"/>
                      </a:cubicBezTo>
                      <a:cubicBezTo>
                        <a:pt x="111" y="442"/>
                        <a:pt x="119" y="450"/>
                        <a:pt x="119" y="458"/>
                      </a:cubicBezTo>
                      <a:cubicBezTo>
                        <a:pt x="119" y="466"/>
                        <a:pt x="111" y="490"/>
                        <a:pt x="95" y="513"/>
                      </a:cubicBezTo>
                      <a:cubicBezTo>
                        <a:pt x="103" y="521"/>
                        <a:pt x="103" y="529"/>
                        <a:pt x="111" y="529"/>
                      </a:cubicBezTo>
                      <a:cubicBezTo>
                        <a:pt x="119" y="529"/>
                        <a:pt x="119" y="529"/>
                        <a:pt x="127" y="521"/>
                      </a:cubicBezTo>
                      <a:cubicBezTo>
                        <a:pt x="135" y="513"/>
                        <a:pt x="142" y="506"/>
                        <a:pt x="150" y="506"/>
                      </a:cubicBezTo>
                      <a:cubicBezTo>
                        <a:pt x="158" y="498"/>
                        <a:pt x="166" y="490"/>
                        <a:pt x="182" y="474"/>
                      </a:cubicBezTo>
                      <a:cubicBezTo>
                        <a:pt x="190" y="458"/>
                        <a:pt x="190" y="442"/>
                        <a:pt x="190" y="434"/>
                      </a:cubicBezTo>
                      <a:cubicBezTo>
                        <a:pt x="190" y="419"/>
                        <a:pt x="190" y="411"/>
                        <a:pt x="198" y="403"/>
                      </a:cubicBezTo>
                      <a:cubicBezTo>
                        <a:pt x="206" y="403"/>
                        <a:pt x="206" y="403"/>
                        <a:pt x="206" y="403"/>
                      </a:cubicBezTo>
                      <a:cubicBezTo>
                        <a:pt x="214" y="403"/>
                        <a:pt x="221" y="411"/>
                        <a:pt x="230" y="419"/>
                      </a:cubicBezTo>
                      <a:cubicBezTo>
                        <a:pt x="237" y="419"/>
                        <a:pt x="237" y="419"/>
                        <a:pt x="245" y="419"/>
                      </a:cubicBezTo>
                      <a:lnTo>
                        <a:pt x="245" y="411"/>
                      </a:lnTo>
                      <a:cubicBezTo>
                        <a:pt x="245" y="403"/>
                        <a:pt x="245" y="395"/>
                        <a:pt x="261" y="395"/>
                      </a:cubicBezTo>
                      <a:lnTo>
                        <a:pt x="269" y="395"/>
                      </a:lnTo>
                      <a:cubicBezTo>
                        <a:pt x="293" y="411"/>
                        <a:pt x="308" y="426"/>
                        <a:pt x="308" y="442"/>
                      </a:cubicBezTo>
                      <a:cubicBezTo>
                        <a:pt x="308" y="450"/>
                        <a:pt x="301" y="450"/>
                        <a:pt x="293" y="450"/>
                      </a:cubicBezTo>
                      <a:cubicBezTo>
                        <a:pt x="269" y="458"/>
                        <a:pt x="261" y="458"/>
                        <a:pt x="253" y="474"/>
                      </a:cubicBezTo>
                      <a:cubicBezTo>
                        <a:pt x="253" y="474"/>
                        <a:pt x="245" y="474"/>
                        <a:pt x="245" y="482"/>
                      </a:cubicBezTo>
                      <a:cubicBezTo>
                        <a:pt x="237" y="490"/>
                        <a:pt x="221" y="490"/>
                        <a:pt x="206" y="498"/>
                      </a:cubicBezTo>
                      <a:cubicBezTo>
                        <a:pt x="206" y="498"/>
                        <a:pt x="198" y="498"/>
                        <a:pt x="190" y="506"/>
                      </a:cubicBezTo>
                      <a:lnTo>
                        <a:pt x="198" y="506"/>
                      </a:lnTo>
                      <a:cubicBezTo>
                        <a:pt x="214" y="506"/>
                        <a:pt x="230" y="506"/>
                        <a:pt x="245" y="498"/>
                      </a:cubicBezTo>
                      <a:cubicBezTo>
                        <a:pt x="261" y="490"/>
                        <a:pt x="277" y="482"/>
                        <a:pt x="293" y="474"/>
                      </a:cubicBezTo>
                      <a:cubicBezTo>
                        <a:pt x="308" y="474"/>
                        <a:pt x="316" y="474"/>
                        <a:pt x="324" y="474"/>
                      </a:cubicBezTo>
                      <a:cubicBezTo>
                        <a:pt x="372" y="466"/>
                        <a:pt x="435" y="450"/>
                        <a:pt x="451" y="426"/>
                      </a:cubicBezTo>
                      <a:cubicBezTo>
                        <a:pt x="451" y="419"/>
                        <a:pt x="459" y="419"/>
                        <a:pt x="459" y="411"/>
                      </a:cubicBezTo>
                      <a:cubicBezTo>
                        <a:pt x="459" y="395"/>
                        <a:pt x="467" y="387"/>
                        <a:pt x="498" y="387"/>
                      </a:cubicBezTo>
                      <a:cubicBezTo>
                        <a:pt x="514" y="387"/>
                        <a:pt x="522" y="387"/>
                        <a:pt x="530" y="387"/>
                      </a:cubicBezTo>
                      <a:cubicBezTo>
                        <a:pt x="546" y="379"/>
                        <a:pt x="554" y="379"/>
                        <a:pt x="561" y="379"/>
                      </a:cubicBezTo>
                      <a:cubicBezTo>
                        <a:pt x="569" y="379"/>
                        <a:pt x="569" y="379"/>
                        <a:pt x="577" y="379"/>
                      </a:cubicBezTo>
                      <a:cubicBezTo>
                        <a:pt x="601" y="387"/>
                        <a:pt x="617" y="395"/>
                        <a:pt x="609" y="403"/>
                      </a:cubicBezTo>
                      <a:cubicBezTo>
                        <a:pt x="609" y="411"/>
                        <a:pt x="609" y="411"/>
                        <a:pt x="593" y="411"/>
                      </a:cubicBezTo>
                      <a:cubicBezTo>
                        <a:pt x="585" y="411"/>
                        <a:pt x="577" y="411"/>
                        <a:pt x="569" y="411"/>
                      </a:cubicBezTo>
                      <a:cubicBezTo>
                        <a:pt x="561" y="411"/>
                        <a:pt x="561" y="411"/>
                        <a:pt x="554" y="411"/>
                      </a:cubicBezTo>
                      <a:cubicBezTo>
                        <a:pt x="546" y="411"/>
                        <a:pt x="538" y="411"/>
                        <a:pt x="530" y="419"/>
                      </a:cubicBezTo>
                      <a:cubicBezTo>
                        <a:pt x="522" y="426"/>
                        <a:pt x="506" y="426"/>
                        <a:pt x="490" y="426"/>
                      </a:cubicBezTo>
                      <a:cubicBezTo>
                        <a:pt x="482" y="426"/>
                        <a:pt x="474" y="434"/>
                        <a:pt x="474" y="434"/>
                      </a:cubicBezTo>
                      <a:lnTo>
                        <a:pt x="474" y="434"/>
                      </a:lnTo>
                      <a:cubicBezTo>
                        <a:pt x="490" y="442"/>
                        <a:pt x="498" y="442"/>
                        <a:pt x="522" y="442"/>
                      </a:cubicBezTo>
                      <a:cubicBezTo>
                        <a:pt x="530" y="442"/>
                        <a:pt x="538" y="442"/>
                        <a:pt x="546" y="442"/>
                      </a:cubicBezTo>
                      <a:cubicBezTo>
                        <a:pt x="585" y="442"/>
                        <a:pt x="783" y="498"/>
                        <a:pt x="799" y="521"/>
                      </a:cubicBezTo>
                      <a:cubicBezTo>
                        <a:pt x="807" y="529"/>
                        <a:pt x="807" y="529"/>
                        <a:pt x="807" y="529"/>
                      </a:cubicBezTo>
                      <a:cubicBezTo>
                        <a:pt x="807" y="529"/>
                        <a:pt x="807" y="521"/>
                        <a:pt x="807" y="506"/>
                      </a:cubicBezTo>
                      <a:cubicBezTo>
                        <a:pt x="799" y="498"/>
                        <a:pt x="791" y="498"/>
                        <a:pt x="783" y="490"/>
                      </a:cubicBezTo>
                      <a:cubicBezTo>
                        <a:pt x="775" y="490"/>
                        <a:pt x="767" y="482"/>
                        <a:pt x="767" y="482"/>
                      </a:cubicBezTo>
                      <a:cubicBezTo>
                        <a:pt x="767" y="474"/>
                        <a:pt x="767" y="466"/>
                        <a:pt x="775" y="466"/>
                      </a:cubicBezTo>
                      <a:cubicBezTo>
                        <a:pt x="783" y="450"/>
                        <a:pt x="783" y="442"/>
                        <a:pt x="791" y="442"/>
                      </a:cubicBezTo>
                      <a:lnTo>
                        <a:pt x="799" y="442"/>
                      </a:lnTo>
                      <a:cubicBezTo>
                        <a:pt x="807" y="442"/>
                        <a:pt x="807" y="442"/>
                        <a:pt x="814" y="450"/>
                      </a:cubicBezTo>
                      <a:cubicBezTo>
                        <a:pt x="822" y="450"/>
                        <a:pt x="830" y="442"/>
                        <a:pt x="838" y="434"/>
                      </a:cubicBezTo>
                      <a:cubicBezTo>
                        <a:pt x="846" y="434"/>
                        <a:pt x="846" y="434"/>
                        <a:pt x="854" y="434"/>
                      </a:cubicBezTo>
                      <a:cubicBezTo>
                        <a:pt x="854" y="434"/>
                        <a:pt x="862" y="434"/>
                        <a:pt x="862" y="442"/>
                      </a:cubicBezTo>
                      <a:cubicBezTo>
                        <a:pt x="862" y="450"/>
                        <a:pt x="846" y="458"/>
                        <a:pt x="838" y="466"/>
                      </a:cubicBezTo>
                      <a:cubicBezTo>
                        <a:pt x="830" y="466"/>
                        <a:pt x="830" y="466"/>
                        <a:pt x="830" y="482"/>
                      </a:cubicBezTo>
                      <a:cubicBezTo>
                        <a:pt x="838" y="498"/>
                        <a:pt x="838" y="498"/>
                        <a:pt x="846" y="506"/>
                      </a:cubicBezTo>
                      <a:lnTo>
                        <a:pt x="846" y="513"/>
                      </a:lnTo>
                      <a:cubicBezTo>
                        <a:pt x="854" y="521"/>
                        <a:pt x="846" y="529"/>
                        <a:pt x="838" y="537"/>
                      </a:cubicBezTo>
                      <a:cubicBezTo>
                        <a:pt x="838" y="537"/>
                        <a:pt x="838" y="537"/>
                        <a:pt x="830" y="537"/>
                      </a:cubicBezTo>
                      <a:cubicBezTo>
                        <a:pt x="838" y="545"/>
                        <a:pt x="838" y="545"/>
                        <a:pt x="838" y="545"/>
                      </a:cubicBezTo>
                      <a:cubicBezTo>
                        <a:pt x="973" y="616"/>
                        <a:pt x="973" y="632"/>
                        <a:pt x="973" y="640"/>
                      </a:cubicBezTo>
                      <a:cubicBezTo>
                        <a:pt x="973" y="656"/>
                        <a:pt x="965" y="656"/>
                        <a:pt x="957" y="664"/>
                      </a:cubicBezTo>
                      <a:lnTo>
                        <a:pt x="949" y="664"/>
                      </a:lnTo>
                      <a:cubicBezTo>
                        <a:pt x="949" y="664"/>
                        <a:pt x="949" y="664"/>
                        <a:pt x="957" y="672"/>
                      </a:cubicBezTo>
                      <a:cubicBezTo>
                        <a:pt x="965" y="695"/>
                        <a:pt x="980" y="711"/>
                        <a:pt x="996" y="719"/>
                      </a:cubicBezTo>
                      <a:cubicBezTo>
                        <a:pt x="996" y="719"/>
                        <a:pt x="996" y="719"/>
                        <a:pt x="1004" y="719"/>
                      </a:cubicBezTo>
                      <a:cubicBezTo>
                        <a:pt x="1012" y="719"/>
                        <a:pt x="1036" y="711"/>
                        <a:pt x="1060" y="703"/>
                      </a:cubicBezTo>
                      <a:cubicBezTo>
                        <a:pt x="1075" y="695"/>
                        <a:pt x="1091" y="695"/>
                        <a:pt x="1107" y="687"/>
                      </a:cubicBezTo>
                      <a:cubicBezTo>
                        <a:pt x="1131" y="679"/>
                        <a:pt x="1162" y="664"/>
                        <a:pt x="1178" y="656"/>
                      </a:cubicBezTo>
                      <a:cubicBezTo>
                        <a:pt x="1202" y="648"/>
                        <a:pt x="1218" y="640"/>
                        <a:pt x="1225" y="640"/>
                      </a:cubicBezTo>
                      <a:cubicBezTo>
                        <a:pt x="1225" y="640"/>
                        <a:pt x="1233" y="648"/>
                        <a:pt x="1233" y="656"/>
                      </a:cubicBezTo>
                      <a:cubicBezTo>
                        <a:pt x="1233" y="664"/>
                        <a:pt x="1218" y="672"/>
                        <a:pt x="1202" y="687"/>
                      </a:cubicBezTo>
                      <a:cubicBezTo>
                        <a:pt x="1170" y="703"/>
                        <a:pt x="1147" y="711"/>
                        <a:pt x="1131" y="727"/>
                      </a:cubicBezTo>
                      <a:cubicBezTo>
                        <a:pt x="1123" y="727"/>
                        <a:pt x="1123" y="735"/>
                        <a:pt x="1123" y="735"/>
                      </a:cubicBezTo>
                      <a:lnTo>
                        <a:pt x="1131" y="735"/>
                      </a:lnTo>
                      <a:cubicBezTo>
                        <a:pt x="1138" y="735"/>
                        <a:pt x="1147" y="735"/>
                        <a:pt x="1154" y="735"/>
                      </a:cubicBezTo>
                      <a:cubicBezTo>
                        <a:pt x="1162" y="727"/>
                        <a:pt x="1241" y="679"/>
                        <a:pt x="1241" y="640"/>
                      </a:cubicBezTo>
                      <a:cubicBezTo>
                        <a:pt x="1241" y="608"/>
                        <a:pt x="1249" y="608"/>
                        <a:pt x="1265" y="600"/>
                      </a:cubicBezTo>
                      <a:cubicBezTo>
                        <a:pt x="1265" y="600"/>
                        <a:pt x="1265" y="593"/>
                        <a:pt x="1273" y="593"/>
                      </a:cubicBezTo>
                      <a:lnTo>
                        <a:pt x="1281" y="585"/>
                      </a:lnTo>
                      <a:cubicBezTo>
                        <a:pt x="1297" y="569"/>
                        <a:pt x="1313" y="561"/>
                        <a:pt x="1336" y="561"/>
                      </a:cubicBezTo>
                      <a:cubicBezTo>
                        <a:pt x="1344" y="561"/>
                        <a:pt x="1352" y="561"/>
                        <a:pt x="1360" y="561"/>
                      </a:cubicBezTo>
                      <a:lnTo>
                        <a:pt x="1368" y="561"/>
                      </a:lnTo>
                      <a:cubicBezTo>
                        <a:pt x="1368" y="561"/>
                        <a:pt x="1384" y="561"/>
                        <a:pt x="1384" y="553"/>
                      </a:cubicBezTo>
                      <a:lnTo>
                        <a:pt x="1384" y="553"/>
                      </a:lnTo>
                      <a:cubicBezTo>
                        <a:pt x="1384" y="545"/>
                        <a:pt x="1376" y="537"/>
                        <a:pt x="1368" y="537"/>
                      </a:cubicBezTo>
                      <a:cubicBezTo>
                        <a:pt x="1368" y="529"/>
                        <a:pt x="1360" y="521"/>
                        <a:pt x="1360" y="513"/>
                      </a:cubicBezTo>
                      <a:cubicBezTo>
                        <a:pt x="1360" y="513"/>
                        <a:pt x="1368" y="506"/>
                        <a:pt x="1376" y="498"/>
                      </a:cubicBezTo>
                      <a:cubicBezTo>
                        <a:pt x="1391" y="490"/>
                        <a:pt x="1391" y="482"/>
                        <a:pt x="1400" y="474"/>
                      </a:cubicBezTo>
                      <a:cubicBezTo>
                        <a:pt x="1407" y="458"/>
                        <a:pt x="1407" y="450"/>
                        <a:pt x="1455" y="458"/>
                      </a:cubicBezTo>
                      <a:cubicBezTo>
                        <a:pt x="1518" y="466"/>
                        <a:pt x="1550" y="482"/>
                        <a:pt x="1589" y="498"/>
                      </a:cubicBezTo>
                      <a:lnTo>
                        <a:pt x="1597" y="498"/>
                      </a:lnTo>
                      <a:cubicBezTo>
                        <a:pt x="1621" y="513"/>
                        <a:pt x="1653" y="537"/>
                        <a:pt x="1684" y="569"/>
                      </a:cubicBezTo>
                      <a:cubicBezTo>
                        <a:pt x="1716" y="593"/>
                        <a:pt x="1739" y="616"/>
                        <a:pt x="1755" y="616"/>
                      </a:cubicBezTo>
                      <a:cubicBezTo>
                        <a:pt x="1771" y="624"/>
                        <a:pt x="1779" y="624"/>
                        <a:pt x="1787" y="640"/>
                      </a:cubicBezTo>
                      <a:cubicBezTo>
                        <a:pt x="1787" y="648"/>
                        <a:pt x="1787" y="648"/>
                        <a:pt x="1795" y="664"/>
                      </a:cubicBezTo>
                      <a:cubicBezTo>
                        <a:pt x="1818" y="687"/>
                        <a:pt x="1834" y="711"/>
                        <a:pt x="1882" y="735"/>
                      </a:cubicBezTo>
                      <a:cubicBezTo>
                        <a:pt x="1897" y="743"/>
                        <a:pt x="1905" y="759"/>
                        <a:pt x="1921" y="774"/>
                      </a:cubicBezTo>
                      <a:cubicBezTo>
                        <a:pt x="1937" y="798"/>
                        <a:pt x="1953" y="814"/>
                        <a:pt x="1992" y="814"/>
                      </a:cubicBezTo>
                      <a:lnTo>
                        <a:pt x="1992" y="814"/>
                      </a:lnTo>
                      <a:cubicBezTo>
                        <a:pt x="2055" y="822"/>
                        <a:pt x="2064" y="822"/>
                        <a:pt x="2079" y="853"/>
                      </a:cubicBezTo>
                      <a:cubicBezTo>
                        <a:pt x="2087" y="893"/>
                        <a:pt x="2095" y="917"/>
                        <a:pt x="2119" y="924"/>
                      </a:cubicBezTo>
                      <a:cubicBezTo>
                        <a:pt x="2143" y="932"/>
                        <a:pt x="2150" y="948"/>
                        <a:pt x="2150" y="972"/>
                      </a:cubicBezTo>
                      <a:cubicBezTo>
                        <a:pt x="2158" y="980"/>
                        <a:pt x="2158" y="980"/>
                        <a:pt x="2158" y="988"/>
                      </a:cubicBezTo>
                      <a:cubicBezTo>
                        <a:pt x="2158" y="996"/>
                        <a:pt x="2158" y="996"/>
                        <a:pt x="2158" y="1003"/>
                      </a:cubicBezTo>
                      <a:cubicBezTo>
                        <a:pt x="2166" y="1035"/>
                        <a:pt x="2174" y="1067"/>
                        <a:pt x="2166" y="1106"/>
                      </a:cubicBezTo>
                      <a:cubicBezTo>
                        <a:pt x="2158" y="1138"/>
                        <a:pt x="2158" y="1170"/>
                        <a:pt x="2150" y="1201"/>
                      </a:cubicBezTo>
                      <a:cubicBezTo>
                        <a:pt x="2150" y="1217"/>
                        <a:pt x="2150" y="1225"/>
                        <a:pt x="2150" y="1241"/>
                      </a:cubicBezTo>
                      <a:cubicBezTo>
                        <a:pt x="2150" y="1256"/>
                        <a:pt x="2143" y="1272"/>
                        <a:pt x="2135" y="1280"/>
                      </a:cubicBezTo>
                      <a:cubicBezTo>
                        <a:pt x="2135" y="1304"/>
                        <a:pt x="2127" y="1312"/>
                        <a:pt x="2127" y="1336"/>
                      </a:cubicBezTo>
                      <a:cubicBezTo>
                        <a:pt x="2135" y="1343"/>
                        <a:pt x="2135" y="1359"/>
                        <a:pt x="2143" y="1367"/>
                      </a:cubicBezTo>
                      <a:cubicBezTo>
                        <a:pt x="2143" y="1375"/>
                        <a:pt x="2150" y="1391"/>
                        <a:pt x="2150" y="1415"/>
                      </a:cubicBezTo>
                      <a:cubicBezTo>
                        <a:pt x="2150" y="1438"/>
                        <a:pt x="2158" y="1462"/>
                        <a:pt x="2166" y="1478"/>
                      </a:cubicBezTo>
                      <a:cubicBezTo>
                        <a:pt x="2174" y="1478"/>
                        <a:pt x="2174" y="1486"/>
                        <a:pt x="2182" y="1486"/>
                      </a:cubicBezTo>
                      <a:cubicBezTo>
                        <a:pt x="2190" y="1478"/>
                        <a:pt x="2190" y="1478"/>
                        <a:pt x="2190" y="1478"/>
                      </a:cubicBezTo>
                      <a:cubicBezTo>
                        <a:pt x="2206" y="1478"/>
                        <a:pt x="2222" y="1478"/>
                        <a:pt x="2230" y="1470"/>
                      </a:cubicBezTo>
                      <a:cubicBezTo>
                        <a:pt x="2230" y="1470"/>
                        <a:pt x="2230" y="1462"/>
                        <a:pt x="2230" y="1454"/>
                      </a:cubicBezTo>
                      <a:cubicBezTo>
                        <a:pt x="2222" y="1446"/>
                        <a:pt x="2222" y="1430"/>
                        <a:pt x="2214" y="1423"/>
                      </a:cubicBezTo>
                      <a:cubicBezTo>
                        <a:pt x="2206" y="1407"/>
                        <a:pt x="2198" y="1391"/>
                        <a:pt x="2198" y="1367"/>
                      </a:cubicBezTo>
                      <a:cubicBezTo>
                        <a:pt x="2198" y="1336"/>
                        <a:pt x="2206" y="1336"/>
                        <a:pt x="2214" y="1336"/>
                      </a:cubicBezTo>
                      <a:cubicBezTo>
                        <a:pt x="2222" y="1336"/>
                        <a:pt x="2230" y="1343"/>
                        <a:pt x="2237" y="1359"/>
                      </a:cubicBezTo>
                      <a:cubicBezTo>
                        <a:pt x="2253" y="1383"/>
                        <a:pt x="2253" y="1383"/>
                        <a:pt x="2269" y="1383"/>
                      </a:cubicBezTo>
                      <a:cubicBezTo>
                        <a:pt x="2277" y="1383"/>
                        <a:pt x="2277" y="1383"/>
                        <a:pt x="2277" y="1383"/>
                      </a:cubicBezTo>
                      <a:cubicBezTo>
                        <a:pt x="2285" y="1383"/>
                        <a:pt x="2285" y="1383"/>
                        <a:pt x="2293" y="1383"/>
                      </a:cubicBezTo>
                      <a:cubicBezTo>
                        <a:pt x="2301" y="1383"/>
                        <a:pt x="2301" y="1383"/>
                        <a:pt x="2308" y="1391"/>
                      </a:cubicBezTo>
                      <a:cubicBezTo>
                        <a:pt x="2308" y="1399"/>
                        <a:pt x="2308" y="1407"/>
                        <a:pt x="2308" y="1423"/>
                      </a:cubicBezTo>
                      <a:cubicBezTo>
                        <a:pt x="2308" y="1438"/>
                        <a:pt x="2293" y="1462"/>
                        <a:pt x="2285" y="1486"/>
                      </a:cubicBezTo>
                      <a:cubicBezTo>
                        <a:pt x="2277" y="1502"/>
                        <a:pt x="2261" y="1517"/>
                        <a:pt x="2261" y="1533"/>
                      </a:cubicBezTo>
                      <a:cubicBezTo>
                        <a:pt x="2261" y="1549"/>
                        <a:pt x="2253" y="1565"/>
                        <a:pt x="2230" y="1573"/>
                      </a:cubicBezTo>
                      <a:cubicBezTo>
                        <a:pt x="2230" y="1573"/>
                        <a:pt x="2230" y="1573"/>
                        <a:pt x="2222" y="1573"/>
                      </a:cubicBezTo>
                      <a:cubicBezTo>
                        <a:pt x="2214" y="1573"/>
                        <a:pt x="2198" y="1573"/>
                        <a:pt x="2198" y="1581"/>
                      </a:cubicBezTo>
                      <a:cubicBezTo>
                        <a:pt x="2198" y="1581"/>
                        <a:pt x="2198" y="1581"/>
                        <a:pt x="2206" y="1589"/>
                      </a:cubicBezTo>
                      <a:cubicBezTo>
                        <a:pt x="2214" y="1589"/>
                        <a:pt x="2222" y="1589"/>
                        <a:pt x="2230" y="1589"/>
                      </a:cubicBezTo>
                      <a:cubicBezTo>
                        <a:pt x="2230" y="1581"/>
                        <a:pt x="2230" y="1581"/>
                        <a:pt x="2237" y="1581"/>
                      </a:cubicBezTo>
                      <a:cubicBezTo>
                        <a:pt x="2245" y="1581"/>
                        <a:pt x="2253" y="1589"/>
                        <a:pt x="2261" y="1612"/>
                      </a:cubicBezTo>
                      <a:cubicBezTo>
                        <a:pt x="2277" y="1636"/>
                        <a:pt x="2277" y="1652"/>
                        <a:pt x="2285" y="1668"/>
                      </a:cubicBezTo>
                      <a:cubicBezTo>
                        <a:pt x="2293" y="1691"/>
                        <a:pt x="2301" y="1707"/>
                        <a:pt x="2317" y="1739"/>
                      </a:cubicBezTo>
                      <a:cubicBezTo>
                        <a:pt x="2356" y="1802"/>
                        <a:pt x="2411" y="1857"/>
                        <a:pt x="2435" y="1865"/>
                      </a:cubicBezTo>
                      <a:cubicBezTo>
                        <a:pt x="2443" y="1865"/>
                        <a:pt x="2459" y="1873"/>
                        <a:pt x="2467" y="1873"/>
                      </a:cubicBezTo>
                      <a:cubicBezTo>
                        <a:pt x="2475" y="1873"/>
                        <a:pt x="2475" y="1873"/>
                        <a:pt x="2483" y="1865"/>
                      </a:cubicBezTo>
                      <a:cubicBezTo>
                        <a:pt x="2483" y="1865"/>
                        <a:pt x="2483" y="1857"/>
                        <a:pt x="2483" y="1849"/>
                      </a:cubicBezTo>
                      <a:cubicBezTo>
                        <a:pt x="2475" y="1841"/>
                        <a:pt x="2467" y="1826"/>
                        <a:pt x="2459" y="1818"/>
                      </a:cubicBezTo>
                      <a:cubicBezTo>
                        <a:pt x="2451" y="1810"/>
                        <a:pt x="2451" y="1802"/>
                        <a:pt x="2451" y="1802"/>
                      </a:cubicBezTo>
                      <a:cubicBezTo>
                        <a:pt x="2451" y="1794"/>
                        <a:pt x="2459" y="1794"/>
                        <a:pt x="2467" y="1802"/>
                      </a:cubicBezTo>
                      <a:cubicBezTo>
                        <a:pt x="2483" y="1802"/>
                        <a:pt x="2490" y="1810"/>
                        <a:pt x="2498" y="1810"/>
                      </a:cubicBezTo>
                      <a:cubicBezTo>
                        <a:pt x="2506" y="1818"/>
                        <a:pt x="2506" y="1826"/>
                        <a:pt x="2514" y="1818"/>
                      </a:cubicBezTo>
                      <a:cubicBezTo>
                        <a:pt x="2530" y="1810"/>
                        <a:pt x="2538" y="1810"/>
                        <a:pt x="2546" y="1818"/>
                      </a:cubicBezTo>
                      <a:cubicBezTo>
                        <a:pt x="2546" y="1826"/>
                        <a:pt x="2546" y="1834"/>
                        <a:pt x="2546" y="1849"/>
                      </a:cubicBezTo>
                      <a:cubicBezTo>
                        <a:pt x="2530" y="1881"/>
                        <a:pt x="2530" y="1913"/>
                        <a:pt x="2538" y="1936"/>
                      </a:cubicBezTo>
                      <a:cubicBezTo>
                        <a:pt x="2546" y="1960"/>
                        <a:pt x="2577" y="1992"/>
                        <a:pt x="2585" y="1992"/>
                      </a:cubicBezTo>
                      <a:lnTo>
                        <a:pt x="2585" y="1992"/>
                      </a:lnTo>
                      <a:cubicBezTo>
                        <a:pt x="2593" y="1992"/>
                        <a:pt x="2593" y="1984"/>
                        <a:pt x="2601" y="1984"/>
                      </a:cubicBezTo>
                      <a:cubicBezTo>
                        <a:pt x="2609" y="1984"/>
                        <a:pt x="2609" y="2000"/>
                        <a:pt x="2609" y="2007"/>
                      </a:cubicBezTo>
                      <a:cubicBezTo>
                        <a:pt x="2609" y="2023"/>
                        <a:pt x="2609" y="2023"/>
                        <a:pt x="2625" y="2031"/>
                      </a:cubicBezTo>
                      <a:lnTo>
                        <a:pt x="2633" y="2031"/>
                      </a:lnTo>
                      <a:cubicBezTo>
                        <a:pt x="2656" y="2039"/>
                        <a:pt x="2656" y="2047"/>
                        <a:pt x="2656" y="2071"/>
                      </a:cubicBezTo>
                      <a:lnTo>
                        <a:pt x="2656" y="2071"/>
                      </a:lnTo>
                      <a:cubicBezTo>
                        <a:pt x="2664" y="2102"/>
                        <a:pt x="2688" y="2150"/>
                        <a:pt x="2712" y="2189"/>
                      </a:cubicBezTo>
                      <a:cubicBezTo>
                        <a:pt x="2728" y="2205"/>
                        <a:pt x="2728" y="2221"/>
                        <a:pt x="2736" y="2229"/>
                      </a:cubicBezTo>
                      <a:cubicBezTo>
                        <a:pt x="2743" y="2260"/>
                        <a:pt x="2751" y="2269"/>
                        <a:pt x="2767" y="2269"/>
                      </a:cubicBezTo>
                      <a:cubicBezTo>
                        <a:pt x="2775" y="2269"/>
                        <a:pt x="2783" y="2269"/>
                        <a:pt x="2791" y="2260"/>
                      </a:cubicBezTo>
                      <a:cubicBezTo>
                        <a:pt x="2807" y="2260"/>
                        <a:pt x="2823" y="2253"/>
                        <a:pt x="2838" y="2253"/>
                      </a:cubicBezTo>
                      <a:cubicBezTo>
                        <a:pt x="2862" y="2253"/>
                        <a:pt x="2878" y="2260"/>
                        <a:pt x="2894" y="2276"/>
                      </a:cubicBezTo>
                      <a:cubicBezTo>
                        <a:pt x="2933" y="2316"/>
                        <a:pt x="2965" y="2355"/>
                        <a:pt x="2981" y="2387"/>
                      </a:cubicBezTo>
                      <a:cubicBezTo>
                        <a:pt x="2996" y="2419"/>
                        <a:pt x="3012" y="2434"/>
                        <a:pt x="3036" y="2442"/>
                      </a:cubicBezTo>
                      <a:cubicBezTo>
                        <a:pt x="3036" y="2442"/>
                        <a:pt x="3036" y="2450"/>
                        <a:pt x="3044" y="2450"/>
                      </a:cubicBezTo>
                      <a:cubicBezTo>
                        <a:pt x="3052" y="2458"/>
                        <a:pt x="3076" y="2474"/>
                        <a:pt x="3091" y="2474"/>
                      </a:cubicBezTo>
                      <a:cubicBezTo>
                        <a:pt x="3099" y="2474"/>
                        <a:pt x="3099" y="2474"/>
                        <a:pt x="3107" y="2466"/>
                      </a:cubicBezTo>
                      <a:cubicBezTo>
                        <a:pt x="3115" y="2466"/>
                        <a:pt x="3123" y="2466"/>
                        <a:pt x="3123" y="2474"/>
                      </a:cubicBezTo>
                      <a:cubicBezTo>
                        <a:pt x="3131" y="2482"/>
                        <a:pt x="3131" y="2490"/>
                        <a:pt x="3123" y="2498"/>
                      </a:cubicBezTo>
                      <a:cubicBezTo>
                        <a:pt x="3115" y="2498"/>
                        <a:pt x="3115" y="2506"/>
                        <a:pt x="3115" y="2506"/>
                      </a:cubicBezTo>
                      <a:cubicBezTo>
                        <a:pt x="3107" y="2513"/>
                        <a:pt x="3107" y="2513"/>
                        <a:pt x="3099" y="2513"/>
                      </a:cubicBezTo>
                      <a:cubicBezTo>
                        <a:pt x="3099" y="2513"/>
                        <a:pt x="3091" y="2513"/>
                        <a:pt x="3083" y="2506"/>
                      </a:cubicBezTo>
                      <a:cubicBezTo>
                        <a:pt x="3067" y="2498"/>
                        <a:pt x="3060" y="2490"/>
                        <a:pt x="3052" y="2490"/>
                      </a:cubicBezTo>
                      <a:cubicBezTo>
                        <a:pt x="3044" y="2490"/>
                        <a:pt x="3044" y="2490"/>
                        <a:pt x="3036" y="2498"/>
                      </a:cubicBezTo>
                      <a:lnTo>
                        <a:pt x="3028" y="2506"/>
                      </a:lnTo>
                      <a:cubicBezTo>
                        <a:pt x="3020" y="2513"/>
                        <a:pt x="3012" y="2529"/>
                        <a:pt x="3012" y="2529"/>
                      </a:cubicBezTo>
                      <a:cubicBezTo>
                        <a:pt x="3012" y="2537"/>
                        <a:pt x="3028" y="2545"/>
                        <a:pt x="3044" y="2553"/>
                      </a:cubicBezTo>
                      <a:cubicBezTo>
                        <a:pt x="3067" y="2561"/>
                        <a:pt x="3083" y="2569"/>
                        <a:pt x="3083" y="2569"/>
                      </a:cubicBezTo>
                      <a:cubicBezTo>
                        <a:pt x="3091" y="2569"/>
                        <a:pt x="3091" y="2569"/>
                        <a:pt x="3091" y="2561"/>
                      </a:cubicBezTo>
                      <a:cubicBezTo>
                        <a:pt x="3099" y="2561"/>
                        <a:pt x="3107" y="2553"/>
                        <a:pt x="3115" y="2553"/>
                      </a:cubicBezTo>
                      <a:cubicBezTo>
                        <a:pt x="3123" y="2553"/>
                        <a:pt x="3123" y="2545"/>
                        <a:pt x="3131" y="2545"/>
                      </a:cubicBezTo>
                      <a:cubicBezTo>
                        <a:pt x="3139" y="2537"/>
                        <a:pt x="3147" y="2529"/>
                        <a:pt x="3178" y="2537"/>
                      </a:cubicBezTo>
                      <a:cubicBezTo>
                        <a:pt x="3186" y="2537"/>
                        <a:pt x="3186" y="2537"/>
                        <a:pt x="3186" y="2537"/>
                      </a:cubicBezTo>
                      <a:cubicBezTo>
                        <a:pt x="3202" y="2537"/>
                        <a:pt x="3210" y="2545"/>
                        <a:pt x="3218" y="2545"/>
                      </a:cubicBezTo>
                      <a:cubicBezTo>
                        <a:pt x="3226" y="2545"/>
                        <a:pt x="3234" y="2537"/>
                        <a:pt x="3241" y="2529"/>
                      </a:cubicBezTo>
                      <a:cubicBezTo>
                        <a:pt x="3249" y="2506"/>
                        <a:pt x="3265" y="2474"/>
                        <a:pt x="3289" y="2474"/>
                      </a:cubicBezTo>
                      <a:close/>
                      <a:moveTo>
                        <a:pt x="3265" y="1944"/>
                      </a:moveTo>
                      <a:lnTo>
                        <a:pt x="3265" y="1944"/>
                      </a:lnTo>
                      <a:cubicBezTo>
                        <a:pt x="3265" y="1944"/>
                        <a:pt x="3257" y="1944"/>
                        <a:pt x="3257" y="1936"/>
                      </a:cubicBezTo>
                      <a:cubicBezTo>
                        <a:pt x="3249" y="1936"/>
                        <a:pt x="3241" y="1936"/>
                        <a:pt x="3226" y="1936"/>
                      </a:cubicBezTo>
                      <a:cubicBezTo>
                        <a:pt x="3194" y="1929"/>
                        <a:pt x="3194" y="1921"/>
                        <a:pt x="3186" y="1905"/>
                      </a:cubicBezTo>
                      <a:cubicBezTo>
                        <a:pt x="3186" y="1897"/>
                        <a:pt x="3178" y="1897"/>
                        <a:pt x="3178" y="1889"/>
                      </a:cubicBezTo>
                      <a:cubicBezTo>
                        <a:pt x="3162" y="1865"/>
                        <a:pt x="3154" y="1865"/>
                        <a:pt x="3131" y="1857"/>
                      </a:cubicBezTo>
                      <a:lnTo>
                        <a:pt x="3123" y="1857"/>
                      </a:lnTo>
                      <a:cubicBezTo>
                        <a:pt x="3115" y="1857"/>
                        <a:pt x="3107" y="1849"/>
                        <a:pt x="3107" y="1841"/>
                      </a:cubicBezTo>
                      <a:cubicBezTo>
                        <a:pt x="3099" y="1834"/>
                        <a:pt x="3107" y="1826"/>
                        <a:pt x="3107" y="1818"/>
                      </a:cubicBezTo>
                      <a:cubicBezTo>
                        <a:pt x="3115" y="1818"/>
                        <a:pt x="3115" y="1810"/>
                        <a:pt x="3115" y="1810"/>
                      </a:cubicBezTo>
                      <a:cubicBezTo>
                        <a:pt x="3123" y="1786"/>
                        <a:pt x="3162" y="1754"/>
                        <a:pt x="3170" y="1747"/>
                      </a:cubicBezTo>
                      <a:cubicBezTo>
                        <a:pt x="3186" y="1731"/>
                        <a:pt x="3194" y="1723"/>
                        <a:pt x="3194" y="1707"/>
                      </a:cubicBezTo>
                      <a:cubicBezTo>
                        <a:pt x="3194" y="1691"/>
                        <a:pt x="3218" y="1683"/>
                        <a:pt x="3218" y="1683"/>
                      </a:cubicBezTo>
                      <a:cubicBezTo>
                        <a:pt x="3218" y="1683"/>
                        <a:pt x="3218" y="1683"/>
                        <a:pt x="3226" y="1683"/>
                      </a:cubicBezTo>
                      <a:cubicBezTo>
                        <a:pt x="3241" y="1683"/>
                        <a:pt x="3289" y="1754"/>
                        <a:pt x="3297" y="1770"/>
                      </a:cubicBezTo>
                      <a:cubicBezTo>
                        <a:pt x="3313" y="1794"/>
                        <a:pt x="3320" y="1841"/>
                        <a:pt x="3305" y="1857"/>
                      </a:cubicBezTo>
                      <a:cubicBezTo>
                        <a:pt x="3305" y="1857"/>
                        <a:pt x="3305" y="1857"/>
                        <a:pt x="3297" y="1857"/>
                      </a:cubicBezTo>
                      <a:cubicBezTo>
                        <a:pt x="3289" y="1865"/>
                        <a:pt x="3281" y="1873"/>
                        <a:pt x="3281" y="1913"/>
                      </a:cubicBezTo>
                      <a:cubicBezTo>
                        <a:pt x="3281" y="1929"/>
                        <a:pt x="3281" y="1944"/>
                        <a:pt x="3265" y="1944"/>
                      </a:cubicBezTo>
                      <a:close/>
                      <a:moveTo>
                        <a:pt x="3226" y="1691"/>
                      </a:moveTo>
                      <a:lnTo>
                        <a:pt x="3226" y="1691"/>
                      </a:lnTo>
                      <a:lnTo>
                        <a:pt x="3226" y="1691"/>
                      </a:lnTo>
                      <a:cubicBezTo>
                        <a:pt x="3218" y="1691"/>
                        <a:pt x="3202" y="1699"/>
                        <a:pt x="3202" y="1707"/>
                      </a:cubicBezTo>
                      <a:cubicBezTo>
                        <a:pt x="3202" y="1723"/>
                        <a:pt x="3194" y="1739"/>
                        <a:pt x="3178" y="1747"/>
                      </a:cubicBezTo>
                      <a:cubicBezTo>
                        <a:pt x="3162" y="1763"/>
                        <a:pt x="3123" y="1794"/>
                        <a:pt x="3123" y="1810"/>
                      </a:cubicBezTo>
                      <a:cubicBezTo>
                        <a:pt x="3123" y="1818"/>
                        <a:pt x="3115" y="1818"/>
                        <a:pt x="3115" y="1826"/>
                      </a:cubicBezTo>
                      <a:cubicBezTo>
                        <a:pt x="3115" y="1834"/>
                        <a:pt x="3107" y="1834"/>
                        <a:pt x="3107" y="1841"/>
                      </a:cubicBezTo>
                      <a:cubicBezTo>
                        <a:pt x="3115" y="1841"/>
                        <a:pt x="3115" y="1849"/>
                        <a:pt x="3123" y="1849"/>
                      </a:cubicBezTo>
                      <a:cubicBezTo>
                        <a:pt x="3131" y="1849"/>
                        <a:pt x="3131" y="1849"/>
                        <a:pt x="3139" y="1849"/>
                      </a:cubicBezTo>
                      <a:cubicBezTo>
                        <a:pt x="3154" y="1857"/>
                        <a:pt x="3162" y="1857"/>
                        <a:pt x="3178" y="1881"/>
                      </a:cubicBezTo>
                      <a:cubicBezTo>
                        <a:pt x="3186" y="1889"/>
                        <a:pt x="3186" y="1897"/>
                        <a:pt x="3194" y="1905"/>
                      </a:cubicBezTo>
                      <a:cubicBezTo>
                        <a:pt x="3194" y="1913"/>
                        <a:pt x="3202" y="1921"/>
                        <a:pt x="3226" y="1929"/>
                      </a:cubicBezTo>
                      <a:cubicBezTo>
                        <a:pt x="3241" y="1929"/>
                        <a:pt x="3249" y="1929"/>
                        <a:pt x="3257" y="1929"/>
                      </a:cubicBezTo>
                      <a:cubicBezTo>
                        <a:pt x="3265" y="1936"/>
                        <a:pt x="3265" y="1936"/>
                        <a:pt x="3265" y="1936"/>
                      </a:cubicBezTo>
                      <a:cubicBezTo>
                        <a:pt x="3273" y="1936"/>
                        <a:pt x="3273" y="1936"/>
                        <a:pt x="3273" y="1913"/>
                      </a:cubicBezTo>
                      <a:cubicBezTo>
                        <a:pt x="3273" y="1873"/>
                        <a:pt x="3281" y="1865"/>
                        <a:pt x="3297" y="1857"/>
                      </a:cubicBezTo>
                      <a:cubicBezTo>
                        <a:pt x="3297" y="1849"/>
                        <a:pt x="3297" y="1849"/>
                        <a:pt x="3297" y="1849"/>
                      </a:cubicBezTo>
                      <a:cubicBezTo>
                        <a:pt x="3313" y="1841"/>
                        <a:pt x="3305" y="1802"/>
                        <a:pt x="3289" y="1778"/>
                      </a:cubicBezTo>
                      <a:cubicBezTo>
                        <a:pt x="3273" y="1747"/>
                        <a:pt x="3234" y="1691"/>
                        <a:pt x="3226" y="1691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2" name="Freeform 405">
                  <a:extLst>
                    <a:ext uri="{FF2B5EF4-FFF2-40B4-BE49-F238E27FC236}">
                      <a16:creationId xmlns:a16="http://schemas.microsoft.com/office/drawing/2014/main" id="{CE5D9916-7CF8-364D-80FA-CB7FDD09ED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15377" y="7082159"/>
                  <a:ext cx="707387" cy="1231552"/>
                </a:xfrm>
                <a:custGeom>
                  <a:avLst/>
                  <a:gdLst>
                    <a:gd name="T0" fmla="*/ 1273 w 1345"/>
                    <a:gd name="T1" fmla="*/ 87 h 2341"/>
                    <a:gd name="T2" fmla="*/ 1273 w 1345"/>
                    <a:gd name="T3" fmla="*/ 87 h 2341"/>
                    <a:gd name="T4" fmla="*/ 1257 w 1345"/>
                    <a:gd name="T5" fmla="*/ 39 h 2341"/>
                    <a:gd name="T6" fmla="*/ 1233 w 1345"/>
                    <a:gd name="T7" fmla="*/ 0 h 2341"/>
                    <a:gd name="T8" fmla="*/ 450 w 1345"/>
                    <a:gd name="T9" fmla="*/ 63 h 2341"/>
                    <a:gd name="T10" fmla="*/ 427 w 1345"/>
                    <a:gd name="T11" fmla="*/ 110 h 2341"/>
                    <a:gd name="T12" fmla="*/ 411 w 1345"/>
                    <a:gd name="T13" fmla="*/ 142 h 2341"/>
                    <a:gd name="T14" fmla="*/ 363 w 1345"/>
                    <a:gd name="T15" fmla="*/ 174 h 2341"/>
                    <a:gd name="T16" fmla="*/ 340 w 1345"/>
                    <a:gd name="T17" fmla="*/ 276 h 2341"/>
                    <a:gd name="T18" fmla="*/ 324 w 1345"/>
                    <a:gd name="T19" fmla="*/ 348 h 2341"/>
                    <a:gd name="T20" fmla="*/ 284 w 1345"/>
                    <a:gd name="T21" fmla="*/ 395 h 2341"/>
                    <a:gd name="T22" fmla="*/ 213 w 1345"/>
                    <a:gd name="T23" fmla="*/ 458 h 2341"/>
                    <a:gd name="T24" fmla="*/ 213 w 1345"/>
                    <a:gd name="T25" fmla="*/ 498 h 2341"/>
                    <a:gd name="T26" fmla="*/ 213 w 1345"/>
                    <a:gd name="T27" fmla="*/ 529 h 2341"/>
                    <a:gd name="T28" fmla="*/ 190 w 1345"/>
                    <a:gd name="T29" fmla="*/ 561 h 2341"/>
                    <a:gd name="T30" fmla="*/ 150 w 1345"/>
                    <a:gd name="T31" fmla="*/ 593 h 2341"/>
                    <a:gd name="T32" fmla="*/ 150 w 1345"/>
                    <a:gd name="T33" fmla="*/ 672 h 2341"/>
                    <a:gd name="T34" fmla="*/ 126 w 1345"/>
                    <a:gd name="T35" fmla="*/ 735 h 2341"/>
                    <a:gd name="T36" fmla="*/ 126 w 1345"/>
                    <a:gd name="T37" fmla="*/ 806 h 2341"/>
                    <a:gd name="T38" fmla="*/ 142 w 1345"/>
                    <a:gd name="T39" fmla="*/ 869 h 2341"/>
                    <a:gd name="T40" fmla="*/ 166 w 1345"/>
                    <a:gd name="T41" fmla="*/ 932 h 2341"/>
                    <a:gd name="T42" fmla="*/ 158 w 1345"/>
                    <a:gd name="T43" fmla="*/ 988 h 2341"/>
                    <a:gd name="T44" fmla="*/ 158 w 1345"/>
                    <a:gd name="T45" fmla="*/ 1043 h 2341"/>
                    <a:gd name="T46" fmla="*/ 190 w 1345"/>
                    <a:gd name="T47" fmla="*/ 1106 h 2341"/>
                    <a:gd name="T48" fmla="*/ 166 w 1345"/>
                    <a:gd name="T49" fmla="*/ 1178 h 2341"/>
                    <a:gd name="T50" fmla="*/ 205 w 1345"/>
                    <a:gd name="T51" fmla="*/ 1257 h 2341"/>
                    <a:gd name="T52" fmla="*/ 213 w 1345"/>
                    <a:gd name="T53" fmla="*/ 1296 h 2341"/>
                    <a:gd name="T54" fmla="*/ 221 w 1345"/>
                    <a:gd name="T55" fmla="*/ 1336 h 2341"/>
                    <a:gd name="T56" fmla="*/ 253 w 1345"/>
                    <a:gd name="T57" fmla="*/ 1383 h 2341"/>
                    <a:gd name="T58" fmla="*/ 166 w 1345"/>
                    <a:gd name="T59" fmla="*/ 1431 h 2341"/>
                    <a:gd name="T60" fmla="*/ 221 w 1345"/>
                    <a:gd name="T61" fmla="*/ 1470 h 2341"/>
                    <a:gd name="T62" fmla="*/ 174 w 1345"/>
                    <a:gd name="T63" fmla="*/ 1565 h 2341"/>
                    <a:gd name="T64" fmla="*/ 142 w 1345"/>
                    <a:gd name="T65" fmla="*/ 1596 h 2341"/>
                    <a:gd name="T66" fmla="*/ 134 w 1345"/>
                    <a:gd name="T67" fmla="*/ 1644 h 2341"/>
                    <a:gd name="T68" fmla="*/ 103 w 1345"/>
                    <a:gd name="T69" fmla="*/ 1660 h 2341"/>
                    <a:gd name="T70" fmla="*/ 103 w 1345"/>
                    <a:gd name="T71" fmla="*/ 1699 h 2341"/>
                    <a:gd name="T72" fmla="*/ 63 w 1345"/>
                    <a:gd name="T73" fmla="*/ 1723 h 2341"/>
                    <a:gd name="T74" fmla="*/ 55 w 1345"/>
                    <a:gd name="T75" fmla="*/ 1786 h 2341"/>
                    <a:gd name="T76" fmla="*/ 39 w 1345"/>
                    <a:gd name="T77" fmla="*/ 1826 h 2341"/>
                    <a:gd name="T78" fmla="*/ 31 w 1345"/>
                    <a:gd name="T79" fmla="*/ 1889 h 2341"/>
                    <a:gd name="T80" fmla="*/ 15 w 1345"/>
                    <a:gd name="T81" fmla="*/ 1929 h 2341"/>
                    <a:gd name="T82" fmla="*/ 31 w 1345"/>
                    <a:gd name="T83" fmla="*/ 1984 h 2341"/>
                    <a:gd name="T84" fmla="*/ 39 w 1345"/>
                    <a:gd name="T85" fmla="*/ 2000 h 2341"/>
                    <a:gd name="T86" fmla="*/ 774 w 1345"/>
                    <a:gd name="T87" fmla="*/ 1968 h 2341"/>
                    <a:gd name="T88" fmla="*/ 790 w 1345"/>
                    <a:gd name="T89" fmla="*/ 1992 h 2341"/>
                    <a:gd name="T90" fmla="*/ 759 w 1345"/>
                    <a:gd name="T91" fmla="*/ 2118 h 2341"/>
                    <a:gd name="T92" fmla="*/ 830 w 1345"/>
                    <a:gd name="T93" fmla="*/ 2205 h 2341"/>
                    <a:gd name="T94" fmla="*/ 917 w 1345"/>
                    <a:gd name="T95" fmla="*/ 2340 h 2341"/>
                    <a:gd name="T96" fmla="*/ 933 w 1345"/>
                    <a:gd name="T97" fmla="*/ 2324 h 2341"/>
                    <a:gd name="T98" fmla="*/ 988 w 1345"/>
                    <a:gd name="T99" fmla="*/ 2261 h 2341"/>
                    <a:gd name="T100" fmla="*/ 1059 w 1345"/>
                    <a:gd name="T101" fmla="*/ 2245 h 2341"/>
                    <a:gd name="T102" fmla="*/ 1154 w 1345"/>
                    <a:gd name="T103" fmla="*/ 2205 h 2341"/>
                    <a:gd name="T104" fmla="*/ 1265 w 1345"/>
                    <a:gd name="T105" fmla="*/ 2213 h 2341"/>
                    <a:gd name="T106" fmla="*/ 1328 w 1345"/>
                    <a:gd name="T107" fmla="*/ 2213 h 2341"/>
                    <a:gd name="T108" fmla="*/ 1344 w 1345"/>
                    <a:gd name="T109" fmla="*/ 2205 h 2341"/>
                    <a:gd name="T110" fmla="*/ 1257 w 1345"/>
                    <a:gd name="T111" fmla="*/ 1541 h 2341"/>
                    <a:gd name="T112" fmla="*/ 1273 w 1345"/>
                    <a:gd name="T113" fmla="*/ 87 h 2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345" h="2341">
                      <a:moveTo>
                        <a:pt x="1273" y="87"/>
                      </a:moveTo>
                      <a:lnTo>
                        <a:pt x="1273" y="87"/>
                      </a:lnTo>
                      <a:cubicBezTo>
                        <a:pt x="1273" y="71"/>
                        <a:pt x="1288" y="63"/>
                        <a:pt x="1257" y="39"/>
                      </a:cubicBezTo>
                      <a:cubicBezTo>
                        <a:pt x="1249" y="31"/>
                        <a:pt x="1241" y="15"/>
                        <a:pt x="1233" y="0"/>
                      </a:cubicBezTo>
                      <a:cubicBezTo>
                        <a:pt x="940" y="31"/>
                        <a:pt x="664" y="55"/>
                        <a:pt x="450" y="63"/>
                      </a:cubicBezTo>
                      <a:cubicBezTo>
                        <a:pt x="450" y="63"/>
                        <a:pt x="427" y="71"/>
                        <a:pt x="427" y="110"/>
                      </a:cubicBezTo>
                      <a:cubicBezTo>
                        <a:pt x="427" y="142"/>
                        <a:pt x="427" y="134"/>
                        <a:pt x="411" y="142"/>
                      </a:cubicBezTo>
                      <a:cubicBezTo>
                        <a:pt x="395" y="142"/>
                        <a:pt x="371" y="142"/>
                        <a:pt x="363" y="174"/>
                      </a:cubicBezTo>
                      <a:cubicBezTo>
                        <a:pt x="363" y="205"/>
                        <a:pt x="355" y="261"/>
                        <a:pt x="340" y="276"/>
                      </a:cubicBezTo>
                      <a:cubicBezTo>
                        <a:pt x="324" y="292"/>
                        <a:pt x="324" y="316"/>
                        <a:pt x="324" y="348"/>
                      </a:cubicBezTo>
                      <a:cubicBezTo>
                        <a:pt x="324" y="371"/>
                        <a:pt x="316" y="387"/>
                        <a:pt x="284" y="395"/>
                      </a:cubicBezTo>
                      <a:cubicBezTo>
                        <a:pt x="253" y="403"/>
                        <a:pt x="213" y="426"/>
                        <a:pt x="213" y="458"/>
                      </a:cubicBezTo>
                      <a:cubicBezTo>
                        <a:pt x="221" y="482"/>
                        <a:pt x="229" y="490"/>
                        <a:pt x="213" y="498"/>
                      </a:cubicBezTo>
                      <a:cubicBezTo>
                        <a:pt x="205" y="514"/>
                        <a:pt x="205" y="521"/>
                        <a:pt x="213" y="529"/>
                      </a:cubicBezTo>
                      <a:cubicBezTo>
                        <a:pt x="221" y="545"/>
                        <a:pt x="213" y="561"/>
                        <a:pt x="190" y="561"/>
                      </a:cubicBezTo>
                      <a:cubicBezTo>
                        <a:pt x="166" y="561"/>
                        <a:pt x="150" y="561"/>
                        <a:pt x="150" y="593"/>
                      </a:cubicBezTo>
                      <a:cubicBezTo>
                        <a:pt x="158" y="624"/>
                        <a:pt x="181" y="664"/>
                        <a:pt x="150" y="672"/>
                      </a:cubicBezTo>
                      <a:cubicBezTo>
                        <a:pt x="126" y="688"/>
                        <a:pt x="126" y="719"/>
                        <a:pt x="126" y="735"/>
                      </a:cubicBezTo>
                      <a:cubicBezTo>
                        <a:pt x="126" y="759"/>
                        <a:pt x="142" y="790"/>
                        <a:pt x="126" y="806"/>
                      </a:cubicBezTo>
                      <a:cubicBezTo>
                        <a:pt x="110" y="822"/>
                        <a:pt x="118" y="846"/>
                        <a:pt x="142" y="869"/>
                      </a:cubicBezTo>
                      <a:cubicBezTo>
                        <a:pt x="166" y="901"/>
                        <a:pt x="174" y="909"/>
                        <a:pt x="166" y="932"/>
                      </a:cubicBezTo>
                      <a:cubicBezTo>
                        <a:pt x="158" y="956"/>
                        <a:pt x="150" y="972"/>
                        <a:pt x="158" y="988"/>
                      </a:cubicBezTo>
                      <a:cubicBezTo>
                        <a:pt x="174" y="1012"/>
                        <a:pt x="142" y="996"/>
                        <a:pt x="158" y="1043"/>
                      </a:cubicBezTo>
                      <a:cubicBezTo>
                        <a:pt x="166" y="1091"/>
                        <a:pt x="181" y="1091"/>
                        <a:pt x="190" y="1106"/>
                      </a:cubicBezTo>
                      <a:cubicBezTo>
                        <a:pt x="190" y="1130"/>
                        <a:pt x="150" y="1162"/>
                        <a:pt x="166" y="1178"/>
                      </a:cubicBezTo>
                      <a:cubicBezTo>
                        <a:pt x="181" y="1193"/>
                        <a:pt x="158" y="1265"/>
                        <a:pt x="205" y="1257"/>
                      </a:cubicBezTo>
                      <a:cubicBezTo>
                        <a:pt x="205" y="1257"/>
                        <a:pt x="221" y="1280"/>
                        <a:pt x="213" y="1296"/>
                      </a:cubicBezTo>
                      <a:cubicBezTo>
                        <a:pt x="205" y="1320"/>
                        <a:pt x="190" y="1320"/>
                        <a:pt x="221" y="1336"/>
                      </a:cubicBezTo>
                      <a:cubicBezTo>
                        <a:pt x="261" y="1352"/>
                        <a:pt x="276" y="1375"/>
                        <a:pt x="253" y="1383"/>
                      </a:cubicBezTo>
                      <a:cubicBezTo>
                        <a:pt x="237" y="1383"/>
                        <a:pt x="126" y="1407"/>
                        <a:pt x="166" y="1431"/>
                      </a:cubicBezTo>
                      <a:cubicBezTo>
                        <a:pt x="213" y="1454"/>
                        <a:pt x="229" y="1446"/>
                        <a:pt x="221" y="1470"/>
                      </a:cubicBezTo>
                      <a:cubicBezTo>
                        <a:pt x="221" y="1494"/>
                        <a:pt x="181" y="1557"/>
                        <a:pt x="174" y="1565"/>
                      </a:cubicBezTo>
                      <a:cubicBezTo>
                        <a:pt x="158" y="1573"/>
                        <a:pt x="134" y="1565"/>
                        <a:pt x="142" y="1596"/>
                      </a:cubicBezTo>
                      <a:cubicBezTo>
                        <a:pt x="142" y="1628"/>
                        <a:pt x="142" y="1636"/>
                        <a:pt x="134" y="1644"/>
                      </a:cubicBezTo>
                      <a:cubicBezTo>
                        <a:pt x="126" y="1644"/>
                        <a:pt x="95" y="1636"/>
                        <a:pt x="103" y="1660"/>
                      </a:cubicBezTo>
                      <a:cubicBezTo>
                        <a:pt x="103" y="1676"/>
                        <a:pt x="118" y="1699"/>
                        <a:pt x="103" y="1699"/>
                      </a:cubicBezTo>
                      <a:cubicBezTo>
                        <a:pt x="87" y="1707"/>
                        <a:pt x="63" y="1699"/>
                        <a:pt x="63" y="1723"/>
                      </a:cubicBezTo>
                      <a:cubicBezTo>
                        <a:pt x="63" y="1747"/>
                        <a:pt x="63" y="1786"/>
                        <a:pt x="55" y="1786"/>
                      </a:cubicBezTo>
                      <a:cubicBezTo>
                        <a:pt x="47" y="1786"/>
                        <a:pt x="31" y="1810"/>
                        <a:pt x="39" y="1826"/>
                      </a:cubicBezTo>
                      <a:cubicBezTo>
                        <a:pt x="47" y="1842"/>
                        <a:pt x="47" y="1881"/>
                        <a:pt x="31" y="1889"/>
                      </a:cubicBezTo>
                      <a:cubicBezTo>
                        <a:pt x="23" y="1897"/>
                        <a:pt x="0" y="1913"/>
                        <a:pt x="15" y="1929"/>
                      </a:cubicBezTo>
                      <a:cubicBezTo>
                        <a:pt x="31" y="1952"/>
                        <a:pt x="39" y="1976"/>
                        <a:pt x="31" y="1984"/>
                      </a:cubicBezTo>
                      <a:cubicBezTo>
                        <a:pt x="23" y="1992"/>
                        <a:pt x="15" y="2000"/>
                        <a:pt x="39" y="2000"/>
                      </a:cubicBezTo>
                      <a:cubicBezTo>
                        <a:pt x="55" y="2008"/>
                        <a:pt x="774" y="1968"/>
                        <a:pt x="774" y="1968"/>
                      </a:cubicBezTo>
                      <a:cubicBezTo>
                        <a:pt x="774" y="1968"/>
                        <a:pt x="806" y="1976"/>
                        <a:pt x="790" y="1992"/>
                      </a:cubicBezTo>
                      <a:cubicBezTo>
                        <a:pt x="782" y="2008"/>
                        <a:pt x="719" y="2063"/>
                        <a:pt x="759" y="2118"/>
                      </a:cubicBezTo>
                      <a:cubicBezTo>
                        <a:pt x="798" y="2174"/>
                        <a:pt x="822" y="2174"/>
                        <a:pt x="830" y="2205"/>
                      </a:cubicBezTo>
                      <a:cubicBezTo>
                        <a:pt x="846" y="2245"/>
                        <a:pt x="909" y="2332"/>
                        <a:pt x="917" y="2340"/>
                      </a:cubicBezTo>
                      <a:cubicBezTo>
                        <a:pt x="917" y="2340"/>
                        <a:pt x="925" y="2332"/>
                        <a:pt x="933" y="2324"/>
                      </a:cubicBezTo>
                      <a:cubicBezTo>
                        <a:pt x="956" y="2292"/>
                        <a:pt x="964" y="2284"/>
                        <a:pt x="988" y="2261"/>
                      </a:cubicBezTo>
                      <a:cubicBezTo>
                        <a:pt x="1012" y="2237"/>
                        <a:pt x="1035" y="2261"/>
                        <a:pt x="1059" y="2245"/>
                      </a:cubicBezTo>
                      <a:cubicBezTo>
                        <a:pt x="1091" y="2229"/>
                        <a:pt x="1122" y="2189"/>
                        <a:pt x="1154" y="2205"/>
                      </a:cubicBezTo>
                      <a:cubicBezTo>
                        <a:pt x="1193" y="2213"/>
                        <a:pt x="1241" y="2229"/>
                        <a:pt x="1265" y="2213"/>
                      </a:cubicBezTo>
                      <a:cubicBezTo>
                        <a:pt x="1296" y="2197"/>
                        <a:pt x="1304" y="2237"/>
                        <a:pt x="1328" y="2213"/>
                      </a:cubicBezTo>
                      <a:cubicBezTo>
                        <a:pt x="1336" y="2213"/>
                        <a:pt x="1336" y="2213"/>
                        <a:pt x="1344" y="2205"/>
                      </a:cubicBezTo>
                      <a:cubicBezTo>
                        <a:pt x="1257" y="1541"/>
                        <a:pt x="1257" y="1541"/>
                        <a:pt x="1257" y="1541"/>
                      </a:cubicBezTo>
                      <a:cubicBezTo>
                        <a:pt x="1257" y="1541"/>
                        <a:pt x="1273" y="102"/>
                        <a:pt x="1273" y="87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3" name="Freeform 406">
                  <a:extLst>
                    <a:ext uri="{FF2B5EF4-FFF2-40B4-BE49-F238E27FC236}">
                      <a16:creationId xmlns:a16="http://schemas.microsoft.com/office/drawing/2014/main" id="{10FD2A11-C346-A141-97A5-AE84FBC366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15377" y="7082159"/>
                  <a:ext cx="707387" cy="1236191"/>
                </a:xfrm>
                <a:custGeom>
                  <a:avLst/>
                  <a:gdLst>
                    <a:gd name="T0" fmla="*/ 893 w 1345"/>
                    <a:gd name="T1" fmla="*/ 2324 h 2349"/>
                    <a:gd name="T2" fmla="*/ 790 w 1345"/>
                    <a:gd name="T3" fmla="*/ 1992 h 2349"/>
                    <a:gd name="T4" fmla="*/ 47 w 1345"/>
                    <a:gd name="T5" fmla="*/ 2008 h 2349"/>
                    <a:gd name="T6" fmla="*/ 23 w 1345"/>
                    <a:gd name="T7" fmla="*/ 1984 h 2349"/>
                    <a:gd name="T8" fmla="*/ 39 w 1345"/>
                    <a:gd name="T9" fmla="*/ 1881 h 2349"/>
                    <a:gd name="T10" fmla="*/ 55 w 1345"/>
                    <a:gd name="T11" fmla="*/ 1747 h 2349"/>
                    <a:gd name="T12" fmla="*/ 103 w 1345"/>
                    <a:gd name="T13" fmla="*/ 1683 h 2349"/>
                    <a:gd name="T14" fmla="*/ 134 w 1345"/>
                    <a:gd name="T15" fmla="*/ 1636 h 2349"/>
                    <a:gd name="T16" fmla="*/ 221 w 1345"/>
                    <a:gd name="T17" fmla="*/ 1470 h 2349"/>
                    <a:gd name="T18" fmla="*/ 237 w 1345"/>
                    <a:gd name="T19" fmla="*/ 1383 h 2349"/>
                    <a:gd name="T20" fmla="*/ 197 w 1345"/>
                    <a:gd name="T21" fmla="*/ 1328 h 2349"/>
                    <a:gd name="T22" fmla="*/ 166 w 1345"/>
                    <a:gd name="T23" fmla="*/ 1209 h 2349"/>
                    <a:gd name="T24" fmla="*/ 174 w 1345"/>
                    <a:gd name="T25" fmla="*/ 1099 h 2349"/>
                    <a:gd name="T26" fmla="*/ 158 w 1345"/>
                    <a:gd name="T27" fmla="*/ 948 h 2349"/>
                    <a:gd name="T28" fmla="*/ 126 w 1345"/>
                    <a:gd name="T29" fmla="*/ 806 h 2349"/>
                    <a:gd name="T30" fmla="*/ 158 w 1345"/>
                    <a:gd name="T31" fmla="*/ 624 h 2349"/>
                    <a:gd name="T32" fmla="*/ 190 w 1345"/>
                    <a:gd name="T33" fmla="*/ 561 h 2349"/>
                    <a:gd name="T34" fmla="*/ 213 w 1345"/>
                    <a:gd name="T35" fmla="*/ 498 h 2349"/>
                    <a:gd name="T36" fmla="*/ 316 w 1345"/>
                    <a:gd name="T37" fmla="*/ 348 h 2349"/>
                    <a:gd name="T38" fmla="*/ 403 w 1345"/>
                    <a:gd name="T39" fmla="*/ 134 h 2349"/>
                    <a:gd name="T40" fmla="*/ 450 w 1345"/>
                    <a:gd name="T41" fmla="*/ 63 h 2349"/>
                    <a:gd name="T42" fmla="*/ 1233 w 1345"/>
                    <a:gd name="T43" fmla="*/ 0 h 2349"/>
                    <a:gd name="T44" fmla="*/ 1265 w 1345"/>
                    <a:gd name="T45" fmla="*/ 1541 h 2349"/>
                    <a:gd name="T46" fmla="*/ 1312 w 1345"/>
                    <a:gd name="T47" fmla="*/ 2229 h 2349"/>
                    <a:gd name="T48" fmla="*/ 1233 w 1345"/>
                    <a:gd name="T49" fmla="*/ 2229 h 2349"/>
                    <a:gd name="T50" fmla="*/ 1067 w 1345"/>
                    <a:gd name="T51" fmla="*/ 2245 h 2349"/>
                    <a:gd name="T52" fmla="*/ 964 w 1345"/>
                    <a:gd name="T53" fmla="*/ 2292 h 2349"/>
                    <a:gd name="T54" fmla="*/ 774 w 1345"/>
                    <a:gd name="T55" fmla="*/ 1960 h 2349"/>
                    <a:gd name="T56" fmla="*/ 798 w 1345"/>
                    <a:gd name="T57" fmla="*/ 1992 h 2349"/>
                    <a:gd name="T58" fmla="*/ 838 w 1345"/>
                    <a:gd name="T59" fmla="*/ 2205 h 2349"/>
                    <a:gd name="T60" fmla="*/ 956 w 1345"/>
                    <a:gd name="T61" fmla="*/ 2292 h 2349"/>
                    <a:gd name="T62" fmla="*/ 1035 w 1345"/>
                    <a:gd name="T63" fmla="*/ 2245 h 2349"/>
                    <a:gd name="T64" fmla="*/ 1162 w 1345"/>
                    <a:gd name="T65" fmla="*/ 2197 h 2349"/>
                    <a:gd name="T66" fmla="*/ 1296 w 1345"/>
                    <a:gd name="T67" fmla="*/ 2213 h 2349"/>
                    <a:gd name="T68" fmla="*/ 1257 w 1345"/>
                    <a:gd name="T69" fmla="*/ 1541 h 2349"/>
                    <a:gd name="T70" fmla="*/ 1233 w 1345"/>
                    <a:gd name="T71" fmla="*/ 8 h 2349"/>
                    <a:gd name="T72" fmla="*/ 411 w 1345"/>
                    <a:gd name="T73" fmla="*/ 142 h 2349"/>
                    <a:gd name="T74" fmla="*/ 340 w 1345"/>
                    <a:gd name="T75" fmla="*/ 276 h 2349"/>
                    <a:gd name="T76" fmla="*/ 221 w 1345"/>
                    <a:gd name="T77" fmla="*/ 474 h 2349"/>
                    <a:gd name="T78" fmla="*/ 221 w 1345"/>
                    <a:gd name="T79" fmla="*/ 553 h 2349"/>
                    <a:gd name="T80" fmla="*/ 158 w 1345"/>
                    <a:gd name="T81" fmla="*/ 593 h 2349"/>
                    <a:gd name="T82" fmla="*/ 134 w 1345"/>
                    <a:gd name="T83" fmla="*/ 759 h 2349"/>
                    <a:gd name="T84" fmla="*/ 174 w 1345"/>
                    <a:gd name="T85" fmla="*/ 932 h 2349"/>
                    <a:gd name="T86" fmla="*/ 158 w 1345"/>
                    <a:gd name="T87" fmla="*/ 1043 h 2349"/>
                    <a:gd name="T88" fmla="*/ 166 w 1345"/>
                    <a:gd name="T89" fmla="*/ 1178 h 2349"/>
                    <a:gd name="T90" fmla="*/ 205 w 1345"/>
                    <a:gd name="T91" fmla="*/ 1257 h 2349"/>
                    <a:gd name="T92" fmla="*/ 229 w 1345"/>
                    <a:gd name="T93" fmla="*/ 1336 h 2349"/>
                    <a:gd name="T94" fmla="*/ 158 w 1345"/>
                    <a:gd name="T95" fmla="*/ 1415 h 2349"/>
                    <a:gd name="T96" fmla="*/ 174 w 1345"/>
                    <a:gd name="T97" fmla="*/ 1565 h 2349"/>
                    <a:gd name="T98" fmla="*/ 126 w 1345"/>
                    <a:gd name="T99" fmla="*/ 1644 h 2349"/>
                    <a:gd name="T100" fmla="*/ 103 w 1345"/>
                    <a:gd name="T101" fmla="*/ 1707 h 2349"/>
                    <a:gd name="T102" fmla="*/ 55 w 1345"/>
                    <a:gd name="T103" fmla="*/ 1794 h 2349"/>
                    <a:gd name="T104" fmla="*/ 39 w 1345"/>
                    <a:gd name="T105" fmla="*/ 1897 h 2349"/>
                    <a:gd name="T106" fmla="*/ 31 w 1345"/>
                    <a:gd name="T107" fmla="*/ 1984 h 2349"/>
                    <a:gd name="T108" fmla="*/ 767 w 1345"/>
                    <a:gd name="T109" fmla="*/ 1960 h 2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345" h="2349">
                      <a:moveTo>
                        <a:pt x="909" y="2348"/>
                      </a:moveTo>
                      <a:lnTo>
                        <a:pt x="909" y="2348"/>
                      </a:lnTo>
                      <a:cubicBezTo>
                        <a:pt x="909" y="2340"/>
                        <a:pt x="909" y="2340"/>
                        <a:pt x="909" y="2340"/>
                      </a:cubicBezTo>
                      <a:cubicBezTo>
                        <a:pt x="909" y="2340"/>
                        <a:pt x="901" y="2332"/>
                        <a:pt x="893" y="2324"/>
                      </a:cubicBezTo>
                      <a:cubicBezTo>
                        <a:pt x="877" y="2292"/>
                        <a:pt x="838" y="2237"/>
                        <a:pt x="830" y="2213"/>
                      </a:cubicBezTo>
                      <a:cubicBezTo>
                        <a:pt x="822" y="2189"/>
                        <a:pt x="814" y="2182"/>
                        <a:pt x="798" y="2174"/>
                      </a:cubicBezTo>
                      <a:cubicBezTo>
                        <a:pt x="790" y="2158"/>
                        <a:pt x="774" y="2150"/>
                        <a:pt x="759" y="2118"/>
                      </a:cubicBezTo>
                      <a:cubicBezTo>
                        <a:pt x="711" y="2063"/>
                        <a:pt x="767" y="2008"/>
                        <a:pt x="790" y="1992"/>
                      </a:cubicBezTo>
                      <a:lnTo>
                        <a:pt x="790" y="1992"/>
                      </a:lnTo>
                      <a:cubicBezTo>
                        <a:pt x="798" y="1984"/>
                        <a:pt x="790" y="1984"/>
                        <a:pt x="790" y="1984"/>
                      </a:cubicBezTo>
                      <a:cubicBezTo>
                        <a:pt x="790" y="1976"/>
                        <a:pt x="782" y="1968"/>
                        <a:pt x="767" y="1968"/>
                      </a:cubicBezTo>
                      <a:cubicBezTo>
                        <a:pt x="751" y="1968"/>
                        <a:pt x="118" y="2008"/>
                        <a:pt x="47" y="2008"/>
                      </a:cubicBezTo>
                      <a:cubicBezTo>
                        <a:pt x="39" y="2008"/>
                        <a:pt x="39" y="2008"/>
                        <a:pt x="39" y="2008"/>
                      </a:cubicBezTo>
                      <a:cubicBezTo>
                        <a:pt x="23" y="2008"/>
                        <a:pt x="23" y="2000"/>
                        <a:pt x="23" y="2000"/>
                      </a:cubicBezTo>
                      <a:cubicBezTo>
                        <a:pt x="15" y="1992"/>
                        <a:pt x="23" y="1992"/>
                        <a:pt x="23" y="1984"/>
                      </a:cubicBezTo>
                      <a:lnTo>
                        <a:pt x="23" y="1984"/>
                      </a:lnTo>
                      <a:cubicBezTo>
                        <a:pt x="31" y="1976"/>
                        <a:pt x="23" y="1952"/>
                        <a:pt x="8" y="1936"/>
                      </a:cubicBezTo>
                      <a:cubicBezTo>
                        <a:pt x="8" y="1929"/>
                        <a:pt x="0" y="1921"/>
                        <a:pt x="8" y="1913"/>
                      </a:cubicBezTo>
                      <a:cubicBezTo>
                        <a:pt x="8" y="1897"/>
                        <a:pt x="23" y="1889"/>
                        <a:pt x="31" y="1889"/>
                      </a:cubicBezTo>
                      <a:cubicBezTo>
                        <a:pt x="39" y="1889"/>
                        <a:pt x="39" y="1881"/>
                        <a:pt x="39" y="1881"/>
                      </a:cubicBezTo>
                      <a:cubicBezTo>
                        <a:pt x="47" y="1865"/>
                        <a:pt x="39" y="1834"/>
                        <a:pt x="39" y="1826"/>
                      </a:cubicBezTo>
                      <a:cubicBezTo>
                        <a:pt x="31" y="1818"/>
                        <a:pt x="31" y="1810"/>
                        <a:pt x="39" y="1802"/>
                      </a:cubicBezTo>
                      <a:cubicBezTo>
                        <a:pt x="39" y="1794"/>
                        <a:pt x="47" y="1786"/>
                        <a:pt x="55" y="1786"/>
                      </a:cubicBezTo>
                      <a:cubicBezTo>
                        <a:pt x="63" y="1786"/>
                        <a:pt x="55" y="1763"/>
                        <a:pt x="55" y="1747"/>
                      </a:cubicBezTo>
                      <a:cubicBezTo>
                        <a:pt x="55" y="1739"/>
                        <a:pt x="55" y="1731"/>
                        <a:pt x="55" y="1723"/>
                      </a:cubicBezTo>
                      <a:cubicBezTo>
                        <a:pt x="55" y="1707"/>
                        <a:pt x="79" y="1699"/>
                        <a:pt x="95" y="1699"/>
                      </a:cubicBezTo>
                      <a:lnTo>
                        <a:pt x="103" y="1699"/>
                      </a:lnTo>
                      <a:cubicBezTo>
                        <a:pt x="103" y="1699"/>
                        <a:pt x="103" y="1691"/>
                        <a:pt x="103" y="1683"/>
                      </a:cubicBezTo>
                      <a:cubicBezTo>
                        <a:pt x="103" y="1676"/>
                        <a:pt x="95" y="1668"/>
                        <a:pt x="95" y="1660"/>
                      </a:cubicBezTo>
                      <a:cubicBezTo>
                        <a:pt x="95" y="1652"/>
                        <a:pt x="95" y="1644"/>
                        <a:pt x="103" y="1644"/>
                      </a:cubicBezTo>
                      <a:cubicBezTo>
                        <a:pt x="103" y="1636"/>
                        <a:pt x="118" y="1636"/>
                        <a:pt x="126" y="1636"/>
                      </a:cubicBezTo>
                      <a:cubicBezTo>
                        <a:pt x="126" y="1636"/>
                        <a:pt x="126" y="1636"/>
                        <a:pt x="134" y="1636"/>
                      </a:cubicBezTo>
                      <a:cubicBezTo>
                        <a:pt x="142" y="1636"/>
                        <a:pt x="142" y="1620"/>
                        <a:pt x="134" y="1596"/>
                      </a:cubicBezTo>
                      <a:cubicBezTo>
                        <a:pt x="126" y="1573"/>
                        <a:pt x="142" y="1573"/>
                        <a:pt x="158" y="1565"/>
                      </a:cubicBezTo>
                      <a:lnTo>
                        <a:pt x="166" y="1565"/>
                      </a:lnTo>
                      <a:cubicBezTo>
                        <a:pt x="181" y="1557"/>
                        <a:pt x="213" y="1494"/>
                        <a:pt x="221" y="1470"/>
                      </a:cubicBezTo>
                      <a:cubicBezTo>
                        <a:pt x="221" y="1454"/>
                        <a:pt x="221" y="1454"/>
                        <a:pt x="205" y="1446"/>
                      </a:cubicBezTo>
                      <a:cubicBezTo>
                        <a:pt x="197" y="1446"/>
                        <a:pt x="181" y="1438"/>
                        <a:pt x="166" y="1431"/>
                      </a:cubicBezTo>
                      <a:cubicBezTo>
                        <a:pt x="166" y="1431"/>
                        <a:pt x="150" y="1423"/>
                        <a:pt x="158" y="1415"/>
                      </a:cubicBezTo>
                      <a:cubicBezTo>
                        <a:pt x="158" y="1399"/>
                        <a:pt x="190" y="1391"/>
                        <a:pt x="237" y="1383"/>
                      </a:cubicBezTo>
                      <a:cubicBezTo>
                        <a:pt x="245" y="1383"/>
                        <a:pt x="253" y="1375"/>
                        <a:pt x="253" y="1375"/>
                      </a:cubicBezTo>
                      <a:cubicBezTo>
                        <a:pt x="261" y="1375"/>
                        <a:pt x="261" y="1375"/>
                        <a:pt x="261" y="1375"/>
                      </a:cubicBezTo>
                      <a:cubicBezTo>
                        <a:pt x="261" y="1367"/>
                        <a:pt x="253" y="1352"/>
                        <a:pt x="221" y="1343"/>
                      </a:cubicBezTo>
                      <a:cubicBezTo>
                        <a:pt x="205" y="1336"/>
                        <a:pt x="197" y="1328"/>
                        <a:pt x="197" y="1328"/>
                      </a:cubicBezTo>
                      <a:cubicBezTo>
                        <a:pt x="197" y="1320"/>
                        <a:pt x="197" y="1312"/>
                        <a:pt x="205" y="1312"/>
                      </a:cubicBezTo>
                      <a:cubicBezTo>
                        <a:pt x="205" y="1304"/>
                        <a:pt x="205" y="1304"/>
                        <a:pt x="213" y="1296"/>
                      </a:cubicBezTo>
                      <a:cubicBezTo>
                        <a:pt x="213" y="1280"/>
                        <a:pt x="205" y="1265"/>
                        <a:pt x="197" y="1265"/>
                      </a:cubicBezTo>
                      <a:cubicBezTo>
                        <a:pt x="174" y="1265"/>
                        <a:pt x="166" y="1233"/>
                        <a:pt x="166" y="1209"/>
                      </a:cubicBezTo>
                      <a:cubicBezTo>
                        <a:pt x="166" y="1201"/>
                        <a:pt x="166" y="1185"/>
                        <a:pt x="166" y="1178"/>
                      </a:cubicBezTo>
                      <a:cubicBezTo>
                        <a:pt x="150" y="1170"/>
                        <a:pt x="166" y="1154"/>
                        <a:pt x="174" y="1138"/>
                      </a:cubicBezTo>
                      <a:cubicBezTo>
                        <a:pt x="181" y="1130"/>
                        <a:pt x="181" y="1114"/>
                        <a:pt x="181" y="1106"/>
                      </a:cubicBezTo>
                      <a:lnTo>
                        <a:pt x="174" y="1099"/>
                      </a:lnTo>
                      <a:cubicBezTo>
                        <a:pt x="166" y="1091"/>
                        <a:pt x="158" y="1075"/>
                        <a:pt x="150" y="1043"/>
                      </a:cubicBezTo>
                      <a:cubicBezTo>
                        <a:pt x="142" y="1019"/>
                        <a:pt x="150" y="1012"/>
                        <a:pt x="158" y="1004"/>
                      </a:cubicBezTo>
                      <a:lnTo>
                        <a:pt x="158" y="996"/>
                      </a:lnTo>
                      <a:cubicBezTo>
                        <a:pt x="150" y="972"/>
                        <a:pt x="150" y="964"/>
                        <a:pt x="158" y="948"/>
                      </a:cubicBezTo>
                      <a:cubicBezTo>
                        <a:pt x="158" y="941"/>
                        <a:pt x="166" y="941"/>
                        <a:pt x="166" y="932"/>
                      </a:cubicBezTo>
                      <a:cubicBezTo>
                        <a:pt x="174" y="917"/>
                        <a:pt x="166" y="909"/>
                        <a:pt x="150" y="893"/>
                      </a:cubicBezTo>
                      <a:cubicBezTo>
                        <a:pt x="150" y="885"/>
                        <a:pt x="142" y="877"/>
                        <a:pt x="134" y="877"/>
                      </a:cubicBezTo>
                      <a:cubicBezTo>
                        <a:pt x="103" y="830"/>
                        <a:pt x="110" y="814"/>
                        <a:pt x="126" y="806"/>
                      </a:cubicBezTo>
                      <a:cubicBezTo>
                        <a:pt x="134" y="798"/>
                        <a:pt x="126" y="774"/>
                        <a:pt x="126" y="759"/>
                      </a:cubicBezTo>
                      <a:cubicBezTo>
                        <a:pt x="118" y="751"/>
                        <a:pt x="118" y="743"/>
                        <a:pt x="118" y="735"/>
                      </a:cubicBezTo>
                      <a:cubicBezTo>
                        <a:pt x="118" y="727"/>
                        <a:pt x="118" y="688"/>
                        <a:pt x="150" y="672"/>
                      </a:cubicBezTo>
                      <a:cubicBezTo>
                        <a:pt x="166" y="664"/>
                        <a:pt x="166" y="648"/>
                        <a:pt x="158" y="624"/>
                      </a:cubicBezTo>
                      <a:cubicBezTo>
                        <a:pt x="150" y="616"/>
                        <a:pt x="150" y="601"/>
                        <a:pt x="150" y="593"/>
                      </a:cubicBezTo>
                      <a:cubicBezTo>
                        <a:pt x="150" y="585"/>
                        <a:pt x="150" y="569"/>
                        <a:pt x="150" y="569"/>
                      </a:cubicBezTo>
                      <a:cubicBezTo>
                        <a:pt x="158" y="561"/>
                        <a:pt x="174" y="561"/>
                        <a:pt x="181" y="561"/>
                      </a:cubicBezTo>
                      <a:cubicBezTo>
                        <a:pt x="190" y="561"/>
                        <a:pt x="190" y="561"/>
                        <a:pt x="190" y="561"/>
                      </a:cubicBezTo>
                      <a:cubicBezTo>
                        <a:pt x="205" y="561"/>
                        <a:pt x="205" y="553"/>
                        <a:pt x="213" y="545"/>
                      </a:cubicBezTo>
                      <a:lnTo>
                        <a:pt x="213" y="537"/>
                      </a:lnTo>
                      <a:cubicBezTo>
                        <a:pt x="205" y="529"/>
                        <a:pt x="205" y="521"/>
                        <a:pt x="205" y="521"/>
                      </a:cubicBezTo>
                      <a:cubicBezTo>
                        <a:pt x="205" y="514"/>
                        <a:pt x="205" y="506"/>
                        <a:pt x="213" y="498"/>
                      </a:cubicBezTo>
                      <a:cubicBezTo>
                        <a:pt x="221" y="490"/>
                        <a:pt x="221" y="490"/>
                        <a:pt x="213" y="474"/>
                      </a:cubicBezTo>
                      <a:cubicBezTo>
                        <a:pt x="213" y="466"/>
                        <a:pt x="213" y="466"/>
                        <a:pt x="213" y="458"/>
                      </a:cubicBezTo>
                      <a:cubicBezTo>
                        <a:pt x="205" y="419"/>
                        <a:pt x="276" y="395"/>
                        <a:pt x="284" y="395"/>
                      </a:cubicBezTo>
                      <a:cubicBezTo>
                        <a:pt x="316" y="387"/>
                        <a:pt x="316" y="371"/>
                        <a:pt x="316" y="348"/>
                      </a:cubicBezTo>
                      <a:cubicBezTo>
                        <a:pt x="316" y="316"/>
                        <a:pt x="316" y="284"/>
                        <a:pt x="340" y="276"/>
                      </a:cubicBezTo>
                      <a:cubicBezTo>
                        <a:pt x="355" y="261"/>
                        <a:pt x="355" y="221"/>
                        <a:pt x="363" y="189"/>
                      </a:cubicBezTo>
                      <a:cubicBezTo>
                        <a:pt x="363" y="182"/>
                        <a:pt x="363" y="174"/>
                        <a:pt x="363" y="174"/>
                      </a:cubicBezTo>
                      <a:cubicBezTo>
                        <a:pt x="363" y="142"/>
                        <a:pt x="387" y="134"/>
                        <a:pt x="403" y="134"/>
                      </a:cubicBezTo>
                      <a:cubicBezTo>
                        <a:pt x="403" y="134"/>
                        <a:pt x="403" y="134"/>
                        <a:pt x="411" y="134"/>
                      </a:cubicBezTo>
                      <a:cubicBezTo>
                        <a:pt x="411" y="134"/>
                        <a:pt x="411" y="134"/>
                        <a:pt x="419" y="134"/>
                      </a:cubicBezTo>
                      <a:cubicBezTo>
                        <a:pt x="427" y="134"/>
                        <a:pt x="427" y="134"/>
                        <a:pt x="427" y="110"/>
                      </a:cubicBezTo>
                      <a:cubicBezTo>
                        <a:pt x="427" y="71"/>
                        <a:pt x="450" y="63"/>
                        <a:pt x="450" y="63"/>
                      </a:cubicBezTo>
                      <a:cubicBezTo>
                        <a:pt x="450" y="55"/>
                        <a:pt x="450" y="55"/>
                        <a:pt x="450" y="55"/>
                      </a:cubicBezTo>
                      <a:cubicBezTo>
                        <a:pt x="640" y="47"/>
                        <a:pt x="909" y="31"/>
                        <a:pt x="1233" y="0"/>
                      </a:cubicBezTo>
                      <a:lnTo>
                        <a:pt x="1233" y="0"/>
                      </a:lnTo>
                      <a:lnTo>
                        <a:pt x="1233" y="0"/>
                      </a:lnTo>
                      <a:cubicBezTo>
                        <a:pt x="1241" y="15"/>
                        <a:pt x="1249" y="31"/>
                        <a:pt x="1257" y="31"/>
                      </a:cubicBezTo>
                      <a:cubicBezTo>
                        <a:pt x="1288" y="55"/>
                        <a:pt x="1280" y="71"/>
                        <a:pt x="1280" y="79"/>
                      </a:cubicBezTo>
                      <a:lnTo>
                        <a:pt x="1280" y="87"/>
                      </a:lnTo>
                      <a:cubicBezTo>
                        <a:pt x="1280" y="102"/>
                        <a:pt x="1265" y="1525"/>
                        <a:pt x="1265" y="1541"/>
                      </a:cubicBezTo>
                      <a:cubicBezTo>
                        <a:pt x="1344" y="2213"/>
                        <a:pt x="1344" y="2213"/>
                        <a:pt x="1344" y="2213"/>
                      </a:cubicBezTo>
                      <a:lnTo>
                        <a:pt x="1344" y="2213"/>
                      </a:lnTo>
                      <a:cubicBezTo>
                        <a:pt x="1344" y="2213"/>
                        <a:pt x="1336" y="2213"/>
                        <a:pt x="1336" y="2221"/>
                      </a:cubicBezTo>
                      <a:cubicBezTo>
                        <a:pt x="1328" y="2221"/>
                        <a:pt x="1320" y="2229"/>
                        <a:pt x="1312" y="2229"/>
                      </a:cubicBezTo>
                      <a:cubicBezTo>
                        <a:pt x="1312" y="2229"/>
                        <a:pt x="1304" y="2221"/>
                        <a:pt x="1296" y="2221"/>
                      </a:cubicBezTo>
                      <a:cubicBezTo>
                        <a:pt x="1288" y="2213"/>
                        <a:pt x="1288" y="2213"/>
                        <a:pt x="1280" y="2213"/>
                      </a:cubicBezTo>
                      <a:cubicBezTo>
                        <a:pt x="1273" y="2213"/>
                        <a:pt x="1273" y="2213"/>
                        <a:pt x="1265" y="2213"/>
                      </a:cubicBezTo>
                      <a:cubicBezTo>
                        <a:pt x="1257" y="2221"/>
                        <a:pt x="1249" y="2229"/>
                        <a:pt x="1233" y="2229"/>
                      </a:cubicBezTo>
                      <a:cubicBezTo>
                        <a:pt x="1209" y="2229"/>
                        <a:pt x="1178" y="2213"/>
                        <a:pt x="1154" y="2205"/>
                      </a:cubicBezTo>
                      <a:lnTo>
                        <a:pt x="1146" y="2205"/>
                      </a:lnTo>
                      <a:cubicBezTo>
                        <a:pt x="1122" y="2205"/>
                        <a:pt x="1107" y="2221"/>
                        <a:pt x="1091" y="2229"/>
                      </a:cubicBezTo>
                      <a:cubicBezTo>
                        <a:pt x="1083" y="2237"/>
                        <a:pt x="1075" y="2245"/>
                        <a:pt x="1067" y="2245"/>
                      </a:cubicBezTo>
                      <a:cubicBezTo>
                        <a:pt x="1051" y="2253"/>
                        <a:pt x="1043" y="2253"/>
                        <a:pt x="1035" y="2253"/>
                      </a:cubicBezTo>
                      <a:lnTo>
                        <a:pt x="1027" y="2253"/>
                      </a:lnTo>
                      <a:cubicBezTo>
                        <a:pt x="1012" y="2253"/>
                        <a:pt x="1004" y="2253"/>
                        <a:pt x="988" y="2261"/>
                      </a:cubicBezTo>
                      <a:cubicBezTo>
                        <a:pt x="980" y="2276"/>
                        <a:pt x="972" y="2284"/>
                        <a:pt x="964" y="2292"/>
                      </a:cubicBezTo>
                      <a:cubicBezTo>
                        <a:pt x="956" y="2300"/>
                        <a:pt x="948" y="2316"/>
                        <a:pt x="933" y="2324"/>
                      </a:cubicBezTo>
                      <a:cubicBezTo>
                        <a:pt x="925" y="2332"/>
                        <a:pt x="917" y="2340"/>
                        <a:pt x="917" y="2340"/>
                      </a:cubicBezTo>
                      <a:lnTo>
                        <a:pt x="909" y="2348"/>
                      </a:lnTo>
                      <a:close/>
                      <a:moveTo>
                        <a:pt x="774" y="1960"/>
                      </a:moveTo>
                      <a:lnTo>
                        <a:pt x="774" y="1960"/>
                      </a:lnTo>
                      <a:lnTo>
                        <a:pt x="774" y="1960"/>
                      </a:lnTo>
                      <a:cubicBezTo>
                        <a:pt x="774" y="1960"/>
                        <a:pt x="798" y="1968"/>
                        <a:pt x="798" y="1984"/>
                      </a:cubicBezTo>
                      <a:lnTo>
                        <a:pt x="798" y="1992"/>
                      </a:lnTo>
                      <a:cubicBezTo>
                        <a:pt x="790" y="2000"/>
                        <a:pt x="790" y="2000"/>
                        <a:pt x="790" y="2000"/>
                      </a:cubicBezTo>
                      <a:cubicBezTo>
                        <a:pt x="774" y="2016"/>
                        <a:pt x="719" y="2063"/>
                        <a:pt x="759" y="2118"/>
                      </a:cubicBezTo>
                      <a:cubicBezTo>
                        <a:pt x="782" y="2142"/>
                        <a:pt x="790" y="2158"/>
                        <a:pt x="806" y="2166"/>
                      </a:cubicBezTo>
                      <a:cubicBezTo>
                        <a:pt x="822" y="2174"/>
                        <a:pt x="830" y="2189"/>
                        <a:pt x="838" y="2205"/>
                      </a:cubicBezTo>
                      <a:cubicBezTo>
                        <a:pt x="846" y="2237"/>
                        <a:pt x="885" y="2292"/>
                        <a:pt x="901" y="2316"/>
                      </a:cubicBezTo>
                      <a:cubicBezTo>
                        <a:pt x="909" y="2324"/>
                        <a:pt x="909" y="2332"/>
                        <a:pt x="917" y="2332"/>
                      </a:cubicBezTo>
                      <a:cubicBezTo>
                        <a:pt x="917" y="2332"/>
                        <a:pt x="925" y="2332"/>
                        <a:pt x="933" y="2324"/>
                      </a:cubicBezTo>
                      <a:cubicBezTo>
                        <a:pt x="940" y="2308"/>
                        <a:pt x="948" y="2300"/>
                        <a:pt x="956" y="2292"/>
                      </a:cubicBezTo>
                      <a:cubicBezTo>
                        <a:pt x="964" y="2276"/>
                        <a:pt x="972" y="2269"/>
                        <a:pt x="988" y="2261"/>
                      </a:cubicBezTo>
                      <a:cubicBezTo>
                        <a:pt x="996" y="2245"/>
                        <a:pt x="1012" y="2245"/>
                        <a:pt x="1020" y="2245"/>
                      </a:cubicBezTo>
                      <a:lnTo>
                        <a:pt x="1027" y="2245"/>
                      </a:lnTo>
                      <a:lnTo>
                        <a:pt x="1035" y="2245"/>
                      </a:lnTo>
                      <a:cubicBezTo>
                        <a:pt x="1043" y="2245"/>
                        <a:pt x="1051" y="2245"/>
                        <a:pt x="1059" y="2245"/>
                      </a:cubicBezTo>
                      <a:cubicBezTo>
                        <a:pt x="1067" y="2237"/>
                        <a:pt x="1075" y="2229"/>
                        <a:pt x="1083" y="2229"/>
                      </a:cubicBezTo>
                      <a:cubicBezTo>
                        <a:pt x="1098" y="2213"/>
                        <a:pt x="1122" y="2197"/>
                        <a:pt x="1146" y="2197"/>
                      </a:cubicBezTo>
                      <a:cubicBezTo>
                        <a:pt x="1146" y="2197"/>
                        <a:pt x="1154" y="2197"/>
                        <a:pt x="1162" y="2197"/>
                      </a:cubicBezTo>
                      <a:cubicBezTo>
                        <a:pt x="1186" y="2205"/>
                        <a:pt x="1209" y="2221"/>
                        <a:pt x="1233" y="2221"/>
                      </a:cubicBezTo>
                      <a:cubicBezTo>
                        <a:pt x="1249" y="2221"/>
                        <a:pt x="1257" y="2213"/>
                        <a:pt x="1265" y="2213"/>
                      </a:cubicBezTo>
                      <a:cubicBezTo>
                        <a:pt x="1273" y="2205"/>
                        <a:pt x="1273" y="2205"/>
                        <a:pt x="1280" y="2205"/>
                      </a:cubicBezTo>
                      <a:cubicBezTo>
                        <a:pt x="1288" y="2205"/>
                        <a:pt x="1296" y="2213"/>
                        <a:pt x="1296" y="2213"/>
                      </a:cubicBezTo>
                      <a:cubicBezTo>
                        <a:pt x="1304" y="2213"/>
                        <a:pt x="1312" y="2221"/>
                        <a:pt x="1312" y="2221"/>
                      </a:cubicBezTo>
                      <a:cubicBezTo>
                        <a:pt x="1320" y="2221"/>
                        <a:pt x="1320" y="2221"/>
                        <a:pt x="1328" y="2213"/>
                      </a:cubicBezTo>
                      <a:lnTo>
                        <a:pt x="1336" y="2205"/>
                      </a:lnTo>
                      <a:cubicBezTo>
                        <a:pt x="1257" y="1541"/>
                        <a:pt x="1257" y="1541"/>
                        <a:pt x="1257" y="1541"/>
                      </a:cubicBezTo>
                      <a:cubicBezTo>
                        <a:pt x="1257" y="1525"/>
                        <a:pt x="1273" y="102"/>
                        <a:pt x="1273" y="87"/>
                      </a:cubicBezTo>
                      <a:lnTo>
                        <a:pt x="1273" y="79"/>
                      </a:lnTo>
                      <a:cubicBezTo>
                        <a:pt x="1273" y="63"/>
                        <a:pt x="1280" y="55"/>
                        <a:pt x="1257" y="39"/>
                      </a:cubicBezTo>
                      <a:cubicBezTo>
                        <a:pt x="1249" y="31"/>
                        <a:pt x="1241" y="24"/>
                        <a:pt x="1233" y="8"/>
                      </a:cubicBezTo>
                      <a:cubicBezTo>
                        <a:pt x="909" y="39"/>
                        <a:pt x="648" y="55"/>
                        <a:pt x="450" y="63"/>
                      </a:cubicBezTo>
                      <a:cubicBezTo>
                        <a:pt x="450" y="71"/>
                        <a:pt x="434" y="79"/>
                        <a:pt x="434" y="110"/>
                      </a:cubicBezTo>
                      <a:cubicBezTo>
                        <a:pt x="434" y="134"/>
                        <a:pt x="434" y="142"/>
                        <a:pt x="419" y="142"/>
                      </a:cubicBezTo>
                      <a:cubicBezTo>
                        <a:pt x="411" y="142"/>
                        <a:pt x="411" y="142"/>
                        <a:pt x="411" y="142"/>
                      </a:cubicBezTo>
                      <a:lnTo>
                        <a:pt x="403" y="142"/>
                      </a:lnTo>
                      <a:cubicBezTo>
                        <a:pt x="387" y="142"/>
                        <a:pt x="371" y="142"/>
                        <a:pt x="371" y="174"/>
                      </a:cubicBezTo>
                      <a:cubicBezTo>
                        <a:pt x="371" y="174"/>
                        <a:pt x="371" y="182"/>
                        <a:pt x="371" y="189"/>
                      </a:cubicBezTo>
                      <a:cubicBezTo>
                        <a:pt x="363" y="221"/>
                        <a:pt x="355" y="268"/>
                        <a:pt x="340" y="276"/>
                      </a:cubicBezTo>
                      <a:cubicBezTo>
                        <a:pt x="324" y="292"/>
                        <a:pt x="324" y="316"/>
                        <a:pt x="324" y="348"/>
                      </a:cubicBezTo>
                      <a:cubicBezTo>
                        <a:pt x="324" y="371"/>
                        <a:pt x="316" y="395"/>
                        <a:pt x="284" y="403"/>
                      </a:cubicBezTo>
                      <a:cubicBezTo>
                        <a:pt x="261" y="411"/>
                        <a:pt x="213" y="426"/>
                        <a:pt x="221" y="450"/>
                      </a:cubicBezTo>
                      <a:cubicBezTo>
                        <a:pt x="221" y="458"/>
                        <a:pt x="221" y="466"/>
                        <a:pt x="221" y="474"/>
                      </a:cubicBezTo>
                      <a:cubicBezTo>
                        <a:pt x="229" y="482"/>
                        <a:pt x="229" y="490"/>
                        <a:pt x="221" y="506"/>
                      </a:cubicBezTo>
                      <a:cubicBezTo>
                        <a:pt x="213" y="506"/>
                        <a:pt x="213" y="514"/>
                        <a:pt x="213" y="521"/>
                      </a:cubicBezTo>
                      <a:lnTo>
                        <a:pt x="213" y="529"/>
                      </a:lnTo>
                      <a:cubicBezTo>
                        <a:pt x="221" y="537"/>
                        <a:pt x="221" y="545"/>
                        <a:pt x="221" y="553"/>
                      </a:cubicBezTo>
                      <a:cubicBezTo>
                        <a:pt x="213" y="561"/>
                        <a:pt x="205" y="569"/>
                        <a:pt x="190" y="569"/>
                      </a:cubicBezTo>
                      <a:cubicBezTo>
                        <a:pt x="181" y="569"/>
                        <a:pt x="181" y="569"/>
                        <a:pt x="181" y="569"/>
                      </a:cubicBezTo>
                      <a:cubicBezTo>
                        <a:pt x="174" y="569"/>
                        <a:pt x="166" y="569"/>
                        <a:pt x="158" y="569"/>
                      </a:cubicBezTo>
                      <a:cubicBezTo>
                        <a:pt x="158" y="577"/>
                        <a:pt x="150" y="585"/>
                        <a:pt x="158" y="593"/>
                      </a:cubicBezTo>
                      <a:cubicBezTo>
                        <a:pt x="158" y="601"/>
                        <a:pt x="158" y="608"/>
                        <a:pt x="166" y="616"/>
                      </a:cubicBezTo>
                      <a:cubicBezTo>
                        <a:pt x="174" y="640"/>
                        <a:pt x="174" y="664"/>
                        <a:pt x="158" y="679"/>
                      </a:cubicBezTo>
                      <a:cubicBezTo>
                        <a:pt x="134" y="688"/>
                        <a:pt x="126" y="711"/>
                        <a:pt x="126" y="735"/>
                      </a:cubicBezTo>
                      <a:cubicBezTo>
                        <a:pt x="126" y="743"/>
                        <a:pt x="126" y="751"/>
                        <a:pt x="134" y="759"/>
                      </a:cubicBezTo>
                      <a:cubicBezTo>
                        <a:pt x="134" y="774"/>
                        <a:pt x="142" y="798"/>
                        <a:pt x="126" y="806"/>
                      </a:cubicBezTo>
                      <a:cubicBezTo>
                        <a:pt x="110" y="822"/>
                        <a:pt x="126" y="853"/>
                        <a:pt x="142" y="869"/>
                      </a:cubicBezTo>
                      <a:cubicBezTo>
                        <a:pt x="150" y="877"/>
                        <a:pt x="150" y="885"/>
                        <a:pt x="158" y="885"/>
                      </a:cubicBezTo>
                      <a:cubicBezTo>
                        <a:pt x="174" y="901"/>
                        <a:pt x="181" y="917"/>
                        <a:pt x="174" y="932"/>
                      </a:cubicBezTo>
                      <a:cubicBezTo>
                        <a:pt x="174" y="941"/>
                        <a:pt x="166" y="948"/>
                        <a:pt x="166" y="948"/>
                      </a:cubicBezTo>
                      <a:cubicBezTo>
                        <a:pt x="158" y="964"/>
                        <a:pt x="158" y="972"/>
                        <a:pt x="166" y="988"/>
                      </a:cubicBezTo>
                      <a:cubicBezTo>
                        <a:pt x="166" y="996"/>
                        <a:pt x="166" y="1004"/>
                        <a:pt x="166" y="1012"/>
                      </a:cubicBezTo>
                      <a:cubicBezTo>
                        <a:pt x="158" y="1012"/>
                        <a:pt x="150" y="1019"/>
                        <a:pt x="158" y="1043"/>
                      </a:cubicBezTo>
                      <a:cubicBezTo>
                        <a:pt x="166" y="1075"/>
                        <a:pt x="174" y="1083"/>
                        <a:pt x="181" y="1091"/>
                      </a:cubicBezTo>
                      <a:cubicBezTo>
                        <a:pt x="181" y="1099"/>
                        <a:pt x="190" y="1099"/>
                        <a:pt x="190" y="1106"/>
                      </a:cubicBezTo>
                      <a:cubicBezTo>
                        <a:pt x="190" y="1114"/>
                        <a:pt x="181" y="1130"/>
                        <a:pt x="174" y="1146"/>
                      </a:cubicBezTo>
                      <a:cubicBezTo>
                        <a:pt x="166" y="1154"/>
                        <a:pt x="166" y="1170"/>
                        <a:pt x="166" y="1178"/>
                      </a:cubicBezTo>
                      <a:cubicBezTo>
                        <a:pt x="174" y="1185"/>
                        <a:pt x="174" y="1193"/>
                        <a:pt x="174" y="1209"/>
                      </a:cubicBezTo>
                      <a:cubicBezTo>
                        <a:pt x="174" y="1241"/>
                        <a:pt x="181" y="1257"/>
                        <a:pt x="205" y="1257"/>
                      </a:cubicBezTo>
                      <a:lnTo>
                        <a:pt x="205" y="1257"/>
                      </a:lnTo>
                      <a:lnTo>
                        <a:pt x="205" y="1257"/>
                      </a:lnTo>
                      <a:cubicBezTo>
                        <a:pt x="205" y="1257"/>
                        <a:pt x="221" y="1272"/>
                        <a:pt x="213" y="1296"/>
                      </a:cubicBezTo>
                      <a:cubicBezTo>
                        <a:pt x="213" y="1304"/>
                        <a:pt x="213" y="1312"/>
                        <a:pt x="213" y="1312"/>
                      </a:cubicBezTo>
                      <a:cubicBezTo>
                        <a:pt x="205" y="1320"/>
                        <a:pt x="205" y="1320"/>
                        <a:pt x="205" y="1320"/>
                      </a:cubicBezTo>
                      <a:cubicBezTo>
                        <a:pt x="205" y="1328"/>
                        <a:pt x="221" y="1336"/>
                        <a:pt x="229" y="1336"/>
                      </a:cubicBezTo>
                      <a:cubicBezTo>
                        <a:pt x="237" y="1343"/>
                        <a:pt x="268" y="1359"/>
                        <a:pt x="268" y="1375"/>
                      </a:cubicBezTo>
                      <a:cubicBezTo>
                        <a:pt x="268" y="1375"/>
                        <a:pt x="268" y="1383"/>
                        <a:pt x="261" y="1383"/>
                      </a:cubicBezTo>
                      <a:cubicBezTo>
                        <a:pt x="253" y="1383"/>
                        <a:pt x="245" y="1383"/>
                        <a:pt x="237" y="1391"/>
                      </a:cubicBezTo>
                      <a:cubicBezTo>
                        <a:pt x="213" y="1391"/>
                        <a:pt x="166" y="1407"/>
                        <a:pt x="158" y="1415"/>
                      </a:cubicBezTo>
                      <a:cubicBezTo>
                        <a:pt x="158" y="1415"/>
                        <a:pt x="166" y="1423"/>
                        <a:pt x="174" y="1423"/>
                      </a:cubicBezTo>
                      <a:cubicBezTo>
                        <a:pt x="181" y="1431"/>
                        <a:pt x="197" y="1438"/>
                        <a:pt x="205" y="1438"/>
                      </a:cubicBezTo>
                      <a:cubicBezTo>
                        <a:pt x="221" y="1446"/>
                        <a:pt x="229" y="1446"/>
                        <a:pt x="229" y="1470"/>
                      </a:cubicBezTo>
                      <a:cubicBezTo>
                        <a:pt x="221" y="1494"/>
                        <a:pt x="190" y="1557"/>
                        <a:pt x="174" y="1565"/>
                      </a:cubicBezTo>
                      <a:cubicBezTo>
                        <a:pt x="166" y="1573"/>
                        <a:pt x="166" y="1573"/>
                        <a:pt x="158" y="1573"/>
                      </a:cubicBezTo>
                      <a:cubicBezTo>
                        <a:pt x="150" y="1573"/>
                        <a:pt x="142" y="1581"/>
                        <a:pt x="142" y="1596"/>
                      </a:cubicBezTo>
                      <a:cubicBezTo>
                        <a:pt x="150" y="1636"/>
                        <a:pt x="142" y="1644"/>
                        <a:pt x="134" y="1644"/>
                      </a:cubicBezTo>
                      <a:lnTo>
                        <a:pt x="126" y="1644"/>
                      </a:lnTo>
                      <a:cubicBezTo>
                        <a:pt x="118" y="1644"/>
                        <a:pt x="110" y="1644"/>
                        <a:pt x="103" y="1652"/>
                      </a:cubicBezTo>
                      <a:cubicBezTo>
                        <a:pt x="103" y="1652"/>
                        <a:pt x="103" y="1652"/>
                        <a:pt x="103" y="1660"/>
                      </a:cubicBezTo>
                      <a:cubicBezTo>
                        <a:pt x="103" y="1668"/>
                        <a:pt x="110" y="1676"/>
                        <a:pt x="110" y="1676"/>
                      </a:cubicBezTo>
                      <a:cubicBezTo>
                        <a:pt x="110" y="1691"/>
                        <a:pt x="118" y="1699"/>
                        <a:pt x="103" y="1707"/>
                      </a:cubicBezTo>
                      <a:lnTo>
                        <a:pt x="95" y="1707"/>
                      </a:lnTo>
                      <a:cubicBezTo>
                        <a:pt x="79" y="1707"/>
                        <a:pt x="63" y="1715"/>
                        <a:pt x="63" y="1723"/>
                      </a:cubicBezTo>
                      <a:cubicBezTo>
                        <a:pt x="63" y="1731"/>
                        <a:pt x="63" y="1739"/>
                        <a:pt x="63" y="1747"/>
                      </a:cubicBezTo>
                      <a:cubicBezTo>
                        <a:pt x="63" y="1771"/>
                        <a:pt x="71" y="1786"/>
                        <a:pt x="55" y="1794"/>
                      </a:cubicBezTo>
                      <a:cubicBezTo>
                        <a:pt x="55" y="1794"/>
                        <a:pt x="47" y="1794"/>
                        <a:pt x="47" y="1802"/>
                      </a:cubicBezTo>
                      <a:cubicBezTo>
                        <a:pt x="39" y="1802"/>
                        <a:pt x="39" y="1810"/>
                        <a:pt x="47" y="1818"/>
                      </a:cubicBezTo>
                      <a:cubicBezTo>
                        <a:pt x="55" y="1834"/>
                        <a:pt x="55" y="1865"/>
                        <a:pt x="47" y="1881"/>
                      </a:cubicBezTo>
                      <a:cubicBezTo>
                        <a:pt x="47" y="1889"/>
                        <a:pt x="39" y="1889"/>
                        <a:pt x="39" y="1897"/>
                      </a:cubicBezTo>
                      <a:cubicBezTo>
                        <a:pt x="31" y="1897"/>
                        <a:pt x="15" y="1905"/>
                        <a:pt x="15" y="1913"/>
                      </a:cubicBezTo>
                      <a:cubicBezTo>
                        <a:pt x="8" y="1921"/>
                        <a:pt x="15" y="1921"/>
                        <a:pt x="15" y="1929"/>
                      </a:cubicBezTo>
                      <a:cubicBezTo>
                        <a:pt x="31" y="1952"/>
                        <a:pt x="47" y="1976"/>
                        <a:pt x="31" y="1984"/>
                      </a:cubicBezTo>
                      <a:lnTo>
                        <a:pt x="31" y="1984"/>
                      </a:lnTo>
                      <a:cubicBezTo>
                        <a:pt x="31" y="1992"/>
                        <a:pt x="23" y="1992"/>
                        <a:pt x="23" y="2000"/>
                      </a:cubicBezTo>
                      <a:cubicBezTo>
                        <a:pt x="23" y="2000"/>
                        <a:pt x="31" y="2000"/>
                        <a:pt x="39" y="2000"/>
                      </a:cubicBezTo>
                      <a:cubicBezTo>
                        <a:pt x="39" y="2000"/>
                        <a:pt x="39" y="2000"/>
                        <a:pt x="47" y="2000"/>
                      </a:cubicBezTo>
                      <a:cubicBezTo>
                        <a:pt x="118" y="2000"/>
                        <a:pt x="767" y="1960"/>
                        <a:pt x="767" y="1960"/>
                      </a:cubicBezTo>
                      <a:lnTo>
                        <a:pt x="774" y="196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4" name="Freeform 407">
                  <a:extLst>
                    <a:ext uri="{FF2B5EF4-FFF2-40B4-BE49-F238E27FC236}">
                      <a16:creationId xmlns:a16="http://schemas.microsoft.com/office/drawing/2014/main" id="{676992D4-D884-874D-BD60-271B26DFA7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45848" y="6857187"/>
                  <a:ext cx="997301" cy="770010"/>
                </a:xfrm>
                <a:custGeom>
                  <a:avLst/>
                  <a:gdLst>
                    <a:gd name="T0" fmla="*/ 1407 w 1898"/>
                    <a:gd name="T1" fmla="*/ 79 h 1463"/>
                    <a:gd name="T2" fmla="*/ 1407 w 1898"/>
                    <a:gd name="T3" fmla="*/ 79 h 1463"/>
                    <a:gd name="T4" fmla="*/ 964 w 1898"/>
                    <a:gd name="T5" fmla="*/ 158 h 1463"/>
                    <a:gd name="T6" fmla="*/ 925 w 1898"/>
                    <a:gd name="T7" fmla="*/ 63 h 1463"/>
                    <a:gd name="T8" fmla="*/ 854 w 1898"/>
                    <a:gd name="T9" fmla="*/ 47 h 1463"/>
                    <a:gd name="T10" fmla="*/ 830 w 1898"/>
                    <a:gd name="T11" fmla="*/ 16 h 1463"/>
                    <a:gd name="T12" fmla="*/ 411 w 1898"/>
                    <a:gd name="T13" fmla="*/ 55 h 1463"/>
                    <a:gd name="T14" fmla="*/ 181 w 1898"/>
                    <a:gd name="T15" fmla="*/ 166 h 1463"/>
                    <a:gd name="T16" fmla="*/ 79 w 1898"/>
                    <a:gd name="T17" fmla="*/ 221 h 1463"/>
                    <a:gd name="T18" fmla="*/ 79 w 1898"/>
                    <a:gd name="T19" fmla="*/ 237 h 1463"/>
                    <a:gd name="T20" fmla="*/ 15 w 1898"/>
                    <a:gd name="T21" fmla="*/ 308 h 1463"/>
                    <a:gd name="T22" fmla="*/ 23 w 1898"/>
                    <a:gd name="T23" fmla="*/ 387 h 1463"/>
                    <a:gd name="T24" fmla="*/ 110 w 1898"/>
                    <a:gd name="T25" fmla="*/ 458 h 1463"/>
                    <a:gd name="T26" fmla="*/ 174 w 1898"/>
                    <a:gd name="T27" fmla="*/ 458 h 1463"/>
                    <a:gd name="T28" fmla="*/ 237 w 1898"/>
                    <a:gd name="T29" fmla="*/ 537 h 1463"/>
                    <a:gd name="T30" fmla="*/ 371 w 1898"/>
                    <a:gd name="T31" fmla="*/ 688 h 1463"/>
                    <a:gd name="T32" fmla="*/ 466 w 1898"/>
                    <a:gd name="T33" fmla="*/ 759 h 1463"/>
                    <a:gd name="T34" fmla="*/ 553 w 1898"/>
                    <a:gd name="T35" fmla="*/ 822 h 1463"/>
                    <a:gd name="T36" fmla="*/ 632 w 1898"/>
                    <a:gd name="T37" fmla="*/ 869 h 1463"/>
                    <a:gd name="T38" fmla="*/ 703 w 1898"/>
                    <a:gd name="T39" fmla="*/ 964 h 1463"/>
                    <a:gd name="T40" fmla="*/ 806 w 1898"/>
                    <a:gd name="T41" fmla="*/ 1043 h 1463"/>
                    <a:gd name="T42" fmla="*/ 885 w 1898"/>
                    <a:gd name="T43" fmla="*/ 1146 h 1463"/>
                    <a:gd name="T44" fmla="*/ 901 w 1898"/>
                    <a:gd name="T45" fmla="*/ 1225 h 1463"/>
                    <a:gd name="T46" fmla="*/ 964 w 1898"/>
                    <a:gd name="T47" fmla="*/ 1273 h 1463"/>
                    <a:gd name="T48" fmla="*/ 1027 w 1898"/>
                    <a:gd name="T49" fmla="*/ 1352 h 1463"/>
                    <a:gd name="T50" fmla="*/ 1035 w 1898"/>
                    <a:gd name="T51" fmla="*/ 1439 h 1463"/>
                    <a:gd name="T52" fmla="*/ 1162 w 1898"/>
                    <a:gd name="T53" fmla="*/ 1462 h 1463"/>
                    <a:gd name="T54" fmla="*/ 1162 w 1898"/>
                    <a:gd name="T55" fmla="*/ 1454 h 1463"/>
                    <a:gd name="T56" fmla="*/ 1185 w 1898"/>
                    <a:gd name="T57" fmla="*/ 1415 h 1463"/>
                    <a:gd name="T58" fmla="*/ 1225 w 1898"/>
                    <a:gd name="T59" fmla="*/ 1383 h 1463"/>
                    <a:gd name="T60" fmla="*/ 1201 w 1898"/>
                    <a:gd name="T61" fmla="*/ 1352 h 1463"/>
                    <a:gd name="T62" fmla="*/ 1185 w 1898"/>
                    <a:gd name="T63" fmla="*/ 1312 h 1463"/>
                    <a:gd name="T64" fmla="*/ 1233 w 1898"/>
                    <a:gd name="T65" fmla="*/ 1320 h 1463"/>
                    <a:gd name="T66" fmla="*/ 1265 w 1898"/>
                    <a:gd name="T67" fmla="*/ 1336 h 1463"/>
                    <a:gd name="T68" fmla="*/ 1304 w 1898"/>
                    <a:gd name="T69" fmla="*/ 1280 h 1463"/>
                    <a:gd name="T70" fmla="*/ 1280 w 1898"/>
                    <a:gd name="T71" fmla="*/ 1249 h 1463"/>
                    <a:gd name="T72" fmla="*/ 1241 w 1898"/>
                    <a:gd name="T73" fmla="*/ 1233 h 1463"/>
                    <a:gd name="T74" fmla="*/ 1288 w 1898"/>
                    <a:gd name="T75" fmla="*/ 1209 h 1463"/>
                    <a:gd name="T76" fmla="*/ 1328 w 1898"/>
                    <a:gd name="T77" fmla="*/ 1209 h 1463"/>
                    <a:gd name="T78" fmla="*/ 1423 w 1898"/>
                    <a:gd name="T79" fmla="*/ 1154 h 1463"/>
                    <a:gd name="T80" fmla="*/ 1486 w 1898"/>
                    <a:gd name="T81" fmla="*/ 1122 h 1463"/>
                    <a:gd name="T82" fmla="*/ 1494 w 1898"/>
                    <a:gd name="T83" fmla="*/ 1067 h 1463"/>
                    <a:gd name="T84" fmla="*/ 1518 w 1898"/>
                    <a:gd name="T85" fmla="*/ 1051 h 1463"/>
                    <a:gd name="T86" fmla="*/ 1549 w 1898"/>
                    <a:gd name="T87" fmla="*/ 1035 h 1463"/>
                    <a:gd name="T88" fmla="*/ 1597 w 1898"/>
                    <a:gd name="T89" fmla="*/ 972 h 1463"/>
                    <a:gd name="T90" fmla="*/ 1604 w 1898"/>
                    <a:gd name="T91" fmla="*/ 917 h 1463"/>
                    <a:gd name="T92" fmla="*/ 1660 w 1898"/>
                    <a:gd name="T93" fmla="*/ 909 h 1463"/>
                    <a:gd name="T94" fmla="*/ 1691 w 1898"/>
                    <a:gd name="T95" fmla="*/ 853 h 1463"/>
                    <a:gd name="T96" fmla="*/ 1699 w 1898"/>
                    <a:gd name="T97" fmla="*/ 790 h 1463"/>
                    <a:gd name="T98" fmla="*/ 1691 w 1898"/>
                    <a:gd name="T99" fmla="*/ 767 h 1463"/>
                    <a:gd name="T100" fmla="*/ 1715 w 1898"/>
                    <a:gd name="T101" fmla="*/ 751 h 1463"/>
                    <a:gd name="T102" fmla="*/ 1850 w 1898"/>
                    <a:gd name="T103" fmla="*/ 490 h 1463"/>
                    <a:gd name="T104" fmla="*/ 1897 w 1898"/>
                    <a:gd name="T105" fmla="*/ 451 h 1463"/>
                    <a:gd name="T106" fmla="*/ 1407 w 1898"/>
                    <a:gd name="T107" fmla="*/ 79 h 14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898" h="1463">
                      <a:moveTo>
                        <a:pt x="1407" y="79"/>
                      </a:moveTo>
                      <a:lnTo>
                        <a:pt x="1407" y="79"/>
                      </a:lnTo>
                      <a:cubicBezTo>
                        <a:pt x="964" y="158"/>
                        <a:pt x="964" y="158"/>
                        <a:pt x="964" y="158"/>
                      </a:cubicBezTo>
                      <a:cubicBezTo>
                        <a:pt x="964" y="158"/>
                        <a:pt x="940" y="79"/>
                        <a:pt x="925" y="63"/>
                      </a:cubicBezTo>
                      <a:cubicBezTo>
                        <a:pt x="909" y="39"/>
                        <a:pt x="901" y="55"/>
                        <a:pt x="854" y="47"/>
                      </a:cubicBezTo>
                      <a:cubicBezTo>
                        <a:pt x="806" y="39"/>
                        <a:pt x="830" y="31"/>
                        <a:pt x="830" y="16"/>
                      </a:cubicBezTo>
                      <a:cubicBezTo>
                        <a:pt x="830" y="0"/>
                        <a:pt x="442" y="55"/>
                        <a:pt x="411" y="55"/>
                      </a:cubicBezTo>
                      <a:cubicBezTo>
                        <a:pt x="371" y="63"/>
                        <a:pt x="229" y="134"/>
                        <a:pt x="181" y="166"/>
                      </a:cubicBezTo>
                      <a:cubicBezTo>
                        <a:pt x="142" y="182"/>
                        <a:pt x="126" y="213"/>
                        <a:pt x="79" y="221"/>
                      </a:cubicBezTo>
                      <a:cubicBezTo>
                        <a:pt x="79" y="229"/>
                        <a:pt x="79" y="237"/>
                        <a:pt x="79" y="237"/>
                      </a:cubicBezTo>
                      <a:cubicBezTo>
                        <a:pt x="71" y="245"/>
                        <a:pt x="15" y="276"/>
                        <a:pt x="15" y="308"/>
                      </a:cubicBezTo>
                      <a:cubicBezTo>
                        <a:pt x="8" y="340"/>
                        <a:pt x="0" y="379"/>
                        <a:pt x="23" y="387"/>
                      </a:cubicBezTo>
                      <a:cubicBezTo>
                        <a:pt x="39" y="403"/>
                        <a:pt x="95" y="435"/>
                        <a:pt x="110" y="458"/>
                      </a:cubicBezTo>
                      <a:cubicBezTo>
                        <a:pt x="126" y="482"/>
                        <a:pt x="150" y="458"/>
                        <a:pt x="174" y="458"/>
                      </a:cubicBezTo>
                      <a:cubicBezTo>
                        <a:pt x="190" y="458"/>
                        <a:pt x="205" y="490"/>
                        <a:pt x="237" y="537"/>
                      </a:cubicBezTo>
                      <a:cubicBezTo>
                        <a:pt x="261" y="585"/>
                        <a:pt x="316" y="672"/>
                        <a:pt x="371" y="688"/>
                      </a:cubicBezTo>
                      <a:cubicBezTo>
                        <a:pt x="419" y="711"/>
                        <a:pt x="434" y="719"/>
                        <a:pt x="466" y="759"/>
                      </a:cubicBezTo>
                      <a:cubicBezTo>
                        <a:pt x="498" y="798"/>
                        <a:pt x="521" y="814"/>
                        <a:pt x="553" y="822"/>
                      </a:cubicBezTo>
                      <a:cubicBezTo>
                        <a:pt x="585" y="838"/>
                        <a:pt x="616" y="846"/>
                        <a:pt x="632" y="869"/>
                      </a:cubicBezTo>
                      <a:cubicBezTo>
                        <a:pt x="656" y="901"/>
                        <a:pt x="656" y="925"/>
                        <a:pt x="703" y="964"/>
                      </a:cubicBezTo>
                      <a:cubicBezTo>
                        <a:pt x="759" y="1012"/>
                        <a:pt x="774" y="1020"/>
                        <a:pt x="806" y="1043"/>
                      </a:cubicBezTo>
                      <a:cubicBezTo>
                        <a:pt x="838" y="1059"/>
                        <a:pt x="885" y="1122"/>
                        <a:pt x="885" y="1146"/>
                      </a:cubicBezTo>
                      <a:cubicBezTo>
                        <a:pt x="885" y="1170"/>
                        <a:pt x="877" y="1209"/>
                        <a:pt x="901" y="1225"/>
                      </a:cubicBezTo>
                      <a:cubicBezTo>
                        <a:pt x="925" y="1241"/>
                        <a:pt x="948" y="1241"/>
                        <a:pt x="964" y="1273"/>
                      </a:cubicBezTo>
                      <a:cubicBezTo>
                        <a:pt x="988" y="1296"/>
                        <a:pt x="1004" y="1344"/>
                        <a:pt x="1027" y="1352"/>
                      </a:cubicBezTo>
                      <a:cubicBezTo>
                        <a:pt x="1043" y="1359"/>
                        <a:pt x="996" y="1423"/>
                        <a:pt x="1035" y="1439"/>
                      </a:cubicBezTo>
                      <a:cubicBezTo>
                        <a:pt x="1059" y="1454"/>
                        <a:pt x="1138" y="1462"/>
                        <a:pt x="1162" y="1462"/>
                      </a:cubicBezTo>
                      <a:cubicBezTo>
                        <a:pt x="1162" y="1454"/>
                        <a:pt x="1162" y="1454"/>
                        <a:pt x="1162" y="1454"/>
                      </a:cubicBezTo>
                      <a:cubicBezTo>
                        <a:pt x="1162" y="1446"/>
                        <a:pt x="1162" y="1415"/>
                        <a:pt x="1185" y="1415"/>
                      </a:cubicBezTo>
                      <a:cubicBezTo>
                        <a:pt x="1201" y="1407"/>
                        <a:pt x="1233" y="1407"/>
                        <a:pt x="1225" y="1383"/>
                      </a:cubicBezTo>
                      <a:cubicBezTo>
                        <a:pt x="1217" y="1359"/>
                        <a:pt x="1217" y="1368"/>
                        <a:pt x="1201" y="1352"/>
                      </a:cubicBezTo>
                      <a:cubicBezTo>
                        <a:pt x="1185" y="1328"/>
                        <a:pt x="1154" y="1320"/>
                        <a:pt x="1185" y="1312"/>
                      </a:cubicBezTo>
                      <a:cubicBezTo>
                        <a:pt x="1217" y="1304"/>
                        <a:pt x="1217" y="1304"/>
                        <a:pt x="1233" y="1320"/>
                      </a:cubicBezTo>
                      <a:cubicBezTo>
                        <a:pt x="1249" y="1336"/>
                        <a:pt x="1233" y="1344"/>
                        <a:pt x="1265" y="1336"/>
                      </a:cubicBezTo>
                      <a:cubicBezTo>
                        <a:pt x="1288" y="1320"/>
                        <a:pt x="1304" y="1304"/>
                        <a:pt x="1304" y="1280"/>
                      </a:cubicBezTo>
                      <a:cubicBezTo>
                        <a:pt x="1304" y="1257"/>
                        <a:pt x="1312" y="1257"/>
                        <a:pt x="1280" y="1249"/>
                      </a:cubicBezTo>
                      <a:cubicBezTo>
                        <a:pt x="1257" y="1249"/>
                        <a:pt x="1241" y="1249"/>
                        <a:pt x="1241" y="1233"/>
                      </a:cubicBezTo>
                      <a:cubicBezTo>
                        <a:pt x="1241" y="1225"/>
                        <a:pt x="1265" y="1201"/>
                        <a:pt x="1288" y="1209"/>
                      </a:cubicBezTo>
                      <a:cubicBezTo>
                        <a:pt x="1312" y="1217"/>
                        <a:pt x="1312" y="1217"/>
                        <a:pt x="1328" y="1209"/>
                      </a:cubicBezTo>
                      <a:cubicBezTo>
                        <a:pt x="1351" y="1201"/>
                        <a:pt x="1391" y="1170"/>
                        <a:pt x="1423" y="1154"/>
                      </a:cubicBezTo>
                      <a:cubicBezTo>
                        <a:pt x="1454" y="1138"/>
                        <a:pt x="1478" y="1146"/>
                        <a:pt x="1486" y="1122"/>
                      </a:cubicBezTo>
                      <a:cubicBezTo>
                        <a:pt x="1494" y="1099"/>
                        <a:pt x="1478" y="1083"/>
                        <a:pt x="1494" y="1067"/>
                      </a:cubicBezTo>
                      <a:cubicBezTo>
                        <a:pt x="1502" y="1051"/>
                        <a:pt x="1494" y="1051"/>
                        <a:pt x="1518" y="1051"/>
                      </a:cubicBezTo>
                      <a:cubicBezTo>
                        <a:pt x="1541" y="1051"/>
                        <a:pt x="1541" y="1059"/>
                        <a:pt x="1549" y="1035"/>
                      </a:cubicBezTo>
                      <a:cubicBezTo>
                        <a:pt x="1549" y="1012"/>
                        <a:pt x="1597" y="996"/>
                        <a:pt x="1597" y="972"/>
                      </a:cubicBezTo>
                      <a:cubicBezTo>
                        <a:pt x="1597" y="948"/>
                        <a:pt x="1573" y="917"/>
                        <a:pt x="1604" y="917"/>
                      </a:cubicBezTo>
                      <a:cubicBezTo>
                        <a:pt x="1628" y="917"/>
                        <a:pt x="1644" y="941"/>
                        <a:pt x="1660" y="909"/>
                      </a:cubicBezTo>
                      <a:cubicBezTo>
                        <a:pt x="1676" y="877"/>
                        <a:pt x="1668" y="869"/>
                        <a:pt x="1691" y="853"/>
                      </a:cubicBezTo>
                      <a:cubicBezTo>
                        <a:pt x="1707" y="838"/>
                        <a:pt x="1715" y="806"/>
                        <a:pt x="1699" y="790"/>
                      </a:cubicBezTo>
                      <a:cubicBezTo>
                        <a:pt x="1691" y="775"/>
                        <a:pt x="1676" y="767"/>
                        <a:pt x="1691" y="767"/>
                      </a:cubicBezTo>
                      <a:cubicBezTo>
                        <a:pt x="1707" y="767"/>
                        <a:pt x="1723" y="782"/>
                        <a:pt x="1715" y="751"/>
                      </a:cubicBezTo>
                      <a:cubicBezTo>
                        <a:pt x="1715" y="719"/>
                        <a:pt x="1826" y="490"/>
                        <a:pt x="1850" y="490"/>
                      </a:cubicBezTo>
                      <a:cubicBezTo>
                        <a:pt x="1873" y="482"/>
                        <a:pt x="1873" y="466"/>
                        <a:pt x="1897" y="451"/>
                      </a:cubicBezTo>
                      <a:lnTo>
                        <a:pt x="1407" y="79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5" name="Freeform 408">
                  <a:extLst>
                    <a:ext uri="{FF2B5EF4-FFF2-40B4-BE49-F238E27FC236}">
                      <a16:creationId xmlns:a16="http://schemas.microsoft.com/office/drawing/2014/main" id="{CB04D751-CC61-7949-BD3F-78EA8725B3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45848" y="6861826"/>
                  <a:ext cx="1001940" cy="765371"/>
                </a:xfrm>
                <a:custGeom>
                  <a:avLst/>
                  <a:gdLst>
                    <a:gd name="T0" fmla="*/ 1020 w 1906"/>
                    <a:gd name="T1" fmla="*/ 1375 h 1455"/>
                    <a:gd name="T2" fmla="*/ 925 w 1906"/>
                    <a:gd name="T3" fmla="*/ 1233 h 1455"/>
                    <a:gd name="T4" fmla="*/ 806 w 1906"/>
                    <a:gd name="T5" fmla="*/ 1035 h 1455"/>
                    <a:gd name="T6" fmla="*/ 632 w 1906"/>
                    <a:gd name="T7" fmla="*/ 861 h 1455"/>
                    <a:gd name="T8" fmla="*/ 229 w 1906"/>
                    <a:gd name="T9" fmla="*/ 529 h 1455"/>
                    <a:gd name="T10" fmla="*/ 126 w 1906"/>
                    <a:gd name="T11" fmla="*/ 458 h 1455"/>
                    <a:gd name="T12" fmla="*/ 8 w 1906"/>
                    <a:gd name="T13" fmla="*/ 308 h 1455"/>
                    <a:gd name="T14" fmla="*/ 79 w 1906"/>
                    <a:gd name="T15" fmla="*/ 213 h 1455"/>
                    <a:gd name="T16" fmla="*/ 181 w 1906"/>
                    <a:gd name="T17" fmla="*/ 150 h 1455"/>
                    <a:gd name="T18" fmla="*/ 830 w 1906"/>
                    <a:gd name="T19" fmla="*/ 23 h 1455"/>
                    <a:gd name="T20" fmla="*/ 893 w 1906"/>
                    <a:gd name="T21" fmla="*/ 39 h 1455"/>
                    <a:gd name="T22" fmla="*/ 1407 w 1906"/>
                    <a:gd name="T23" fmla="*/ 71 h 1455"/>
                    <a:gd name="T24" fmla="*/ 1850 w 1906"/>
                    <a:gd name="T25" fmla="*/ 482 h 1455"/>
                    <a:gd name="T26" fmla="*/ 1699 w 1906"/>
                    <a:gd name="T27" fmla="*/ 767 h 1455"/>
                    <a:gd name="T28" fmla="*/ 1707 w 1906"/>
                    <a:gd name="T29" fmla="*/ 782 h 1455"/>
                    <a:gd name="T30" fmla="*/ 1660 w 1906"/>
                    <a:gd name="T31" fmla="*/ 909 h 1455"/>
                    <a:gd name="T32" fmla="*/ 1597 w 1906"/>
                    <a:gd name="T33" fmla="*/ 917 h 1455"/>
                    <a:gd name="T34" fmla="*/ 1549 w 1906"/>
                    <a:gd name="T35" fmla="*/ 1027 h 1455"/>
                    <a:gd name="T36" fmla="*/ 1510 w 1906"/>
                    <a:gd name="T37" fmla="*/ 1051 h 1455"/>
                    <a:gd name="T38" fmla="*/ 1486 w 1906"/>
                    <a:gd name="T39" fmla="*/ 1114 h 1455"/>
                    <a:gd name="T40" fmla="*/ 1336 w 1906"/>
                    <a:gd name="T41" fmla="*/ 1209 h 1455"/>
                    <a:gd name="T42" fmla="*/ 1241 w 1906"/>
                    <a:gd name="T43" fmla="*/ 1225 h 1455"/>
                    <a:gd name="T44" fmla="*/ 1304 w 1906"/>
                    <a:gd name="T45" fmla="*/ 1257 h 1455"/>
                    <a:gd name="T46" fmla="*/ 1233 w 1906"/>
                    <a:gd name="T47" fmla="*/ 1328 h 1455"/>
                    <a:gd name="T48" fmla="*/ 1185 w 1906"/>
                    <a:gd name="T49" fmla="*/ 1304 h 1455"/>
                    <a:gd name="T50" fmla="*/ 1217 w 1906"/>
                    <a:gd name="T51" fmla="*/ 1351 h 1455"/>
                    <a:gd name="T52" fmla="*/ 1185 w 1906"/>
                    <a:gd name="T53" fmla="*/ 1407 h 1455"/>
                    <a:gd name="T54" fmla="*/ 1162 w 1906"/>
                    <a:gd name="T55" fmla="*/ 1454 h 1455"/>
                    <a:gd name="T56" fmla="*/ 237 w 1906"/>
                    <a:gd name="T57" fmla="*/ 521 h 1455"/>
                    <a:gd name="T58" fmla="*/ 640 w 1906"/>
                    <a:gd name="T59" fmla="*/ 861 h 1455"/>
                    <a:gd name="T60" fmla="*/ 806 w 1906"/>
                    <a:gd name="T61" fmla="*/ 1035 h 1455"/>
                    <a:gd name="T62" fmla="*/ 925 w 1906"/>
                    <a:gd name="T63" fmla="*/ 1233 h 1455"/>
                    <a:gd name="T64" fmla="*/ 1027 w 1906"/>
                    <a:gd name="T65" fmla="*/ 1375 h 1455"/>
                    <a:gd name="T66" fmla="*/ 1178 w 1906"/>
                    <a:gd name="T67" fmla="*/ 1399 h 1455"/>
                    <a:gd name="T68" fmla="*/ 1209 w 1906"/>
                    <a:gd name="T69" fmla="*/ 1351 h 1455"/>
                    <a:gd name="T70" fmla="*/ 1185 w 1906"/>
                    <a:gd name="T71" fmla="*/ 1296 h 1455"/>
                    <a:gd name="T72" fmla="*/ 1241 w 1906"/>
                    <a:gd name="T73" fmla="*/ 1328 h 1455"/>
                    <a:gd name="T74" fmla="*/ 1296 w 1906"/>
                    <a:gd name="T75" fmla="*/ 1257 h 1455"/>
                    <a:gd name="T76" fmla="*/ 1233 w 1906"/>
                    <a:gd name="T77" fmla="*/ 1225 h 1455"/>
                    <a:gd name="T78" fmla="*/ 1328 w 1906"/>
                    <a:gd name="T79" fmla="*/ 1201 h 1455"/>
                    <a:gd name="T80" fmla="*/ 1478 w 1906"/>
                    <a:gd name="T81" fmla="*/ 1107 h 1455"/>
                    <a:gd name="T82" fmla="*/ 1510 w 1906"/>
                    <a:gd name="T83" fmla="*/ 1043 h 1455"/>
                    <a:gd name="T84" fmla="*/ 1541 w 1906"/>
                    <a:gd name="T85" fmla="*/ 1027 h 1455"/>
                    <a:gd name="T86" fmla="*/ 1589 w 1906"/>
                    <a:gd name="T87" fmla="*/ 909 h 1455"/>
                    <a:gd name="T88" fmla="*/ 1660 w 1906"/>
                    <a:gd name="T89" fmla="*/ 901 h 1455"/>
                    <a:gd name="T90" fmla="*/ 1699 w 1906"/>
                    <a:gd name="T91" fmla="*/ 782 h 1455"/>
                    <a:gd name="T92" fmla="*/ 1707 w 1906"/>
                    <a:gd name="T93" fmla="*/ 759 h 1455"/>
                    <a:gd name="T94" fmla="*/ 1850 w 1906"/>
                    <a:gd name="T95" fmla="*/ 474 h 1455"/>
                    <a:gd name="T96" fmla="*/ 964 w 1906"/>
                    <a:gd name="T97" fmla="*/ 150 h 1455"/>
                    <a:gd name="T98" fmla="*/ 877 w 1906"/>
                    <a:gd name="T99" fmla="*/ 47 h 1455"/>
                    <a:gd name="T100" fmla="*/ 822 w 1906"/>
                    <a:gd name="T101" fmla="*/ 8 h 1455"/>
                    <a:gd name="T102" fmla="*/ 150 w 1906"/>
                    <a:gd name="T103" fmla="*/ 181 h 1455"/>
                    <a:gd name="T104" fmla="*/ 15 w 1906"/>
                    <a:gd name="T105" fmla="*/ 300 h 1455"/>
                    <a:gd name="T106" fmla="*/ 110 w 1906"/>
                    <a:gd name="T107" fmla="*/ 443 h 14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906" h="1455">
                      <a:moveTo>
                        <a:pt x="1162" y="1454"/>
                      </a:moveTo>
                      <a:lnTo>
                        <a:pt x="1162" y="1454"/>
                      </a:lnTo>
                      <a:cubicBezTo>
                        <a:pt x="1130" y="1454"/>
                        <a:pt x="1059" y="1454"/>
                        <a:pt x="1035" y="1438"/>
                      </a:cubicBezTo>
                      <a:cubicBezTo>
                        <a:pt x="1012" y="1423"/>
                        <a:pt x="1012" y="1399"/>
                        <a:pt x="1020" y="1375"/>
                      </a:cubicBezTo>
                      <a:cubicBezTo>
                        <a:pt x="1027" y="1360"/>
                        <a:pt x="1027" y="1351"/>
                        <a:pt x="1020" y="1344"/>
                      </a:cubicBezTo>
                      <a:cubicBezTo>
                        <a:pt x="1012" y="1336"/>
                        <a:pt x="996" y="1312"/>
                        <a:pt x="980" y="1296"/>
                      </a:cubicBezTo>
                      <a:cubicBezTo>
                        <a:pt x="972" y="1280"/>
                        <a:pt x="972" y="1272"/>
                        <a:pt x="964" y="1265"/>
                      </a:cubicBezTo>
                      <a:cubicBezTo>
                        <a:pt x="948" y="1249"/>
                        <a:pt x="940" y="1241"/>
                        <a:pt x="925" y="1233"/>
                      </a:cubicBezTo>
                      <a:cubicBezTo>
                        <a:pt x="917" y="1233"/>
                        <a:pt x="909" y="1225"/>
                        <a:pt x="901" y="1225"/>
                      </a:cubicBezTo>
                      <a:cubicBezTo>
                        <a:pt x="877" y="1209"/>
                        <a:pt x="885" y="1185"/>
                        <a:pt x="885" y="1162"/>
                      </a:cubicBezTo>
                      <a:cubicBezTo>
                        <a:pt x="885" y="1154"/>
                        <a:pt x="885" y="1146"/>
                        <a:pt x="885" y="1138"/>
                      </a:cubicBezTo>
                      <a:cubicBezTo>
                        <a:pt x="877" y="1122"/>
                        <a:pt x="830" y="1059"/>
                        <a:pt x="806" y="1035"/>
                      </a:cubicBezTo>
                      <a:cubicBezTo>
                        <a:pt x="798" y="1035"/>
                        <a:pt x="798" y="1035"/>
                        <a:pt x="790" y="1027"/>
                      </a:cubicBezTo>
                      <a:cubicBezTo>
                        <a:pt x="767" y="1012"/>
                        <a:pt x="743" y="996"/>
                        <a:pt x="703" y="964"/>
                      </a:cubicBezTo>
                      <a:cubicBezTo>
                        <a:pt x="664" y="933"/>
                        <a:pt x="656" y="909"/>
                        <a:pt x="648" y="893"/>
                      </a:cubicBezTo>
                      <a:cubicBezTo>
                        <a:pt x="640" y="885"/>
                        <a:pt x="640" y="877"/>
                        <a:pt x="632" y="861"/>
                      </a:cubicBezTo>
                      <a:cubicBezTo>
                        <a:pt x="608" y="838"/>
                        <a:pt x="585" y="830"/>
                        <a:pt x="553" y="822"/>
                      </a:cubicBezTo>
                      <a:cubicBezTo>
                        <a:pt x="521" y="806"/>
                        <a:pt x="498" y="798"/>
                        <a:pt x="466" y="751"/>
                      </a:cubicBezTo>
                      <a:cubicBezTo>
                        <a:pt x="434" y="711"/>
                        <a:pt x="419" y="703"/>
                        <a:pt x="371" y="687"/>
                      </a:cubicBezTo>
                      <a:cubicBezTo>
                        <a:pt x="316" y="664"/>
                        <a:pt x="268" y="593"/>
                        <a:pt x="229" y="529"/>
                      </a:cubicBezTo>
                      <a:cubicBezTo>
                        <a:pt x="221" y="521"/>
                        <a:pt x="221" y="506"/>
                        <a:pt x="213" y="498"/>
                      </a:cubicBezTo>
                      <a:cubicBezTo>
                        <a:pt x="197" y="466"/>
                        <a:pt x="190" y="450"/>
                        <a:pt x="174" y="450"/>
                      </a:cubicBezTo>
                      <a:cubicBezTo>
                        <a:pt x="166" y="450"/>
                        <a:pt x="158" y="450"/>
                        <a:pt x="150" y="458"/>
                      </a:cubicBezTo>
                      <a:cubicBezTo>
                        <a:pt x="142" y="458"/>
                        <a:pt x="134" y="458"/>
                        <a:pt x="126" y="458"/>
                      </a:cubicBezTo>
                      <a:cubicBezTo>
                        <a:pt x="118" y="458"/>
                        <a:pt x="110" y="458"/>
                        <a:pt x="110" y="450"/>
                      </a:cubicBezTo>
                      <a:cubicBezTo>
                        <a:pt x="95" y="434"/>
                        <a:pt x="55" y="403"/>
                        <a:pt x="31" y="387"/>
                      </a:cubicBezTo>
                      <a:cubicBezTo>
                        <a:pt x="23" y="387"/>
                        <a:pt x="23" y="387"/>
                        <a:pt x="15" y="379"/>
                      </a:cubicBezTo>
                      <a:cubicBezTo>
                        <a:pt x="0" y="371"/>
                        <a:pt x="8" y="340"/>
                        <a:pt x="8" y="308"/>
                      </a:cubicBezTo>
                      <a:cubicBezTo>
                        <a:pt x="8" y="300"/>
                        <a:pt x="8" y="300"/>
                        <a:pt x="8" y="300"/>
                      </a:cubicBezTo>
                      <a:cubicBezTo>
                        <a:pt x="8" y="268"/>
                        <a:pt x="47" y="253"/>
                        <a:pt x="63" y="237"/>
                      </a:cubicBezTo>
                      <a:cubicBezTo>
                        <a:pt x="71" y="229"/>
                        <a:pt x="71" y="229"/>
                        <a:pt x="71" y="229"/>
                      </a:cubicBezTo>
                      <a:cubicBezTo>
                        <a:pt x="79" y="229"/>
                        <a:pt x="79" y="221"/>
                        <a:pt x="79" y="213"/>
                      </a:cubicBezTo>
                      <a:lnTo>
                        <a:pt x="79" y="213"/>
                      </a:lnTo>
                      <a:cubicBezTo>
                        <a:pt x="79" y="205"/>
                        <a:pt x="79" y="205"/>
                        <a:pt x="79" y="205"/>
                      </a:cubicBezTo>
                      <a:cubicBezTo>
                        <a:pt x="110" y="205"/>
                        <a:pt x="126" y="190"/>
                        <a:pt x="150" y="174"/>
                      </a:cubicBezTo>
                      <a:cubicBezTo>
                        <a:pt x="158" y="166"/>
                        <a:pt x="166" y="158"/>
                        <a:pt x="181" y="150"/>
                      </a:cubicBezTo>
                      <a:cubicBezTo>
                        <a:pt x="229" y="126"/>
                        <a:pt x="371" y="55"/>
                        <a:pt x="411" y="47"/>
                      </a:cubicBezTo>
                      <a:cubicBezTo>
                        <a:pt x="434" y="39"/>
                        <a:pt x="727" y="0"/>
                        <a:pt x="806" y="0"/>
                      </a:cubicBezTo>
                      <a:cubicBezTo>
                        <a:pt x="822" y="0"/>
                        <a:pt x="830" y="0"/>
                        <a:pt x="830" y="8"/>
                      </a:cubicBezTo>
                      <a:cubicBezTo>
                        <a:pt x="830" y="15"/>
                        <a:pt x="830" y="15"/>
                        <a:pt x="830" y="23"/>
                      </a:cubicBezTo>
                      <a:lnTo>
                        <a:pt x="830" y="31"/>
                      </a:lnTo>
                      <a:cubicBezTo>
                        <a:pt x="830" y="31"/>
                        <a:pt x="838" y="31"/>
                        <a:pt x="854" y="39"/>
                      </a:cubicBezTo>
                      <a:cubicBezTo>
                        <a:pt x="861" y="39"/>
                        <a:pt x="869" y="39"/>
                        <a:pt x="877" y="39"/>
                      </a:cubicBezTo>
                      <a:cubicBezTo>
                        <a:pt x="885" y="39"/>
                        <a:pt x="885" y="39"/>
                        <a:pt x="893" y="39"/>
                      </a:cubicBezTo>
                      <a:cubicBezTo>
                        <a:pt x="909" y="39"/>
                        <a:pt x="917" y="39"/>
                        <a:pt x="925" y="47"/>
                      </a:cubicBezTo>
                      <a:cubicBezTo>
                        <a:pt x="940" y="63"/>
                        <a:pt x="964" y="126"/>
                        <a:pt x="964" y="142"/>
                      </a:cubicBezTo>
                      <a:cubicBezTo>
                        <a:pt x="1407" y="71"/>
                        <a:pt x="1407" y="71"/>
                        <a:pt x="1407" y="71"/>
                      </a:cubicBezTo>
                      <a:lnTo>
                        <a:pt x="1407" y="71"/>
                      </a:lnTo>
                      <a:cubicBezTo>
                        <a:pt x="1905" y="443"/>
                        <a:pt x="1905" y="443"/>
                        <a:pt x="1905" y="443"/>
                      </a:cubicBezTo>
                      <a:cubicBezTo>
                        <a:pt x="1897" y="443"/>
                        <a:pt x="1897" y="443"/>
                        <a:pt x="1897" y="443"/>
                      </a:cubicBezTo>
                      <a:cubicBezTo>
                        <a:pt x="1889" y="450"/>
                        <a:pt x="1881" y="458"/>
                        <a:pt x="1881" y="466"/>
                      </a:cubicBezTo>
                      <a:cubicBezTo>
                        <a:pt x="1873" y="474"/>
                        <a:pt x="1865" y="482"/>
                        <a:pt x="1850" y="482"/>
                      </a:cubicBezTo>
                      <a:cubicBezTo>
                        <a:pt x="1834" y="490"/>
                        <a:pt x="1715" y="711"/>
                        <a:pt x="1723" y="743"/>
                      </a:cubicBezTo>
                      <a:cubicBezTo>
                        <a:pt x="1723" y="751"/>
                        <a:pt x="1723" y="759"/>
                        <a:pt x="1715" y="767"/>
                      </a:cubicBezTo>
                      <a:cubicBezTo>
                        <a:pt x="1715" y="767"/>
                        <a:pt x="1715" y="767"/>
                        <a:pt x="1707" y="767"/>
                      </a:cubicBezTo>
                      <a:cubicBezTo>
                        <a:pt x="1707" y="767"/>
                        <a:pt x="1707" y="767"/>
                        <a:pt x="1699" y="767"/>
                      </a:cubicBezTo>
                      <a:lnTo>
                        <a:pt x="1691" y="767"/>
                      </a:lnTo>
                      <a:lnTo>
                        <a:pt x="1691" y="767"/>
                      </a:lnTo>
                      <a:lnTo>
                        <a:pt x="1691" y="767"/>
                      </a:lnTo>
                      <a:cubicBezTo>
                        <a:pt x="1699" y="767"/>
                        <a:pt x="1699" y="774"/>
                        <a:pt x="1707" y="782"/>
                      </a:cubicBezTo>
                      <a:cubicBezTo>
                        <a:pt x="1707" y="790"/>
                        <a:pt x="1715" y="798"/>
                        <a:pt x="1715" y="814"/>
                      </a:cubicBezTo>
                      <a:cubicBezTo>
                        <a:pt x="1707" y="830"/>
                        <a:pt x="1699" y="838"/>
                        <a:pt x="1691" y="845"/>
                      </a:cubicBezTo>
                      <a:cubicBezTo>
                        <a:pt x="1676" y="861"/>
                        <a:pt x="1676" y="861"/>
                        <a:pt x="1676" y="877"/>
                      </a:cubicBezTo>
                      <a:cubicBezTo>
                        <a:pt x="1668" y="885"/>
                        <a:pt x="1668" y="893"/>
                        <a:pt x="1660" y="909"/>
                      </a:cubicBezTo>
                      <a:cubicBezTo>
                        <a:pt x="1660" y="917"/>
                        <a:pt x="1652" y="925"/>
                        <a:pt x="1644" y="925"/>
                      </a:cubicBezTo>
                      <a:cubicBezTo>
                        <a:pt x="1636" y="925"/>
                        <a:pt x="1628" y="917"/>
                        <a:pt x="1620" y="917"/>
                      </a:cubicBezTo>
                      <a:cubicBezTo>
                        <a:pt x="1613" y="917"/>
                        <a:pt x="1613" y="909"/>
                        <a:pt x="1604" y="917"/>
                      </a:cubicBezTo>
                      <a:cubicBezTo>
                        <a:pt x="1597" y="917"/>
                        <a:pt x="1597" y="917"/>
                        <a:pt x="1597" y="917"/>
                      </a:cubicBezTo>
                      <a:cubicBezTo>
                        <a:pt x="1589" y="917"/>
                        <a:pt x="1589" y="933"/>
                        <a:pt x="1597" y="940"/>
                      </a:cubicBezTo>
                      <a:cubicBezTo>
                        <a:pt x="1597" y="948"/>
                        <a:pt x="1597" y="956"/>
                        <a:pt x="1597" y="964"/>
                      </a:cubicBezTo>
                      <a:cubicBezTo>
                        <a:pt x="1597" y="972"/>
                        <a:pt x="1581" y="988"/>
                        <a:pt x="1573" y="996"/>
                      </a:cubicBezTo>
                      <a:cubicBezTo>
                        <a:pt x="1565" y="1012"/>
                        <a:pt x="1549" y="1020"/>
                        <a:pt x="1549" y="1027"/>
                      </a:cubicBezTo>
                      <a:cubicBezTo>
                        <a:pt x="1549" y="1043"/>
                        <a:pt x="1549" y="1051"/>
                        <a:pt x="1533" y="1051"/>
                      </a:cubicBezTo>
                      <a:lnTo>
                        <a:pt x="1533" y="1051"/>
                      </a:lnTo>
                      <a:cubicBezTo>
                        <a:pt x="1533" y="1043"/>
                        <a:pt x="1525" y="1043"/>
                        <a:pt x="1518" y="1051"/>
                      </a:cubicBezTo>
                      <a:lnTo>
                        <a:pt x="1510" y="1051"/>
                      </a:lnTo>
                      <a:cubicBezTo>
                        <a:pt x="1502" y="1051"/>
                        <a:pt x="1502" y="1051"/>
                        <a:pt x="1494" y="1059"/>
                      </a:cubicBezTo>
                      <a:lnTo>
                        <a:pt x="1494" y="1059"/>
                      </a:lnTo>
                      <a:cubicBezTo>
                        <a:pt x="1486" y="1067"/>
                        <a:pt x="1486" y="1075"/>
                        <a:pt x="1486" y="1083"/>
                      </a:cubicBezTo>
                      <a:cubicBezTo>
                        <a:pt x="1494" y="1091"/>
                        <a:pt x="1494" y="1098"/>
                        <a:pt x="1486" y="1114"/>
                      </a:cubicBezTo>
                      <a:cubicBezTo>
                        <a:pt x="1478" y="1130"/>
                        <a:pt x="1470" y="1138"/>
                        <a:pt x="1454" y="1138"/>
                      </a:cubicBezTo>
                      <a:cubicBezTo>
                        <a:pt x="1446" y="1138"/>
                        <a:pt x="1438" y="1146"/>
                        <a:pt x="1423" y="1146"/>
                      </a:cubicBezTo>
                      <a:cubicBezTo>
                        <a:pt x="1407" y="1154"/>
                        <a:pt x="1391" y="1170"/>
                        <a:pt x="1375" y="1185"/>
                      </a:cubicBezTo>
                      <a:cubicBezTo>
                        <a:pt x="1360" y="1193"/>
                        <a:pt x="1344" y="1201"/>
                        <a:pt x="1336" y="1209"/>
                      </a:cubicBezTo>
                      <a:cubicBezTo>
                        <a:pt x="1320" y="1209"/>
                        <a:pt x="1312" y="1209"/>
                        <a:pt x="1304" y="1209"/>
                      </a:cubicBezTo>
                      <a:cubicBezTo>
                        <a:pt x="1296" y="1209"/>
                        <a:pt x="1288" y="1201"/>
                        <a:pt x="1280" y="1201"/>
                      </a:cubicBezTo>
                      <a:lnTo>
                        <a:pt x="1280" y="1201"/>
                      </a:lnTo>
                      <a:cubicBezTo>
                        <a:pt x="1257" y="1201"/>
                        <a:pt x="1241" y="1217"/>
                        <a:pt x="1241" y="1225"/>
                      </a:cubicBezTo>
                      <a:cubicBezTo>
                        <a:pt x="1241" y="1233"/>
                        <a:pt x="1241" y="1233"/>
                        <a:pt x="1257" y="1233"/>
                      </a:cubicBezTo>
                      <a:cubicBezTo>
                        <a:pt x="1265" y="1233"/>
                        <a:pt x="1273" y="1233"/>
                        <a:pt x="1280" y="1241"/>
                      </a:cubicBezTo>
                      <a:cubicBezTo>
                        <a:pt x="1296" y="1241"/>
                        <a:pt x="1304" y="1241"/>
                        <a:pt x="1304" y="1249"/>
                      </a:cubicBezTo>
                      <a:lnTo>
                        <a:pt x="1304" y="1257"/>
                      </a:lnTo>
                      <a:cubicBezTo>
                        <a:pt x="1304" y="1265"/>
                        <a:pt x="1304" y="1265"/>
                        <a:pt x="1304" y="1272"/>
                      </a:cubicBezTo>
                      <a:cubicBezTo>
                        <a:pt x="1304" y="1296"/>
                        <a:pt x="1288" y="1320"/>
                        <a:pt x="1265" y="1328"/>
                      </a:cubicBezTo>
                      <a:cubicBezTo>
                        <a:pt x="1257" y="1336"/>
                        <a:pt x="1249" y="1336"/>
                        <a:pt x="1249" y="1336"/>
                      </a:cubicBezTo>
                      <a:cubicBezTo>
                        <a:pt x="1241" y="1336"/>
                        <a:pt x="1241" y="1336"/>
                        <a:pt x="1233" y="1328"/>
                      </a:cubicBezTo>
                      <a:cubicBezTo>
                        <a:pt x="1233" y="1328"/>
                        <a:pt x="1233" y="1320"/>
                        <a:pt x="1233" y="1312"/>
                      </a:cubicBezTo>
                      <a:cubicBezTo>
                        <a:pt x="1225" y="1312"/>
                        <a:pt x="1225" y="1312"/>
                        <a:pt x="1225" y="1312"/>
                      </a:cubicBezTo>
                      <a:cubicBezTo>
                        <a:pt x="1217" y="1304"/>
                        <a:pt x="1217" y="1304"/>
                        <a:pt x="1209" y="1304"/>
                      </a:cubicBezTo>
                      <a:cubicBezTo>
                        <a:pt x="1201" y="1304"/>
                        <a:pt x="1201" y="1304"/>
                        <a:pt x="1185" y="1304"/>
                      </a:cubicBezTo>
                      <a:cubicBezTo>
                        <a:pt x="1178" y="1312"/>
                        <a:pt x="1178" y="1312"/>
                        <a:pt x="1178" y="1312"/>
                      </a:cubicBezTo>
                      <a:cubicBezTo>
                        <a:pt x="1178" y="1312"/>
                        <a:pt x="1185" y="1320"/>
                        <a:pt x="1185" y="1328"/>
                      </a:cubicBezTo>
                      <a:cubicBezTo>
                        <a:pt x="1193" y="1328"/>
                        <a:pt x="1201" y="1336"/>
                        <a:pt x="1201" y="1336"/>
                      </a:cubicBezTo>
                      <a:cubicBezTo>
                        <a:pt x="1209" y="1344"/>
                        <a:pt x="1209" y="1344"/>
                        <a:pt x="1217" y="1351"/>
                      </a:cubicBezTo>
                      <a:cubicBezTo>
                        <a:pt x="1217" y="1351"/>
                        <a:pt x="1225" y="1360"/>
                        <a:pt x="1233" y="1375"/>
                      </a:cubicBezTo>
                      <a:cubicBezTo>
                        <a:pt x="1233" y="1383"/>
                        <a:pt x="1233" y="1383"/>
                        <a:pt x="1225" y="1391"/>
                      </a:cubicBezTo>
                      <a:cubicBezTo>
                        <a:pt x="1225" y="1399"/>
                        <a:pt x="1209" y="1407"/>
                        <a:pt x="1193" y="1407"/>
                      </a:cubicBezTo>
                      <a:cubicBezTo>
                        <a:pt x="1185" y="1407"/>
                        <a:pt x="1185" y="1407"/>
                        <a:pt x="1185" y="1407"/>
                      </a:cubicBezTo>
                      <a:cubicBezTo>
                        <a:pt x="1162" y="1415"/>
                        <a:pt x="1162" y="1438"/>
                        <a:pt x="1170" y="1446"/>
                      </a:cubicBezTo>
                      <a:lnTo>
                        <a:pt x="1170" y="1446"/>
                      </a:lnTo>
                      <a:cubicBezTo>
                        <a:pt x="1178" y="1454"/>
                        <a:pt x="1178" y="1454"/>
                        <a:pt x="1178" y="1454"/>
                      </a:cubicBezTo>
                      <a:lnTo>
                        <a:pt x="1162" y="1454"/>
                      </a:lnTo>
                      <a:close/>
                      <a:moveTo>
                        <a:pt x="174" y="443"/>
                      </a:moveTo>
                      <a:lnTo>
                        <a:pt x="174" y="443"/>
                      </a:lnTo>
                      <a:cubicBezTo>
                        <a:pt x="190" y="443"/>
                        <a:pt x="205" y="466"/>
                        <a:pt x="221" y="498"/>
                      </a:cubicBezTo>
                      <a:cubicBezTo>
                        <a:pt x="229" y="506"/>
                        <a:pt x="229" y="514"/>
                        <a:pt x="237" y="521"/>
                      </a:cubicBezTo>
                      <a:cubicBezTo>
                        <a:pt x="268" y="577"/>
                        <a:pt x="324" y="656"/>
                        <a:pt x="371" y="680"/>
                      </a:cubicBezTo>
                      <a:cubicBezTo>
                        <a:pt x="419" y="695"/>
                        <a:pt x="434" y="703"/>
                        <a:pt x="466" y="751"/>
                      </a:cubicBezTo>
                      <a:cubicBezTo>
                        <a:pt x="498" y="790"/>
                        <a:pt x="521" y="798"/>
                        <a:pt x="553" y="814"/>
                      </a:cubicBezTo>
                      <a:cubicBezTo>
                        <a:pt x="592" y="822"/>
                        <a:pt x="616" y="830"/>
                        <a:pt x="640" y="861"/>
                      </a:cubicBezTo>
                      <a:cubicBezTo>
                        <a:pt x="640" y="869"/>
                        <a:pt x="648" y="877"/>
                        <a:pt x="648" y="885"/>
                      </a:cubicBezTo>
                      <a:cubicBezTo>
                        <a:pt x="664" y="909"/>
                        <a:pt x="672" y="925"/>
                        <a:pt x="703" y="956"/>
                      </a:cubicBezTo>
                      <a:cubicBezTo>
                        <a:pt x="751" y="988"/>
                        <a:pt x="774" y="1004"/>
                        <a:pt x="798" y="1020"/>
                      </a:cubicBezTo>
                      <a:cubicBezTo>
                        <a:pt x="798" y="1027"/>
                        <a:pt x="806" y="1027"/>
                        <a:pt x="806" y="1035"/>
                      </a:cubicBezTo>
                      <a:cubicBezTo>
                        <a:pt x="838" y="1051"/>
                        <a:pt x="885" y="1114"/>
                        <a:pt x="893" y="1138"/>
                      </a:cubicBezTo>
                      <a:cubicBezTo>
                        <a:pt x="893" y="1146"/>
                        <a:pt x="893" y="1154"/>
                        <a:pt x="893" y="1162"/>
                      </a:cubicBezTo>
                      <a:cubicBezTo>
                        <a:pt x="885" y="1185"/>
                        <a:pt x="885" y="1201"/>
                        <a:pt x="901" y="1217"/>
                      </a:cubicBezTo>
                      <a:cubicBezTo>
                        <a:pt x="909" y="1225"/>
                        <a:pt x="917" y="1225"/>
                        <a:pt x="925" y="1233"/>
                      </a:cubicBezTo>
                      <a:cubicBezTo>
                        <a:pt x="940" y="1233"/>
                        <a:pt x="956" y="1241"/>
                        <a:pt x="964" y="1257"/>
                      </a:cubicBezTo>
                      <a:cubicBezTo>
                        <a:pt x="972" y="1265"/>
                        <a:pt x="980" y="1280"/>
                        <a:pt x="988" y="1288"/>
                      </a:cubicBezTo>
                      <a:cubicBezTo>
                        <a:pt x="1004" y="1312"/>
                        <a:pt x="1012" y="1336"/>
                        <a:pt x="1027" y="1344"/>
                      </a:cubicBezTo>
                      <a:cubicBezTo>
                        <a:pt x="1035" y="1344"/>
                        <a:pt x="1035" y="1360"/>
                        <a:pt x="1027" y="1375"/>
                      </a:cubicBezTo>
                      <a:cubicBezTo>
                        <a:pt x="1020" y="1399"/>
                        <a:pt x="1020" y="1423"/>
                        <a:pt x="1035" y="1431"/>
                      </a:cubicBezTo>
                      <a:cubicBezTo>
                        <a:pt x="1059" y="1446"/>
                        <a:pt x="1130" y="1446"/>
                        <a:pt x="1162" y="1446"/>
                      </a:cubicBezTo>
                      <a:lnTo>
                        <a:pt x="1162" y="1446"/>
                      </a:lnTo>
                      <a:cubicBezTo>
                        <a:pt x="1154" y="1438"/>
                        <a:pt x="1154" y="1407"/>
                        <a:pt x="1178" y="1399"/>
                      </a:cubicBezTo>
                      <a:cubicBezTo>
                        <a:pt x="1185" y="1399"/>
                        <a:pt x="1185" y="1399"/>
                        <a:pt x="1193" y="1399"/>
                      </a:cubicBezTo>
                      <a:cubicBezTo>
                        <a:pt x="1201" y="1399"/>
                        <a:pt x="1217" y="1391"/>
                        <a:pt x="1225" y="1391"/>
                      </a:cubicBezTo>
                      <a:cubicBezTo>
                        <a:pt x="1225" y="1383"/>
                        <a:pt x="1225" y="1383"/>
                        <a:pt x="1225" y="1375"/>
                      </a:cubicBezTo>
                      <a:cubicBezTo>
                        <a:pt x="1217" y="1360"/>
                        <a:pt x="1217" y="1360"/>
                        <a:pt x="1209" y="1351"/>
                      </a:cubicBezTo>
                      <a:cubicBezTo>
                        <a:pt x="1209" y="1351"/>
                        <a:pt x="1201" y="1351"/>
                        <a:pt x="1193" y="1344"/>
                      </a:cubicBezTo>
                      <a:cubicBezTo>
                        <a:pt x="1193" y="1336"/>
                        <a:pt x="1185" y="1336"/>
                        <a:pt x="1185" y="1328"/>
                      </a:cubicBezTo>
                      <a:cubicBezTo>
                        <a:pt x="1178" y="1320"/>
                        <a:pt x="1170" y="1320"/>
                        <a:pt x="1170" y="1312"/>
                      </a:cubicBezTo>
                      <a:cubicBezTo>
                        <a:pt x="1170" y="1304"/>
                        <a:pt x="1178" y="1304"/>
                        <a:pt x="1185" y="1296"/>
                      </a:cubicBezTo>
                      <a:cubicBezTo>
                        <a:pt x="1193" y="1296"/>
                        <a:pt x="1201" y="1296"/>
                        <a:pt x="1209" y="1296"/>
                      </a:cubicBezTo>
                      <a:cubicBezTo>
                        <a:pt x="1217" y="1296"/>
                        <a:pt x="1225" y="1296"/>
                        <a:pt x="1233" y="1312"/>
                      </a:cubicBezTo>
                      <a:lnTo>
                        <a:pt x="1233" y="1312"/>
                      </a:lnTo>
                      <a:cubicBezTo>
                        <a:pt x="1241" y="1320"/>
                        <a:pt x="1241" y="1320"/>
                        <a:pt x="1241" y="1328"/>
                      </a:cubicBezTo>
                      <a:lnTo>
                        <a:pt x="1249" y="1328"/>
                      </a:lnTo>
                      <a:lnTo>
                        <a:pt x="1257" y="1328"/>
                      </a:lnTo>
                      <a:cubicBezTo>
                        <a:pt x="1280" y="1312"/>
                        <a:pt x="1296" y="1296"/>
                        <a:pt x="1296" y="1272"/>
                      </a:cubicBezTo>
                      <a:cubicBezTo>
                        <a:pt x="1296" y="1265"/>
                        <a:pt x="1296" y="1265"/>
                        <a:pt x="1296" y="1257"/>
                      </a:cubicBezTo>
                      <a:lnTo>
                        <a:pt x="1296" y="1249"/>
                      </a:lnTo>
                      <a:cubicBezTo>
                        <a:pt x="1296" y="1249"/>
                        <a:pt x="1288" y="1249"/>
                        <a:pt x="1280" y="1249"/>
                      </a:cubicBezTo>
                      <a:cubicBezTo>
                        <a:pt x="1273" y="1241"/>
                        <a:pt x="1265" y="1241"/>
                        <a:pt x="1257" y="1241"/>
                      </a:cubicBezTo>
                      <a:cubicBezTo>
                        <a:pt x="1241" y="1241"/>
                        <a:pt x="1233" y="1241"/>
                        <a:pt x="1233" y="1225"/>
                      </a:cubicBezTo>
                      <a:cubicBezTo>
                        <a:pt x="1233" y="1217"/>
                        <a:pt x="1257" y="1193"/>
                        <a:pt x="1280" y="1193"/>
                      </a:cubicBezTo>
                      <a:cubicBezTo>
                        <a:pt x="1280" y="1193"/>
                        <a:pt x="1280" y="1193"/>
                        <a:pt x="1288" y="1193"/>
                      </a:cubicBezTo>
                      <a:cubicBezTo>
                        <a:pt x="1296" y="1201"/>
                        <a:pt x="1296" y="1201"/>
                        <a:pt x="1304" y="1201"/>
                      </a:cubicBezTo>
                      <a:cubicBezTo>
                        <a:pt x="1312" y="1201"/>
                        <a:pt x="1320" y="1209"/>
                        <a:pt x="1328" y="1201"/>
                      </a:cubicBezTo>
                      <a:cubicBezTo>
                        <a:pt x="1336" y="1193"/>
                        <a:pt x="1351" y="1185"/>
                        <a:pt x="1367" y="1178"/>
                      </a:cubicBezTo>
                      <a:cubicBezTo>
                        <a:pt x="1383" y="1162"/>
                        <a:pt x="1407" y="1146"/>
                        <a:pt x="1423" y="1146"/>
                      </a:cubicBezTo>
                      <a:cubicBezTo>
                        <a:pt x="1431" y="1138"/>
                        <a:pt x="1438" y="1138"/>
                        <a:pt x="1454" y="1130"/>
                      </a:cubicBezTo>
                      <a:cubicBezTo>
                        <a:pt x="1462" y="1130"/>
                        <a:pt x="1478" y="1122"/>
                        <a:pt x="1478" y="1107"/>
                      </a:cubicBezTo>
                      <a:cubicBezTo>
                        <a:pt x="1486" y="1098"/>
                        <a:pt x="1486" y="1091"/>
                        <a:pt x="1486" y="1083"/>
                      </a:cubicBezTo>
                      <a:cubicBezTo>
                        <a:pt x="1478" y="1075"/>
                        <a:pt x="1478" y="1067"/>
                        <a:pt x="1486" y="1059"/>
                      </a:cubicBezTo>
                      <a:cubicBezTo>
                        <a:pt x="1494" y="1051"/>
                        <a:pt x="1494" y="1051"/>
                        <a:pt x="1494" y="1051"/>
                      </a:cubicBezTo>
                      <a:cubicBezTo>
                        <a:pt x="1494" y="1043"/>
                        <a:pt x="1502" y="1043"/>
                        <a:pt x="1510" y="1043"/>
                      </a:cubicBezTo>
                      <a:lnTo>
                        <a:pt x="1518" y="1043"/>
                      </a:lnTo>
                      <a:cubicBezTo>
                        <a:pt x="1525" y="1043"/>
                        <a:pt x="1533" y="1043"/>
                        <a:pt x="1533" y="1043"/>
                      </a:cubicBezTo>
                      <a:lnTo>
                        <a:pt x="1533" y="1043"/>
                      </a:lnTo>
                      <a:cubicBezTo>
                        <a:pt x="1541" y="1043"/>
                        <a:pt x="1541" y="1043"/>
                        <a:pt x="1541" y="1027"/>
                      </a:cubicBezTo>
                      <a:cubicBezTo>
                        <a:pt x="1541" y="1012"/>
                        <a:pt x="1557" y="1004"/>
                        <a:pt x="1565" y="996"/>
                      </a:cubicBezTo>
                      <a:cubicBezTo>
                        <a:pt x="1581" y="980"/>
                        <a:pt x="1589" y="972"/>
                        <a:pt x="1589" y="964"/>
                      </a:cubicBezTo>
                      <a:cubicBezTo>
                        <a:pt x="1589" y="956"/>
                        <a:pt x="1589" y="948"/>
                        <a:pt x="1589" y="940"/>
                      </a:cubicBezTo>
                      <a:cubicBezTo>
                        <a:pt x="1581" y="925"/>
                        <a:pt x="1581" y="917"/>
                        <a:pt x="1589" y="909"/>
                      </a:cubicBezTo>
                      <a:lnTo>
                        <a:pt x="1597" y="909"/>
                      </a:lnTo>
                      <a:cubicBezTo>
                        <a:pt x="1613" y="909"/>
                        <a:pt x="1620" y="909"/>
                        <a:pt x="1628" y="909"/>
                      </a:cubicBezTo>
                      <a:cubicBezTo>
                        <a:pt x="1628" y="917"/>
                        <a:pt x="1636" y="917"/>
                        <a:pt x="1644" y="917"/>
                      </a:cubicBezTo>
                      <a:cubicBezTo>
                        <a:pt x="1644" y="917"/>
                        <a:pt x="1652" y="917"/>
                        <a:pt x="1660" y="901"/>
                      </a:cubicBezTo>
                      <a:cubicBezTo>
                        <a:pt x="1660" y="893"/>
                        <a:pt x="1668" y="885"/>
                        <a:pt x="1668" y="877"/>
                      </a:cubicBezTo>
                      <a:cubicBezTo>
                        <a:pt x="1668" y="861"/>
                        <a:pt x="1676" y="854"/>
                        <a:pt x="1684" y="845"/>
                      </a:cubicBezTo>
                      <a:cubicBezTo>
                        <a:pt x="1699" y="838"/>
                        <a:pt x="1699" y="822"/>
                        <a:pt x="1707" y="814"/>
                      </a:cubicBezTo>
                      <a:cubicBezTo>
                        <a:pt x="1707" y="798"/>
                        <a:pt x="1707" y="790"/>
                        <a:pt x="1699" y="782"/>
                      </a:cubicBezTo>
                      <a:cubicBezTo>
                        <a:pt x="1691" y="782"/>
                        <a:pt x="1691" y="774"/>
                        <a:pt x="1684" y="774"/>
                      </a:cubicBezTo>
                      <a:cubicBezTo>
                        <a:pt x="1684" y="767"/>
                        <a:pt x="1676" y="767"/>
                        <a:pt x="1684" y="759"/>
                      </a:cubicBezTo>
                      <a:cubicBezTo>
                        <a:pt x="1684" y="759"/>
                        <a:pt x="1684" y="759"/>
                        <a:pt x="1691" y="759"/>
                      </a:cubicBezTo>
                      <a:cubicBezTo>
                        <a:pt x="1699" y="759"/>
                        <a:pt x="1699" y="759"/>
                        <a:pt x="1707" y="759"/>
                      </a:cubicBezTo>
                      <a:lnTo>
                        <a:pt x="1707" y="759"/>
                      </a:lnTo>
                      <a:cubicBezTo>
                        <a:pt x="1715" y="759"/>
                        <a:pt x="1715" y="759"/>
                        <a:pt x="1715" y="759"/>
                      </a:cubicBezTo>
                      <a:cubicBezTo>
                        <a:pt x="1715" y="759"/>
                        <a:pt x="1715" y="751"/>
                        <a:pt x="1715" y="743"/>
                      </a:cubicBezTo>
                      <a:cubicBezTo>
                        <a:pt x="1707" y="711"/>
                        <a:pt x="1826" y="482"/>
                        <a:pt x="1850" y="474"/>
                      </a:cubicBezTo>
                      <a:cubicBezTo>
                        <a:pt x="1857" y="474"/>
                        <a:pt x="1865" y="466"/>
                        <a:pt x="1873" y="458"/>
                      </a:cubicBezTo>
                      <a:cubicBezTo>
                        <a:pt x="1873" y="458"/>
                        <a:pt x="1881" y="450"/>
                        <a:pt x="1889" y="443"/>
                      </a:cubicBezTo>
                      <a:cubicBezTo>
                        <a:pt x="1407" y="79"/>
                        <a:pt x="1407" y="79"/>
                        <a:pt x="1407" y="79"/>
                      </a:cubicBezTo>
                      <a:cubicBezTo>
                        <a:pt x="964" y="150"/>
                        <a:pt x="964" y="150"/>
                        <a:pt x="964" y="150"/>
                      </a:cubicBezTo>
                      <a:lnTo>
                        <a:pt x="964" y="150"/>
                      </a:lnTo>
                      <a:cubicBezTo>
                        <a:pt x="964" y="150"/>
                        <a:pt x="940" y="71"/>
                        <a:pt x="925" y="55"/>
                      </a:cubicBezTo>
                      <a:cubicBezTo>
                        <a:pt x="917" y="47"/>
                        <a:pt x="909" y="47"/>
                        <a:pt x="893" y="47"/>
                      </a:cubicBezTo>
                      <a:cubicBezTo>
                        <a:pt x="885" y="47"/>
                        <a:pt x="885" y="47"/>
                        <a:pt x="877" y="47"/>
                      </a:cubicBezTo>
                      <a:cubicBezTo>
                        <a:pt x="869" y="47"/>
                        <a:pt x="861" y="47"/>
                        <a:pt x="854" y="47"/>
                      </a:cubicBezTo>
                      <a:cubicBezTo>
                        <a:pt x="830" y="39"/>
                        <a:pt x="822" y="39"/>
                        <a:pt x="822" y="31"/>
                      </a:cubicBezTo>
                      <a:cubicBezTo>
                        <a:pt x="822" y="31"/>
                        <a:pt x="822" y="23"/>
                        <a:pt x="822" y="15"/>
                      </a:cubicBezTo>
                      <a:cubicBezTo>
                        <a:pt x="822" y="15"/>
                        <a:pt x="822" y="15"/>
                        <a:pt x="822" y="8"/>
                      </a:cubicBezTo>
                      <a:cubicBezTo>
                        <a:pt x="822" y="8"/>
                        <a:pt x="822" y="8"/>
                        <a:pt x="806" y="8"/>
                      </a:cubicBezTo>
                      <a:cubicBezTo>
                        <a:pt x="727" y="8"/>
                        <a:pt x="434" y="47"/>
                        <a:pt x="411" y="55"/>
                      </a:cubicBezTo>
                      <a:cubicBezTo>
                        <a:pt x="379" y="55"/>
                        <a:pt x="237" y="126"/>
                        <a:pt x="181" y="158"/>
                      </a:cubicBezTo>
                      <a:cubicBezTo>
                        <a:pt x="174" y="166"/>
                        <a:pt x="166" y="174"/>
                        <a:pt x="150" y="181"/>
                      </a:cubicBezTo>
                      <a:cubicBezTo>
                        <a:pt x="134" y="197"/>
                        <a:pt x="118" y="205"/>
                        <a:pt x="87" y="213"/>
                      </a:cubicBezTo>
                      <a:cubicBezTo>
                        <a:pt x="87" y="221"/>
                        <a:pt x="79" y="229"/>
                        <a:pt x="79" y="229"/>
                      </a:cubicBezTo>
                      <a:cubicBezTo>
                        <a:pt x="79" y="237"/>
                        <a:pt x="71" y="237"/>
                        <a:pt x="71" y="245"/>
                      </a:cubicBezTo>
                      <a:cubicBezTo>
                        <a:pt x="47" y="253"/>
                        <a:pt x="15" y="276"/>
                        <a:pt x="15" y="300"/>
                      </a:cubicBezTo>
                      <a:cubicBezTo>
                        <a:pt x="15" y="308"/>
                        <a:pt x="15" y="308"/>
                        <a:pt x="15" y="308"/>
                      </a:cubicBezTo>
                      <a:cubicBezTo>
                        <a:pt x="15" y="332"/>
                        <a:pt x="8" y="371"/>
                        <a:pt x="23" y="379"/>
                      </a:cubicBezTo>
                      <a:cubicBezTo>
                        <a:pt x="23" y="379"/>
                        <a:pt x="31" y="379"/>
                        <a:pt x="31" y="387"/>
                      </a:cubicBezTo>
                      <a:cubicBezTo>
                        <a:pt x="55" y="403"/>
                        <a:pt x="102" y="427"/>
                        <a:pt x="110" y="443"/>
                      </a:cubicBezTo>
                      <a:cubicBezTo>
                        <a:pt x="118" y="450"/>
                        <a:pt x="126" y="450"/>
                        <a:pt x="126" y="450"/>
                      </a:cubicBezTo>
                      <a:cubicBezTo>
                        <a:pt x="134" y="450"/>
                        <a:pt x="142" y="450"/>
                        <a:pt x="150" y="450"/>
                      </a:cubicBezTo>
                      <a:cubicBezTo>
                        <a:pt x="158" y="450"/>
                        <a:pt x="166" y="443"/>
                        <a:pt x="174" y="4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6" name="Freeform 409">
                  <a:extLst>
                    <a:ext uri="{FF2B5EF4-FFF2-40B4-BE49-F238E27FC236}">
                      <a16:creationId xmlns:a16="http://schemas.microsoft.com/office/drawing/2014/main" id="{60B9B3A5-6781-5746-9B55-2FBAC943E1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79668" y="6975471"/>
                  <a:ext cx="1101669" cy="1115587"/>
                </a:xfrm>
                <a:custGeom>
                  <a:avLst/>
                  <a:gdLst>
                    <a:gd name="T0" fmla="*/ 1921 w 2096"/>
                    <a:gd name="T1" fmla="*/ 1218 h 2120"/>
                    <a:gd name="T2" fmla="*/ 1850 w 2096"/>
                    <a:gd name="T3" fmla="*/ 1052 h 2120"/>
                    <a:gd name="T4" fmla="*/ 1771 w 2096"/>
                    <a:gd name="T5" fmla="*/ 925 h 2120"/>
                    <a:gd name="T6" fmla="*/ 1589 w 2096"/>
                    <a:gd name="T7" fmla="*/ 743 h 2120"/>
                    <a:gd name="T8" fmla="*/ 1439 w 2096"/>
                    <a:gd name="T9" fmla="*/ 601 h 2120"/>
                    <a:gd name="T10" fmla="*/ 1257 w 2096"/>
                    <a:gd name="T11" fmla="*/ 467 h 2120"/>
                    <a:gd name="T12" fmla="*/ 1060 w 2096"/>
                    <a:gd name="T13" fmla="*/ 237 h 2120"/>
                    <a:gd name="T14" fmla="*/ 909 w 2096"/>
                    <a:gd name="T15" fmla="*/ 166 h 2120"/>
                    <a:gd name="T16" fmla="*/ 965 w 2096"/>
                    <a:gd name="T17" fmla="*/ 16 h 2120"/>
                    <a:gd name="T18" fmla="*/ 933 w 2096"/>
                    <a:gd name="T19" fmla="*/ 0 h 2120"/>
                    <a:gd name="T20" fmla="*/ 356 w 2096"/>
                    <a:gd name="T21" fmla="*/ 1241 h 2120"/>
                    <a:gd name="T22" fmla="*/ 403 w 2096"/>
                    <a:gd name="T23" fmla="*/ 1320 h 2120"/>
                    <a:gd name="T24" fmla="*/ 403 w 2096"/>
                    <a:gd name="T25" fmla="*/ 1407 h 2120"/>
                    <a:gd name="T26" fmla="*/ 380 w 2096"/>
                    <a:gd name="T27" fmla="*/ 1518 h 2120"/>
                    <a:gd name="T28" fmla="*/ 419 w 2096"/>
                    <a:gd name="T29" fmla="*/ 1692 h 2120"/>
                    <a:gd name="T30" fmla="*/ 459 w 2096"/>
                    <a:gd name="T31" fmla="*/ 1969 h 2120"/>
                    <a:gd name="T32" fmla="*/ 1597 w 2096"/>
                    <a:gd name="T33" fmla="*/ 2016 h 2120"/>
                    <a:gd name="T34" fmla="*/ 1645 w 2096"/>
                    <a:gd name="T35" fmla="*/ 2103 h 2120"/>
                    <a:gd name="T36" fmla="*/ 1692 w 2096"/>
                    <a:gd name="T37" fmla="*/ 1961 h 2120"/>
                    <a:gd name="T38" fmla="*/ 1898 w 2096"/>
                    <a:gd name="T39" fmla="*/ 1897 h 2120"/>
                    <a:gd name="T40" fmla="*/ 1890 w 2096"/>
                    <a:gd name="T41" fmla="*/ 1834 h 2120"/>
                    <a:gd name="T42" fmla="*/ 1898 w 2096"/>
                    <a:gd name="T43" fmla="*/ 1716 h 2120"/>
                    <a:gd name="T44" fmla="*/ 1953 w 2096"/>
                    <a:gd name="T45" fmla="*/ 1621 h 2120"/>
                    <a:gd name="T46" fmla="*/ 1937 w 2096"/>
                    <a:gd name="T47" fmla="*/ 1565 h 2120"/>
                    <a:gd name="T48" fmla="*/ 1929 w 2096"/>
                    <a:gd name="T49" fmla="*/ 1510 h 2120"/>
                    <a:gd name="T50" fmla="*/ 1969 w 2096"/>
                    <a:gd name="T51" fmla="*/ 1455 h 2120"/>
                    <a:gd name="T52" fmla="*/ 1937 w 2096"/>
                    <a:gd name="T53" fmla="*/ 1415 h 2120"/>
                    <a:gd name="T54" fmla="*/ 1993 w 2096"/>
                    <a:gd name="T55" fmla="*/ 1352 h 2120"/>
                    <a:gd name="T56" fmla="*/ 2008 w 2096"/>
                    <a:gd name="T57" fmla="*/ 1320 h 2120"/>
                    <a:gd name="T58" fmla="*/ 2024 w 2096"/>
                    <a:gd name="T59" fmla="*/ 1289 h 2120"/>
                    <a:gd name="T60" fmla="*/ 2079 w 2096"/>
                    <a:gd name="T61" fmla="*/ 1257 h 2120"/>
                    <a:gd name="T62" fmla="*/ 1921 w 2096"/>
                    <a:gd name="T63" fmla="*/ 1218 h 2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096" h="2120">
                      <a:moveTo>
                        <a:pt x="1921" y="1218"/>
                      </a:moveTo>
                      <a:lnTo>
                        <a:pt x="1921" y="1218"/>
                      </a:lnTo>
                      <a:cubicBezTo>
                        <a:pt x="1882" y="1202"/>
                        <a:pt x="1929" y="1138"/>
                        <a:pt x="1913" y="1131"/>
                      </a:cubicBezTo>
                      <a:cubicBezTo>
                        <a:pt x="1890" y="1123"/>
                        <a:pt x="1874" y="1075"/>
                        <a:pt x="1850" y="1052"/>
                      </a:cubicBezTo>
                      <a:cubicBezTo>
                        <a:pt x="1834" y="1020"/>
                        <a:pt x="1811" y="1020"/>
                        <a:pt x="1787" y="1004"/>
                      </a:cubicBezTo>
                      <a:cubicBezTo>
                        <a:pt x="1763" y="988"/>
                        <a:pt x="1771" y="949"/>
                        <a:pt x="1771" y="925"/>
                      </a:cubicBezTo>
                      <a:cubicBezTo>
                        <a:pt x="1771" y="901"/>
                        <a:pt x="1724" y="838"/>
                        <a:pt x="1692" y="822"/>
                      </a:cubicBezTo>
                      <a:cubicBezTo>
                        <a:pt x="1660" y="799"/>
                        <a:pt x="1645" y="791"/>
                        <a:pt x="1589" y="743"/>
                      </a:cubicBezTo>
                      <a:cubicBezTo>
                        <a:pt x="1542" y="704"/>
                        <a:pt x="1542" y="680"/>
                        <a:pt x="1518" y="648"/>
                      </a:cubicBezTo>
                      <a:cubicBezTo>
                        <a:pt x="1502" y="625"/>
                        <a:pt x="1471" y="617"/>
                        <a:pt x="1439" y="601"/>
                      </a:cubicBezTo>
                      <a:cubicBezTo>
                        <a:pt x="1407" y="593"/>
                        <a:pt x="1384" y="577"/>
                        <a:pt x="1352" y="538"/>
                      </a:cubicBezTo>
                      <a:cubicBezTo>
                        <a:pt x="1320" y="498"/>
                        <a:pt x="1305" y="490"/>
                        <a:pt x="1257" y="467"/>
                      </a:cubicBezTo>
                      <a:cubicBezTo>
                        <a:pt x="1202" y="451"/>
                        <a:pt x="1147" y="364"/>
                        <a:pt x="1123" y="316"/>
                      </a:cubicBezTo>
                      <a:cubicBezTo>
                        <a:pt x="1091" y="269"/>
                        <a:pt x="1076" y="237"/>
                        <a:pt x="1060" y="237"/>
                      </a:cubicBezTo>
                      <a:cubicBezTo>
                        <a:pt x="1036" y="237"/>
                        <a:pt x="1012" y="261"/>
                        <a:pt x="996" y="237"/>
                      </a:cubicBezTo>
                      <a:cubicBezTo>
                        <a:pt x="981" y="214"/>
                        <a:pt x="925" y="182"/>
                        <a:pt x="909" y="166"/>
                      </a:cubicBezTo>
                      <a:cubicBezTo>
                        <a:pt x="886" y="158"/>
                        <a:pt x="894" y="119"/>
                        <a:pt x="901" y="87"/>
                      </a:cubicBezTo>
                      <a:cubicBezTo>
                        <a:pt x="901" y="55"/>
                        <a:pt x="957" y="24"/>
                        <a:pt x="965" y="16"/>
                      </a:cubicBezTo>
                      <a:cubicBezTo>
                        <a:pt x="965" y="16"/>
                        <a:pt x="965" y="8"/>
                        <a:pt x="965" y="0"/>
                      </a:cubicBezTo>
                      <a:cubicBezTo>
                        <a:pt x="957" y="0"/>
                        <a:pt x="949" y="0"/>
                        <a:pt x="933" y="0"/>
                      </a:cubicBezTo>
                      <a:cubicBezTo>
                        <a:pt x="894" y="8"/>
                        <a:pt x="498" y="55"/>
                        <a:pt x="0" y="111"/>
                      </a:cubicBezTo>
                      <a:cubicBezTo>
                        <a:pt x="356" y="1241"/>
                        <a:pt x="356" y="1241"/>
                        <a:pt x="356" y="1241"/>
                      </a:cubicBezTo>
                      <a:cubicBezTo>
                        <a:pt x="356" y="1241"/>
                        <a:pt x="388" y="1249"/>
                        <a:pt x="396" y="1257"/>
                      </a:cubicBezTo>
                      <a:cubicBezTo>
                        <a:pt x="411" y="1265"/>
                        <a:pt x="396" y="1289"/>
                        <a:pt x="403" y="1320"/>
                      </a:cubicBezTo>
                      <a:cubicBezTo>
                        <a:pt x="419" y="1344"/>
                        <a:pt x="435" y="1336"/>
                        <a:pt x="435" y="1360"/>
                      </a:cubicBezTo>
                      <a:cubicBezTo>
                        <a:pt x="435" y="1384"/>
                        <a:pt x="427" y="1399"/>
                        <a:pt x="403" y="1407"/>
                      </a:cubicBezTo>
                      <a:cubicBezTo>
                        <a:pt x="388" y="1415"/>
                        <a:pt x="372" y="1431"/>
                        <a:pt x="380" y="1447"/>
                      </a:cubicBezTo>
                      <a:cubicBezTo>
                        <a:pt x="396" y="1463"/>
                        <a:pt x="396" y="1502"/>
                        <a:pt x="380" y="1518"/>
                      </a:cubicBezTo>
                      <a:cubicBezTo>
                        <a:pt x="364" y="1534"/>
                        <a:pt x="356" y="1597"/>
                        <a:pt x="364" y="1613"/>
                      </a:cubicBezTo>
                      <a:cubicBezTo>
                        <a:pt x="380" y="1629"/>
                        <a:pt x="419" y="1660"/>
                        <a:pt x="419" y="1692"/>
                      </a:cubicBezTo>
                      <a:cubicBezTo>
                        <a:pt x="419" y="1731"/>
                        <a:pt x="403" y="1818"/>
                        <a:pt x="403" y="1842"/>
                      </a:cubicBezTo>
                      <a:cubicBezTo>
                        <a:pt x="411" y="1858"/>
                        <a:pt x="459" y="1945"/>
                        <a:pt x="459" y="1969"/>
                      </a:cubicBezTo>
                      <a:cubicBezTo>
                        <a:pt x="459" y="1969"/>
                        <a:pt x="538" y="2095"/>
                        <a:pt x="546" y="2095"/>
                      </a:cubicBezTo>
                      <a:cubicBezTo>
                        <a:pt x="561" y="2095"/>
                        <a:pt x="1597" y="2016"/>
                        <a:pt x="1597" y="2016"/>
                      </a:cubicBezTo>
                      <a:cubicBezTo>
                        <a:pt x="1597" y="2016"/>
                        <a:pt x="1605" y="2016"/>
                        <a:pt x="1613" y="2040"/>
                      </a:cubicBezTo>
                      <a:cubicBezTo>
                        <a:pt x="1621" y="2063"/>
                        <a:pt x="1613" y="2103"/>
                        <a:pt x="1645" y="2103"/>
                      </a:cubicBezTo>
                      <a:cubicBezTo>
                        <a:pt x="1676" y="2111"/>
                        <a:pt x="1692" y="2119"/>
                        <a:pt x="1692" y="2079"/>
                      </a:cubicBezTo>
                      <a:cubicBezTo>
                        <a:pt x="1692" y="2040"/>
                        <a:pt x="1708" y="1992"/>
                        <a:pt x="1692" y="1961"/>
                      </a:cubicBezTo>
                      <a:cubicBezTo>
                        <a:pt x="1668" y="1929"/>
                        <a:pt x="1660" y="1905"/>
                        <a:pt x="1684" y="1897"/>
                      </a:cubicBezTo>
                      <a:cubicBezTo>
                        <a:pt x="1708" y="1882"/>
                        <a:pt x="1882" y="1937"/>
                        <a:pt x="1898" y="1897"/>
                      </a:cubicBezTo>
                      <a:cubicBezTo>
                        <a:pt x="1898" y="1889"/>
                        <a:pt x="1898" y="1889"/>
                        <a:pt x="1906" y="1889"/>
                      </a:cubicBezTo>
                      <a:cubicBezTo>
                        <a:pt x="1882" y="1874"/>
                        <a:pt x="1882" y="1866"/>
                        <a:pt x="1890" y="1834"/>
                      </a:cubicBezTo>
                      <a:cubicBezTo>
                        <a:pt x="1890" y="1795"/>
                        <a:pt x="1898" y="1787"/>
                        <a:pt x="1882" y="1763"/>
                      </a:cubicBezTo>
                      <a:cubicBezTo>
                        <a:pt x="1866" y="1739"/>
                        <a:pt x="1913" y="1731"/>
                        <a:pt x="1898" y="1716"/>
                      </a:cubicBezTo>
                      <a:cubicBezTo>
                        <a:pt x="1882" y="1700"/>
                        <a:pt x="1890" y="1684"/>
                        <a:pt x="1913" y="1676"/>
                      </a:cubicBezTo>
                      <a:cubicBezTo>
                        <a:pt x="1945" y="1676"/>
                        <a:pt x="1969" y="1637"/>
                        <a:pt x="1953" y="1621"/>
                      </a:cubicBezTo>
                      <a:cubicBezTo>
                        <a:pt x="1929" y="1613"/>
                        <a:pt x="1913" y="1637"/>
                        <a:pt x="1921" y="1605"/>
                      </a:cubicBezTo>
                      <a:cubicBezTo>
                        <a:pt x="1929" y="1573"/>
                        <a:pt x="1913" y="1573"/>
                        <a:pt x="1937" y="1565"/>
                      </a:cubicBezTo>
                      <a:cubicBezTo>
                        <a:pt x="1953" y="1558"/>
                        <a:pt x="1977" y="1542"/>
                        <a:pt x="1961" y="1526"/>
                      </a:cubicBezTo>
                      <a:cubicBezTo>
                        <a:pt x="1953" y="1510"/>
                        <a:pt x="1945" y="1510"/>
                        <a:pt x="1929" y="1510"/>
                      </a:cubicBezTo>
                      <a:cubicBezTo>
                        <a:pt x="1921" y="1502"/>
                        <a:pt x="1913" y="1486"/>
                        <a:pt x="1929" y="1478"/>
                      </a:cubicBezTo>
                      <a:cubicBezTo>
                        <a:pt x="1945" y="1471"/>
                        <a:pt x="1961" y="1478"/>
                        <a:pt x="1969" y="1455"/>
                      </a:cubicBezTo>
                      <a:cubicBezTo>
                        <a:pt x="1977" y="1431"/>
                        <a:pt x="1969" y="1423"/>
                        <a:pt x="1953" y="1423"/>
                      </a:cubicBezTo>
                      <a:cubicBezTo>
                        <a:pt x="1937" y="1423"/>
                        <a:pt x="1921" y="1431"/>
                        <a:pt x="1937" y="1415"/>
                      </a:cubicBezTo>
                      <a:cubicBezTo>
                        <a:pt x="1953" y="1407"/>
                        <a:pt x="1977" y="1407"/>
                        <a:pt x="1984" y="1391"/>
                      </a:cubicBezTo>
                      <a:cubicBezTo>
                        <a:pt x="2000" y="1376"/>
                        <a:pt x="2016" y="1360"/>
                        <a:pt x="1993" y="1352"/>
                      </a:cubicBezTo>
                      <a:cubicBezTo>
                        <a:pt x="1961" y="1344"/>
                        <a:pt x="1945" y="1344"/>
                        <a:pt x="1953" y="1336"/>
                      </a:cubicBezTo>
                      <a:cubicBezTo>
                        <a:pt x="1969" y="1328"/>
                        <a:pt x="1993" y="1320"/>
                        <a:pt x="2008" y="1320"/>
                      </a:cubicBezTo>
                      <a:cubicBezTo>
                        <a:pt x="2016" y="1328"/>
                        <a:pt x="2032" y="1328"/>
                        <a:pt x="2024" y="1320"/>
                      </a:cubicBezTo>
                      <a:cubicBezTo>
                        <a:pt x="2016" y="1305"/>
                        <a:pt x="2008" y="1289"/>
                        <a:pt x="2024" y="1289"/>
                      </a:cubicBezTo>
                      <a:cubicBezTo>
                        <a:pt x="2040" y="1289"/>
                        <a:pt x="2056" y="1289"/>
                        <a:pt x="2048" y="1281"/>
                      </a:cubicBezTo>
                      <a:cubicBezTo>
                        <a:pt x="2040" y="1273"/>
                        <a:pt x="2095" y="1273"/>
                        <a:pt x="2079" y="1257"/>
                      </a:cubicBezTo>
                      <a:cubicBezTo>
                        <a:pt x="2071" y="1241"/>
                        <a:pt x="2056" y="1241"/>
                        <a:pt x="2048" y="1241"/>
                      </a:cubicBezTo>
                      <a:cubicBezTo>
                        <a:pt x="2024" y="1241"/>
                        <a:pt x="1945" y="1233"/>
                        <a:pt x="1921" y="121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7" name="Freeform 410">
                  <a:extLst>
                    <a:ext uri="{FF2B5EF4-FFF2-40B4-BE49-F238E27FC236}">
                      <a16:creationId xmlns:a16="http://schemas.microsoft.com/office/drawing/2014/main" id="{249AE04F-231C-9A40-810D-0803A2A6E8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75030" y="6970832"/>
                  <a:ext cx="1101669" cy="1115587"/>
                </a:xfrm>
                <a:custGeom>
                  <a:avLst/>
                  <a:gdLst>
                    <a:gd name="T0" fmla="*/ 1621 w 2096"/>
                    <a:gd name="T1" fmla="*/ 2071 h 2120"/>
                    <a:gd name="T2" fmla="*/ 459 w 2096"/>
                    <a:gd name="T3" fmla="*/ 1977 h 2120"/>
                    <a:gd name="T4" fmla="*/ 419 w 2096"/>
                    <a:gd name="T5" fmla="*/ 1700 h 2120"/>
                    <a:gd name="T6" fmla="*/ 380 w 2096"/>
                    <a:gd name="T7" fmla="*/ 1439 h 2120"/>
                    <a:gd name="T8" fmla="*/ 411 w 2096"/>
                    <a:gd name="T9" fmla="*/ 1328 h 2120"/>
                    <a:gd name="T10" fmla="*/ 364 w 2096"/>
                    <a:gd name="T11" fmla="*/ 1249 h 2120"/>
                    <a:gd name="T12" fmla="*/ 973 w 2096"/>
                    <a:gd name="T13" fmla="*/ 0 h 2120"/>
                    <a:gd name="T14" fmla="*/ 909 w 2096"/>
                    <a:gd name="T15" fmla="*/ 95 h 2120"/>
                    <a:gd name="T16" fmla="*/ 1020 w 2096"/>
                    <a:gd name="T17" fmla="*/ 245 h 2120"/>
                    <a:gd name="T18" fmla="*/ 1265 w 2096"/>
                    <a:gd name="T19" fmla="*/ 475 h 2120"/>
                    <a:gd name="T20" fmla="*/ 1597 w 2096"/>
                    <a:gd name="T21" fmla="*/ 751 h 2120"/>
                    <a:gd name="T22" fmla="*/ 1795 w 2096"/>
                    <a:gd name="T23" fmla="*/ 1012 h 2120"/>
                    <a:gd name="T24" fmla="*/ 1921 w 2096"/>
                    <a:gd name="T25" fmla="*/ 1170 h 2120"/>
                    <a:gd name="T26" fmla="*/ 2072 w 2096"/>
                    <a:gd name="T27" fmla="*/ 1249 h 2120"/>
                    <a:gd name="T28" fmla="*/ 2064 w 2096"/>
                    <a:gd name="T29" fmla="*/ 1297 h 2120"/>
                    <a:gd name="T30" fmla="*/ 2040 w 2096"/>
                    <a:gd name="T31" fmla="*/ 1336 h 2120"/>
                    <a:gd name="T32" fmla="*/ 1961 w 2096"/>
                    <a:gd name="T33" fmla="*/ 1352 h 2120"/>
                    <a:gd name="T34" fmla="*/ 2001 w 2096"/>
                    <a:gd name="T35" fmla="*/ 1399 h 2120"/>
                    <a:gd name="T36" fmla="*/ 1961 w 2096"/>
                    <a:gd name="T37" fmla="*/ 1431 h 2120"/>
                    <a:gd name="T38" fmla="*/ 1929 w 2096"/>
                    <a:gd name="T39" fmla="*/ 1502 h 2120"/>
                    <a:gd name="T40" fmla="*/ 1945 w 2096"/>
                    <a:gd name="T41" fmla="*/ 1581 h 2120"/>
                    <a:gd name="T42" fmla="*/ 1937 w 2096"/>
                    <a:gd name="T43" fmla="*/ 1629 h 2120"/>
                    <a:gd name="T44" fmla="*/ 1906 w 2096"/>
                    <a:gd name="T45" fmla="*/ 1700 h 2120"/>
                    <a:gd name="T46" fmla="*/ 1906 w 2096"/>
                    <a:gd name="T47" fmla="*/ 1818 h 2120"/>
                    <a:gd name="T48" fmla="*/ 1914 w 2096"/>
                    <a:gd name="T49" fmla="*/ 1897 h 2120"/>
                    <a:gd name="T50" fmla="*/ 1692 w 2096"/>
                    <a:gd name="T51" fmla="*/ 1905 h 2120"/>
                    <a:gd name="T52" fmla="*/ 1684 w 2096"/>
                    <a:gd name="T53" fmla="*/ 2119 h 2120"/>
                    <a:gd name="T54" fmla="*/ 1629 w 2096"/>
                    <a:gd name="T55" fmla="*/ 2071 h 2120"/>
                    <a:gd name="T56" fmla="*/ 1700 w 2096"/>
                    <a:gd name="T57" fmla="*/ 2048 h 2120"/>
                    <a:gd name="T58" fmla="*/ 1763 w 2096"/>
                    <a:gd name="T59" fmla="*/ 1905 h 2120"/>
                    <a:gd name="T60" fmla="*/ 1890 w 2096"/>
                    <a:gd name="T61" fmla="*/ 1842 h 2120"/>
                    <a:gd name="T62" fmla="*/ 1906 w 2096"/>
                    <a:gd name="T63" fmla="*/ 1724 h 2120"/>
                    <a:gd name="T64" fmla="*/ 1937 w 2096"/>
                    <a:gd name="T65" fmla="*/ 1637 h 2120"/>
                    <a:gd name="T66" fmla="*/ 1937 w 2096"/>
                    <a:gd name="T67" fmla="*/ 1573 h 2120"/>
                    <a:gd name="T68" fmla="*/ 1921 w 2096"/>
                    <a:gd name="T69" fmla="*/ 1502 h 2120"/>
                    <a:gd name="T70" fmla="*/ 1961 w 2096"/>
                    <a:gd name="T71" fmla="*/ 1439 h 2120"/>
                    <a:gd name="T72" fmla="*/ 1969 w 2096"/>
                    <a:gd name="T73" fmla="*/ 1407 h 2120"/>
                    <a:gd name="T74" fmla="*/ 1969 w 2096"/>
                    <a:gd name="T75" fmla="*/ 1360 h 2120"/>
                    <a:gd name="T76" fmla="*/ 2032 w 2096"/>
                    <a:gd name="T77" fmla="*/ 1328 h 2120"/>
                    <a:gd name="T78" fmla="*/ 2040 w 2096"/>
                    <a:gd name="T79" fmla="*/ 1289 h 2120"/>
                    <a:gd name="T80" fmla="*/ 2087 w 2096"/>
                    <a:gd name="T81" fmla="*/ 1265 h 2120"/>
                    <a:gd name="T82" fmla="*/ 1914 w 2096"/>
                    <a:gd name="T83" fmla="*/ 1170 h 2120"/>
                    <a:gd name="T84" fmla="*/ 1795 w 2096"/>
                    <a:gd name="T85" fmla="*/ 1020 h 2120"/>
                    <a:gd name="T86" fmla="*/ 1597 w 2096"/>
                    <a:gd name="T87" fmla="*/ 759 h 2120"/>
                    <a:gd name="T88" fmla="*/ 1265 w 2096"/>
                    <a:gd name="T89" fmla="*/ 482 h 2120"/>
                    <a:gd name="T90" fmla="*/ 1020 w 2096"/>
                    <a:gd name="T91" fmla="*/ 253 h 2120"/>
                    <a:gd name="T92" fmla="*/ 902 w 2096"/>
                    <a:gd name="T93" fmla="*/ 95 h 2120"/>
                    <a:gd name="T94" fmla="*/ 617 w 2096"/>
                    <a:gd name="T95" fmla="*/ 48 h 2120"/>
                    <a:gd name="T96" fmla="*/ 419 w 2096"/>
                    <a:gd name="T97" fmla="*/ 1320 h 2120"/>
                    <a:gd name="T98" fmla="*/ 388 w 2096"/>
                    <a:gd name="T99" fmla="*/ 1439 h 2120"/>
                    <a:gd name="T100" fmla="*/ 427 w 2096"/>
                    <a:gd name="T101" fmla="*/ 1700 h 2120"/>
                    <a:gd name="T102" fmla="*/ 554 w 2096"/>
                    <a:gd name="T103" fmla="*/ 2103 h 2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096" h="2120">
                      <a:moveTo>
                        <a:pt x="1684" y="2119"/>
                      </a:moveTo>
                      <a:lnTo>
                        <a:pt x="1684" y="2119"/>
                      </a:lnTo>
                      <a:cubicBezTo>
                        <a:pt x="1676" y="2119"/>
                        <a:pt x="1668" y="2119"/>
                        <a:pt x="1661" y="2119"/>
                      </a:cubicBezTo>
                      <a:lnTo>
                        <a:pt x="1653" y="2119"/>
                      </a:lnTo>
                      <a:cubicBezTo>
                        <a:pt x="1621" y="2119"/>
                        <a:pt x="1621" y="2095"/>
                        <a:pt x="1621" y="2071"/>
                      </a:cubicBezTo>
                      <a:cubicBezTo>
                        <a:pt x="1621" y="2063"/>
                        <a:pt x="1621" y="2056"/>
                        <a:pt x="1621" y="2048"/>
                      </a:cubicBezTo>
                      <a:cubicBezTo>
                        <a:pt x="1613" y="2032"/>
                        <a:pt x="1605" y="2024"/>
                        <a:pt x="1605" y="2024"/>
                      </a:cubicBezTo>
                      <a:cubicBezTo>
                        <a:pt x="1550" y="2032"/>
                        <a:pt x="569" y="2111"/>
                        <a:pt x="554" y="2111"/>
                      </a:cubicBezTo>
                      <a:cubicBezTo>
                        <a:pt x="546" y="2111"/>
                        <a:pt x="483" y="2016"/>
                        <a:pt x="467" y="1977"/>
                      </a:cubicBezTo>
                      <a:cubicBezTo>
                        <a:pt x="459" y="1977"/>
                        <a:pt x="459" y="1977"/>
                        <a:pt x="459" y="1977"/>
                      </a:cubicBezTo>
                      <a:lnTo>
                        <a:pt x="459" y="1977"/>
                      </a:lnTo>
                      <a:cubicBezTo>
                        <a:pt x="459" y="1961"/>
                        <a:pt x="443" y="1921"/>
                        <a:pt x="435" y="1897"/>
                      </a:cubicBezTo>
                      <a:cubicBezTo>
                        <a:pt x="419" y="1874"/>
                        <a:pt x="411" y="1858"/>
                        <a:pt x="411" y="1850"/>
                      </a:cubicBezTo>
                      <a:cubicBezTo>
                        <a:pt x="411" y="1834"/>
                        <a:pt x="411" y="1803"/>
                        <a:pt x="419" y="1771"/>
                      </a:cubicBezTo>
                      <a:cubicBezTo>
                        <a:pt x="419" y="1739"/>
                        <a:pt x="419" y="1716"/>
                        <a:pt x="419" y="1700"/>
                      </a:cubicBezTo>
                      <a:cubicBezTo>
                        <a:pt x="419" y="1676"/>
                        <a:pt x="404" y="1652"/>
                        <a:pt x="380" y="1637"/>
                      </a:cubicBezTo>
                      <a:cubicBezTo>
                        <a:pt x="380" y="1629"/>
                        <a:pt x="372" y="1629"/>
                        <a:pt x="372" y="1621"/>
                      </a:cubicBezTo>
                      <a:cubicBezTo>
                        <a:pt x="356" y="1605"/>
                        <a:pt x="372" y="1542"/>
                        <a:pt x="388" y="1526"/>
                      </a:cubicBezTo>
                      <a:cubicBezTo>
                        <a:pt x="396" y="1510"/>
                        <a:pt x="396" y="1471"/>
                        <a:pt x="388" y="1455"/>
                      </a:cubicBezTo>
                      <a:cubicBezTo>
                        <a:pt x="380" y="1455"/>
                        <a:pt x="380" y="1447"/>
                        <a:pt x="380" y="1439"/>
                      </a:cubicBezTo>
                      <a:cubicBezTo>
                        <a:pt x="388" y="1431"/>
                        <a:pt x="396" y="1423"/>
                        <a:pt x="411" y="1415"/>
                      </a:cubicBezTo>
                      <a:lnTo>
                        <a:pt x="411" y="1415"/>
                      </a:lnTo>
                      <a:cubicBezTo>
                        <a:pt x="427" y="1399"/>
                        <a:pt x="435" y="1392"/>
                        <a:pt x="435" y="1368"/>
                      </a:cubicBezTo>
                      <a:cubicBezTo>
                        <a:pt x="435" y="1360"/>
                        <a:pt x="435" y="1352"/>
                        <a:pt x="427" y="1352"/>
                      </a:cubicBezTo>
                      <a:cubicBezTo>
                        <a:pt x="427" y="1344"/>
                        <a:pt x="419" y="1344"/>
                        <a:pt x="411" y="1328"/>
                      </a:cubicBezTo>
                      <a:cubicBezTo>
                        <a:pt x="404" y="1313"/>
                        <a:pt x="411" y="1297"/>
                        <a:pt x="411" y="1289"/>
                      </a:cubicBezTo>
                      <a:cubicBezTo>
                        <a:pt x="411" y="1281"/>
                        <a:pt x="411" y="1273"/>
                        <a:pt x="404" y="1265"/>
                      </a:cubicBezTo>
                      <a:cubicBezTo>
                        <a:pt x="388" y="1257"/>
                        <a:pt x="364" y="1249"/>
                        <a:pt x="364" y="1249"/>
                      </a:cubicBezTo>
                      <a:lnTo>
                        <a:pt x="364" y="1249"/>
                      </a:lnTo>
                      <a:lnTo>
                        <a:pt x="364" y="1249"/>
                      </a:lnTo>
                      <a:cubicBezTo>
                        <a:pt x="0" y="111"/>
                        <a:pt x="0" y="111"/>
                        <a:pt x="0" y="111"/>
                      </a:cubicBezTo>
                      <a:cubicBezTo>
                        <a:pt x="8" y="111"/>
                        <a:pt x="8" y="111"/>
                        <a:pt x="8" y="111"/>
                      </a:cubicBezTo>
                      <a:cubicBezTo>
                        <a:pt x="238" y="87"/>
                        <a:pt x="451" y="63"/>
                        <a:pt x="617" y="40"/>
                      </a:cubicBezTo>
                      <a:cubicBezTo>
                        <a:pt x="799" y="24"/>
                        <a:pt x="917" y="8"/>
                        <a:pt x="941" y="8"/>
                      </a:cubicBezTo>
                      <a:cubicBezTo>
                        <a:pt x="949" y="8"/>
                        <a:pt x="965" y="8"/>
                        <a:pt x="973" y="0"/>
                      </a:cubicBezTo>
                      <a:cubicBezTo>
                        <a:pt x="981" y="0"/>
                        <a:pt x="981" y="0"/>
                        <a:pt x="981" y="0"/>
                      </a:cubicBezTo>
                      <a:cubicBezTo>
                        <a:pt x="981" y="8"/>
                        <a:pt x="981" y="8"/>
                        <a:pt x="981" y="8"/>
                      </a:cubicBezTo>
                      <a:cubicBezTo>
                        <a:pt x="981" y="16"/>
                        <a:pt x="981" y="24"/>
                        <a:pt x="973" y="24"/>
                      </a:cubicBezTo>
                      <a:cubicBezTo>
                        <a:pt x="973" y="32"/>
                        <a:pt x="965" y="32"/>
                        <a:pt x="965" y="40"/>
                      </a:cubicBezTo>
                      <a:cubicBezTo>
                        <a:pt x="941" y="48"/>
                        <a:pt x="909" y="71"/>
                        <a:pt x="909" y="95"/>
                      </a:cubicBezTo>
                      <a:cubicBezTo>
                        <a:pt x="909" y="103"/>
                        <a:pt x="909" y="103"/>
                        <a:pt x="909" y="103"/>
                      </a:cubicBezTo>
                      <a:cubicBezTo>
                        <a:pt x="909" y="127"/>
                        <a:pt x="902" y="166"/>
                        <a:pt x="917" y="174"/>
                      </a:cubicBezTo>
                      <a:cubicBezTo>
                        <a:pt x="917" y="174"/>
                        <a:pt x="925" y="174"/>
                        <a:pt x="925" y="182"/>
                      </a:cubicBezTo>
                      <a:cubicBezTo>
                        <a:pt x="949" y="198"/>
                        <a:pt x="996" y="222"/>
                        <a:pt x="1004" y="238"/>
                      </a:cubicBezTo>
                      <a:cubicBezTo>
                        <a:pt x="1012" y="245"/>
                        <a:pt x="1020" y="245"/>
                        <a:pt x="1020" y="245"/>
                      </a:cubicBezTo>
                      <a:cubicBezTo>
                        <a:pt x="1028" y="245"/>
                        <a:pt x="1036" y="245"/>
                        <a:pt x="1044" y="245"/>
                      </a:cubicBezTo>
                      <a:cubicBezTo>
                        <a:pt x="1052" y="245"/>
                        <a:pt x="1060" y="238"/>
                        <a:pt x="1068" y="238"/>
                      </a:cubicBezTo>
                      <a:cubicBezTo>
                        <a:pt x="1084" y="238"/>
                        <a:pt x="1099" y="261"/>
                        <a:pt x="1115" y="293"/>
                      </a:cubicBezTo>
                      <a:cubicBezTo>
                        <a:pt x="1123" y="301"/>
                        <a:pt x="1123" y="309"/>
                        <a:pt x="1131" y="316"/>
                      </a:cubicBezTo>
                      <a:cubicBezTo>
                        <a:pt x="1162" y="372"/>
                        <a:pt x="1218" y="451"/>
                        <a:pt x="1265" y="475"/>
                      </a:cubicBezTo>
                      <a:cubicBezTo>
                        <a:pt x="1313" y="490"/>
                        <a:pt x="1328" y="498"/>
                        <a:pt x="1360" y="546"/>
                      </a:cubicBezTo>
                      <a:cubicBezTo>
                        <a:pt x="1392" y="585"/>
                        <a:pt x="1415" y="593"/>
                        <a:pt x="1447" y="609"/>
                      </a:cubicBezTo>
                      <a:cubicBezTo>
                        <a:pt x="1486" y="617"/>
                        <a:pt x="1510" y="625"/>
                        <a:pt x="1534" y="656"/>
                      </a:cubicBezTo>
                      <a:cubicBezTo>
                        <a:pt x="1534" y="664"/>
                        <a:pt x="1542" y="672"/>
                        <a:pt x="1542" y="680"/>
                      </a:cubicBezTo>
                      <a:cubicBezTo>
                        <a:pt x="1558" y="704"/>
                        <a:pt x="1566" y="720"/>
                        <a:pt x="1597" y="751"/>
                      </a:cubicBezTo>
                      <a:cubicBezTo>
                        <a:pt x="1645" y="783"/>
                        <a:pt x="1668" y="799"/>
                        <a:pt x="1692" y="815"/>
                      </a:cubicBezTo>
                      <a:cubicBezTo>
                        <a:pt x="1692" y="822"/>
                        <a:pt x="1700" y="822"/>
                        <a:pt x="1700" y="830"/>
                      </a:cubicBezTo>
                      <a:cubicBezTo>
                        <a:pt x="1732" y="846"/>
                        <a:pt x="1779" y="909"/>
                        <a:pt x="1787" y="933"/>
                      </a:cubicBezTo>
                      <a:cubicBezTo>
                        <a:pt x="1787" y="941"/>
                        <a:pt x="1787" y="949"/>
                        <a:pt x="1787" y="957"/>
                      </a:cubicBezTo>
                      <a:cubicBezTo>
                        <a:pt x="1779" y="980"/>
                        <a:pt x="1779" y="996"/>
                        <a:pt x="1795" y="1012"/>
                      </a:cubicBezTo>
                      <a:cubicBezTo>
                        <a:pt x="1803" y="1020"/>
                        <a:pt x="1811" y="1020"/>
                        <a:pt x="1819" y="1028"/>
                      </a:cubicBezTo>
                      <a:cubicBezTo>
                        <a:pt x="1834" y="1028"/>
                        <a:pt x="1850" y="1036"/>
                        <a:pt x="1858" y="1052"/>
                      </a:cubicBezTo>
                      <a:cubicBezTo>
                        <a:pt x="1866" y="1060"/>
                        <a:pt x="1874" y="1075"/>
                        <a:pt x="1882" y="1083"/>
                      </a:cubicBezTo>
                      <a:cubicBezTo>
                        <a:pt x="1898" y="1107"/>
                        <a:pt x="1906" y="1131"/>
                        <a:pt x="1921" y="1139"/>
                      </a:cubicBezTo>
                      <a:cubicBezTo>
                        <a:pt x="1929" y="1139"/>
                        <a:pt x="1929" y="1155"/>
                        <a:pt x="1921" y="1170"/>
                      </a:cubicBezTo>
                      <a:cubicBezTo>
                        <a:pt x="1914" y="1194"/>
                        <a:pt x="1914" y="1218"/>
                        <a:pt x="1929" y="1226"/>
                      </a:cubicBezTo>
                      <a:cubicBezTo>
                        <a:pt x="1961" y="1241"/>
                        <a:pt x="2032" y="1241"/>
                        <a:pt x="2056" y="1241"/>
                      </a:cubicBezTo>
                      <a:cubicBezTo>
                        <a:pt x="2064" y="1241"/>
                        <a:pt x="2064" y="1241"/>
                        <a:pt x="2064" y="1241"/>
                      </a:cubicBezTo>
                      <a:lnTo>
                        <a:pt x="2064" y="1241"/>
                      </a:lnTo>
                      <a:cubicBezTo>
                        <a:pt x="2064" y="1241"/>
                        <a:pt x="2064" y="1249"/>
                        <a:pt x="2072" y="1249"/>
                      </a:cubicBezTo>
                      <a:cubicBezTo>
                        <a:pt x="2079" y="1249"/>
                        <a:pt x="2087" y="1257"/>
                        <a:pt x="2095" y="1265"/>
                      </a:cubicBezTo>
                      <a:cubicBezTo>
                        <a:pt x="2095" y="1265"/>
                        <a:pt x="2095" y="1265"/>
                        <a:pt x="2095" y="1273"/>
                      </a:cubicBezTo>
                      <a:cubicBezTo>
                        <a:pt x="2095" y="1281"/>
                        <a:pt x="2079" y="1281"/>
                        <a:pt x="2072" y="1281"/>
                      </a:cubicBezTo>
                      <a:cubicBezTo>
                        <a:pt x="2072" y="1289"/>
                        <a:pt x="2064" y="1289"/>
                        <a:pt x="2064" y="1289"/>
                      </a:cubicBezTo>
                      <a:lnTo>
                        <a:pt x="2064" y="1297"/>
                      </a:lnTo>
                      <a:cubicBezTo>
                        <a:pt x="2064" y="1297"/>
                        <a:pt x="2056" y="1297"/>
                        <a:pt x="2040" y="1297"/>
                      </a:cubicBezTo>
                      <a:cubicBezTo>
                        <a:pt x="2032" y="1297"/>
                        <a:pt x="2032" y="1297"/>
                        <a:pt x="2032" y="1297"/>
                      </a:cubicBezTo>
                      <a:cubicBezTo>
                        <a:pt x="2032" y="1297"/>
                        <a:pt x="2024" y="1297"/>
                        <a:pt x="2024" y="1305"/>
                      </a:cubicBezTo>
                      <a:cubicBezTo>
                        <a:pt x="2024" y="1305"/>
                        <a:pt x="2032" y="1320"/>
                        <a:pt x="2040" y="1320"/>
                      </a:cubicBezTo>
                      <a:cubicBezTo>
                        <a:pt x="2040" y="1328"/>
                        <a:pt x="2040" y="1328"/>
                        <a:pt x="2040" y="1336"/>
                      </a:cubicBezTo>
                      <a:lnTo>
                        <a:pt x="2032" y="1336"/>
                      </a:lnTo>
                      <a:cubicBezTo>
                        <a:pt x="2024" y="1336"/>
                        <a:pt x="2016" y="1336"/>
                        <a:pt x="2008" y="1336"/>
                      </a:cubicBezTo>
                      <a:lnTo>
                        <a:pt x="2008" y="1336"/>
                      </a:lnTo>
                      <a:cubicBezTo>
                        <a:pt x="1992" y="1336"/>
                        <a:pt x="1977" y="1344"/>
                        <a:pt x="1969" y="1344"/>
                      </a:cubicBezTo>
                      <a:cubicBezTo>
                        <a:pt x="1961" y="1352"/>
                        <a:pt x="1961" y="1352"/>
                        <a:pt x="1961" y="1352"/>
                      </a:cubicBezTo>
                      <a:cubicBezTo>
                        <a:pt x="1969" y="1352"/>
                        <a:pt x="1969" y="1352"/>
                        <a:pt x="1977" y="1352"/>
                      </a:cubicBezTo>
                      <a:cubicBezTo>
                        <a:pt x="1977" y="1352"/>
                        <a:pt x="1992" y="1352"/>
                        <a:pt x="2001" y="1360"/>
                      </a:cubicBezTo>
                      <a:cubicBezTo>
                        <a:pt x="2008" y="1360"/>
                        <a:pt x="2016" y="1368"/>
                        <a:pt x="2016" y="1368"/>
                      </a:cubicBezTo>
                      <a:cubicBezTo>
                        <a:pt x="2016" y="1384"/>
                        <a:pt x="2008" y="1392"/>
                        <a:pt x="2001" y="1399"/>
                      </a:cubicBezTo>
                      <a:lnTo>
                        <a:pt x="2001" y="1399"/>
                      </a:lnTo>
                      <a:cubicBezTo>
                        <a:pt x="1992" y="1415"/>
                        <a:pt x="1977" y="1415"/>
                        <a:pt x="1969" y="1415"/>
                      </a:cubicBezTo>
                      <a:cubicBezTo>
                        <a:pt x="1961" y="1415"/>
                        <a:pt x="1953" y="1423"/>
                        <a:pt x="1945" y="1423"/>
                      </a:cubicBezTo>
                      <a:cubicBezTo>
                        <a:pt x="1945" y="1431"/>
                        <a:pt x="1945" y="1431"/>
                        <a:pt x="1945" y="1431"/>
                      </a:cubicBezTo>
                      <a:lnTo>
                        <a:pt x="1953" y="1431"/>
                      </a:lnTo>
                      <a:cubicBezTo>
                        <a:pt x="1961" y="1431"/>
                        <a:pt x="1961" y="1431"/>
                        <a:pt x="1961" y="1431"/>
                      </a:cubicBezTo>
                      <a:cubicBezTo>
                        <a:pt x="1969" y="1431"/>
                        <a:pt x="1977" y="1431"/>
                        <a:pt x="1985" y="1439"/>
                      </a:cubicBezTo>
                      <a:cubicBezTo>
                        <a:pt x="1985" y="1439"/>
                        <a:pt x="1985" y="1447"/>
                        <a:pt x="1985" y="1463"/>
                      </a:cubicBezTo>
                      <a:cubicBezTo>
                        <a:pt x="1977" y="1479"/>
                        <a:pt x="1969" y="1486"/>
                        <a:pt x="1953" y="1486"/>
                      </a:cubicBezTo>
                      <a:cubicBezTo>
                        <a:pt x="1953" y="1486"/>
                        <a:pt x="1945" y="1486"/>
                        <a:pt x="1937" y="1494"/>
                      </a:cubicBezTo>
                      <a:cubicBezTo>
                        <a:pt x="1929" y="1494"/>
                        <a:pt x="1929" y="1494"/>
                        <a:pt x="1929" y="1502"/>
                      </a:cubicBezTo>
                      <a:lnTo>
                        <a:pt x="1937" y="1510"/>
                      </a:lnTo>
                      <a:cubicBezTo>
                        <a:pt x="1945" y="1510"/>
                        <a:pt x="1945" y="1510"/>
                        <a:pt x="1945" y="1510"/>
                      </a:cubicBezTo>
                      <a:cubicBezTo>
                        <a:pt x="1953" y="1518"/>
                        <a:pt x="1961" y="1518"/>
                        <a:pt x="1977" y="1534"/>
                      </a:cubicBezTo>
                      <a:cubicBezTo>
                        <a:pt x="1977" y="1534"/>
                        <a:pt x="1985" y="1542"/>
                        <a:pt x="1977" y="1550"/>
                      </a:cubicBezTo>
                      <a:cubicBezTo>
                        <a:pt x="1977" y="1557"/>
                        <a:pt x="1961" y="1573"/>
                        <a:pt x="1945" y="1581"/>
                      </a:cubicBezTo>
                      <a:cubicBezTo>
                        <a:pt x="1937" y="1581"/>
                        <a:pt x="1937" y="1581"/>
                        <a:pt x="1937" y="1581"/>
                      </a:cubicBezTo>
                      <a:lnTo>
                        <a:pt x="1937" y="1589"/>
                      </a:lnTo>
                      <a:cubicBezTo>
                        <a:pt x="1937" y="1589"/>
                        <a:pt x="1937" y="1597"/>
                        <a:pt x="1937" y="1613"/>
                      </a:cubicBezTo>
                      <a:cubicBezTo>
                        <a:pt x="1937" y="1621"/>
                        <a:pt x="1937" y="1629"/>
                        <a:pt x="1937" y="1629"/>
                      </a:cubicBezTo>
                      <a:lnTo>
                        <a:pt x="1937" y="1629"/>
                      </a:lnTo>
                      <a:lnTo>
                        <a:pt x="1945" y="1621"/>
                      </a:lnTo>
                      <a:cubicBezTo>
                        <a:pt x="1953" y="1621"/>
                        <a:pt x="1961" y="1629"/>
                        <a:pt x="1961" y="1629"/>
                      </a:cubicBezTo>
                      <a:cubicBezTo>
                        <a:pt x="1969" y="1637"/>
                        <a:pt x="1969" y="1637"/>
                        <a:pt x="1969" y="1652"/>
                      </a:cubicBezTo>
                      <a:cubicBezTo>
                        <a:pt x="1969" y="1668"/>
                        <a:pt x="1945" y="1684"/>
                        <a:pt x="1921" y="1692"/>
                      </a:cubicBezTo>
                      <a:cubicBezTo>
                        <a:pt x="1914" y="1692"/>
                        <a:pt x="1906" y="1692"/>
                        <a:pt x="1906" y="1700"/>
                      </a:cubicBezTo>
                      <a:cubicBezTo>
                        <a:pt x="1898" y="1708"/>
                        <a:pt x="1906" y="1716"/>
                        <a:pt x="1906" y="1724"/>
                      </a:cubicBezTo>
                      <a:cubicBezTo>
                        <a:pt x="1914" y="1724"/>
                        <a:pt x="1914" y="1724"/>
                        <a:pt x="1914" y="1732"/>
                      </a:cubicBezTo>
                      <a:lnTo>
                        <a:pt x="1906" y="1739"/>
                      </a:lnTo>
                      <a:cubicBezTo>
                        <a:pt x="1890" y="1755"/>
                        <a:pt x="1882" y="1755"/>
                        <a:pt x="1890" y="1771"/>
                      </a:cubicBezTo>
                      <a:cubicBezTo>
                        <a:pt x="1906" y="1787"/>
                        <a:pt x="1906" y="1795"/>
                        <a:pt x="1906" y="1818"/>
                      </a:cubicBezTo>
                      <a:cubicBezTo>
                        <a:pt x="1906" y="1826"/>
                        <a:pt x="1898" y="1834"/>
                        <a:pt x="1898" y="1842"/>
                      </a:cubicBezTo>
                      <a:lnTo>
                        <a:pt x="1898" y="1842"/>
                      </a:lnTo>
                      <a:cubicBezTo>
                        <a:pt x="1898" y="1882"/>
                        <a:pt x="1898" y="1882"/>
                        <a:pt x="1914" y="1890"/>
                      </a:cubicBezTo>
                      <a:cubicBezTo>
                        <a:pt x="1914" y="1897"/>
                        <a:pt x="1914" y="1897"/>
                        <a:pt x="1914" y="1897"/>
                      </a:cubicBezTo>
                      <a:lnTo>
                        <a:pt x="1914" y="1897"/>
                      </a:lnTo>
                      <a:lnTo>
                        <a:pt x="1914" y="1905"/>
                      </a:lnTo>
                      <a:cubicBezTo>
                        <a:pt x="1906" y="1913"/>
                        <a:pt x="1890" y="1921"/>
                        <a:pt x="1858" y="1921"/>
                      </a:cubicBezTo>
                      <a:cubicBezTo>
                        <a:pt x="1834" y="1921"/>
                        <a:pt x="1795" y="1913"/>
                        <a:pt x="1763" y="1913"/>
                      </a:cubicBezTo>
                      <a:cubicBezTo>
                        <a:pt x="1739" y="1905"/>
                        <a:pt x="1716" y="1905"/>
                        <a:pt x="1708" y="1905"/>
                      </a:cubicBezTo>
                      <a:cubicBezTo>
                        <a:pt x="1700" y="1905"/>
                        <a:pt x="1692" y="1905"/>
                        <a:pt x="1692" y="1905"/>
                      </a:cubicBezTo>
                      <a:cubicBezTo>
                        <a:pt x="1684" y="1913"/>
                        <a:pt x="1684" y="1913"/>
                        <a:pt x="1684" y="1921"/>
                      </a:cubicBezTo>
                      <a:cubicBezTo>
                        <a:pt x="1684" y="1929"/>
                        <a:pt x="1684" y="1945"/>
                        <a:pt x="1700" y="1969"/>
                      </a:cubicBezTo>
                      <a:cubicBezTo>
                        <a:pt x="1716" y="1992"/>
                        <a:pt x="1716" y="2024"/>
                        <a:pt x="1708" y="2056"/>
                      </a:cubicBezTo>
                      <a:cubicBezTo>
                        <a:pt x="1708" y="2063"/>
                        <a:pt x="1708" y="2079"/>
                        <a:pt x="1708" y="2087"/>
                      </a:cubicBezTo>
                      <a:cubicBezTo>
                        <a:pt x="1708" y="2111"/>
                        <a:pt x="1700" y="2119"/>
                        <a:pt x="1684" y="2119"/>
                      </a:cubicBezTo>
                      <a:close/>
                      <a:moveTo>
                        <a:pt x="1605" y="2016"/>
                      </a:moveTo>
                      <a:lnTo>
                        <a:pt x="1605" y="2016"/>
                      </a:lnTo>
                      <a:lnTo>
                        <a:pt x="1605" y="2016"/>
                      </a:lnTo>
                      <a:cubicBezTo>
                        <a:pt x="1605" y="2016"/>
                        <a:pt x="1613" y="2024"/>
                        <a:pt x="1629" y="2048"/>
                      </a:cubicBezTo>
                      <a:cubicBezTo>
                        <a:pt x="1629" y="2056"/>
                        <a:pt x="1629" y="2063"/>
                        <a:pt x="1629" y="2071"/>
                      </a:cubicBezTo>
                      <a:cubicBezTo>
                        <a:pt x="1629" y="2095"/>
                        <a:pt x="1629" y="2111"/>
                        <a:pt x="1653" y="2111"/>
                      </a:cubicBezTo>
                      <a:cubicBezTo>
                        <a:pt x="1653" y="2111"/>
                        <a:pt x="1661" y="2111"/>
                        <a:pt x="1668" y="2111"/>
                      </a:cubicBezTo>
                      <a:cubicBezTo>
                        <a:pt x="1668" y="2111"/>
                        <a:pt x="1676" y="2111"/>
                        <a:pt x="1684" y="2111"/>
                      </a:cubicBezTo>
                      <a:cubicBezTo>
                        <a:pt x="1692" y="2111"/>
                        <a:pt x="1700" y="2111"/>
                        <a:pt x="1700" y="2087"/>
                      </a:cubicBezTo>
                      <a:cubicBezTo>
                        <a:pt x="1700" y="2079"/>
                        <a:pt x="1700" y="2063"/>
                        <a:pt x="1700" y="2048"/>
                      </a:cubicBezTo>
                      <a:cubicBezTo>
                        <a:pt x="1708" y="2024"/>
                        <a:pt x="1708" y="1992"/>
                        <a:pt x="1692" y="1969"/>
                      </a:cubicBezTo>
                      <a:cubicBezTo>
                        <a:pt x="1676" y="1945"/>
                        <a:pt x="1676" y="1929"/>
                        <a:pt x="1676" y="1921"/>
                      </a:cubicBezTo>
                      <a:cubicBezTo>
                        <a:pt x="1676" y="1913"/>
                        <a:pt x="1684" y="1905"/>
                        <a:pt x="1692" y="1897"/>
                      </a:cubicBezTo>
                      <a:cubicBezTo>
                        <a:pt x="1692" y="1897"/>
                        <a:pt x="1700" y="1897"/>
                        <a:pt x="1708" y="1897"/>
                      </a:cubicBezTo>
                      <a:cubicBezTo>
                        <a:pt x="1716" y="1897"/>
                        <a:pt x="1739" y="1897"/>
                        <a:pt x="1763" y="1905"/>
                      </a:cubicBezTo>
                      <a:cubicBezTo>
                        <a:pt x="1795" y="1913"/>
                        <a:pt x="1834" y="1913"/>
                        <a:pt x="1858" y="1913"/>
                      </a:cubicBezTo>
                      <a:cubicBezTo>
                        <a:pt x="1882" y="1913"/>
                        <a:pt x="1898" y="1913"/>
                        <a:pt x="1906" y="1905"/>
                      </a:cubicBezTo>
                      <a:cubicBezTo>
                        <a:pt x="1906" y="1897"/>
                        <a:pt x="1906" y="1897"/>
                        <a:pt x="1906" y="1897"/>
                      </a:cubicBezTo>
                      <a:cubicBezTo>
                        <a:pt x="1890" y="1882"/>
                        <a:pt x="1890" y="1874"/>
                        <a:pt x="1890" y="1842"/>
                      </a:cubicBezTo>
                      <a:lnTo>
                        <a:pt x="1890" y="1842"/>
                      </a:lnTo>
                      <a:cubicBezTo>
                        <a:pt x="1890" y="1826"/>
                        <a:pt x="1898" y="1826"/>
                        <a:pt x="1898" y="1818"/>
                      </a:cubicBezTo>
                      <a:cubicBezTo>
                        <a:pt x="1898" y="1795"/>
                        <a:pt x="1898" y="1795"/>
                        <a:pt x="1890" y="1771"/>
                      </a:cubicBezTo>
                      <a:cubicBezTo>
                        <a:pt x="1874" y="1755"/>
                        <a:pt x="1890" y="1747"/>
                        <a:pt x="1898" y="1739"/>
                      </a:cubicBezTo>
                      <a:cubicBezTo>
                        <a:pt x="1898" y="1732"/>
                        <a:pt x="1906" y="1732"/>
                        <a:pt x="1906" y="1732"/>
                      </a:cubicBezTo>
                      <a:cubicBezTo>
                        <a:pt x="1906" y="1724"/>
                        <a:pt x="1906" y="1724"/>
                        <a:pt x="1906" y="1724"/>
                      </a:cubicBezTo>
                      <a:cubicBezTo>
                        <a:pt x="1898" y="1716"/>
                        <a:pt x="1890" y="1708"/>
                        <a:pt x="1898" y="1700"/>
                      </a:cubicBezTo>
                      <a:cubicBezTo>
                        <a:pt x="1898" y="1692"/>
                        <a:pt x="1906" y="1684"/>
                        <a:pt x="1921" y="1684"/>
                      </a:cubicBezTo>
                      <a:cubicBezTo>
                        <a:pt x="1945" y="1676"/>
                        <a:pt x="1961" y="1660"/>
                        <a:pt x="1961" y="1645"/>
                      </a:cubicBezTo>
                      <a:lnTo>
                        <a:pt x="1961" y="1637"/>
                      </a:lnTo>
                      <a:cubicBezTo>
                        <a:pt x="1953" y="1629"/>
                        <a:pt x="1945" y="1629"/>
                        <a:pt x="1937" y="1637"/>
                      </a:cubicBezTo>
                      <a:cubicBezTo>
                        <a:pt x="1937" y="1637"/>
                        <a:pt x="1937" y="1637"/>
                        <a:pt x="1929" y="1637"/>
                      </a:cubicBezTo>
                      <a:cubicBezTo>
                        <a:pt x="1929" y="1637"/>
                        <a:pt x="1929" y="1637"/>
                        <a:pt x="1929" y="1629"/>
                      </a:cubicBezTo>
                      <a:cubicBezTo>
                        <a:pt x="1929" y="1629"/>
                        <a:pt x="1929" y="1621"/>
                        <a:pt x="1929" y="1613"/>
                      </a:cubicBezTo>
                      <a:cubicBezTo>
                        <a:pt x="1929" y="1597"/>
                        <a:pt x="1929" y="1597"/>
                        <a:pt x="1929" y="1589"/>
                      </a:cubicBezTo>
                      <a:cubicBezTo>
                        <a:pt x="1929" y="1581"/>
                        <a:pt x="1929" y="1581"/>
                        <a:pt x="1937" y="1573"/>
                      </a:cubicBezTo>
                      <a:cubicBezTo>
                        <a:pt x="1953" y="1566"/>
                        <a:pt x="1969" y="1557"/>
                        <a:pt x="1977" y="1550"/>
                      </a:cubicBezTo>
                      <a:cubicBezTo>
                        <a:pt x="1977" y="1542"/>
                        <a:pt x="1977" y="1542"/>
                        <a:pt x="1969" y="1534"/>
                      </a:cubicBezTo>
                      <a:cubicBezTo>
                        <a:pt x="1961" y="1526"/>
                        <a:pt x="1953" y="1526"/>
                        <a:pt x="1945" y="1518"/>
                      </a:cubicBezTo>
                      <a:cubicBezTo>
                        <a:pt x="1937" y="1518"/>
                        <a:pt x="1937" y="1518"/>
                        <a:pt x="1937" y="1518"/>
                      </a:cubicBezTo>
                      <a:cubicBezTo>
                        <a:pt x="1929" y="1518"/>
                        <a:pt x="1921" y="1510"/>
                        <a:pt x="1921" y="1502"/>
                      </a:cubicBezTo>
                      <a:cubicBezTo>
                        <a:pt x="1921" y="1502"/>
                        <a:pt x="1921" y="1494"/>
                        <a:pt x="1937" y="1486"/>
                      </a:cubicBezTo>
                      <a:cubicBezTo>
                        <a:pt x="1937" y="1479"/>
                        <a:pt x="1945" y="1479"/>
                        <a:pt x="1953" y="1479"/>
                      </a:cubicBezTo>
                      <a:cubicBezTo>
                        <a:pt x="1961" y="1479"/>
                        <a:pt x="1969" y="1479"/>
                        <a:pt x="1977" y="1463"/>
                      </a:cubicBezTo>
                      <a:cubicBezTo>
                        <a:pt x="1977" y="1455"/>
                        <a:pt x="1977" y="1447"/>
                        <a:pt x="1977" y="1439"/>
                      </a:cubicBezTo>
                      <a:cubicBezTo>
                        <a:pt x="1977" y="1439"/>
                        <a:pt x="1969" y="1439"/>
                        <a:pt x="1961" y="1439"/>
                      </a:cubicBezTo>
                      <a:cubicBezTo>
                        <a:pt x="1961" y="1439"/>
                        <a:pt x="1961" y="1439"/>
                        <a:pt x="1953" y="1439"/>
                      </a:cubicBezTo>
                      <a:lnTo>
                        <a:pt x="1945" y="1439"/>
                      </a:lnTo>
                      <a:cubicBezTo>
                        <a:pt x="1945" y="1439"/>
                        <a:pt x="1937" y="1439"/>
                        <a:pt x="1937" y="1431"/>
                      </a:cubicBezTo>
                      <a:cubicBezTo>
                        <a:pt x="1937" y="1431"/>
                        <a:pt x="1937" y="1423"/>
                        <a:pt x="1945" y="1423"/>
                      </a:cubicBezTo>
                      <a:cubicBezTo>
                        <a:pt x="1953" y="1415"/>
                        <a:pt x="1961" y="1415"/>
                        <a:pt x="1969" y="1407"/>
                      </a:cubicBezTo>
                      <a:cubicBezTo>
                        <a:pt x="1977" y="1407"/>
                        <a:pt x="1985" y="1407"/>
                        <a:pt x="1992" y="1399"/>
                      </a:cubicBezTo>
                      <a:lnTo>
                        <a:pt x="1992" y="1392"/>
                      </a:lnTo>
                      <a:cubicBezTo>
                        <a:pt x="2001" y="1384"/>
                        <a:pt x="2008" y="1376"/>
                        <a:pt x="2008" y="1376"/>
                      </a:cubicBezTo>
                      <a:cubicBezTo>
                        <a:pt x="2008" y="1368"/>
                        <a:pt x="2001" y="1368"/>
                        <a:pt x="1992" y="1368"/>
                      </a:cubicBezTo>
                      <a:cubicBezTo>
                        <a:pt x="1985" y="1360"/>
                        <a:pt x="1977" y="1360"/>
                        <a:pt x="1969" y="1360"/>
                      </a:cubicBezTo>
                      <a:cubicBezTo>
                        <a:pt x="1961" y="1352"/>
                        <a:pt x="1953" y="1352"/>
                        <a:pt x="1953" y="1352"/>
                      </a:cubicBezTo>
                      <a:cubicBezTo>
                        <a:pt x="1953" y="1344"/>
                        <a:pt x="1961" y="1344"/>
                        <a:pt x="1961" y="1344"/>
                      </a:cubicBezTo>
                      <a:cubicBezTo>
                        <a:pt x="1969" y="1336"/>
                        <a:pt x="1992" y="1328"/>
                        <a:pt x="2008" y="1328"/>
                      </a:cubicBezTo>
                      <a:cubicBezTo>
                        <a:pt x="2008" y="1328"/>
                        <a:pt x="2008" y="1328"/>
                        <a:pt x="2016" y="1328"/>
                      </a:cubicBezTo>
                      <a:cubicBezTo>
                        <a:pt x="2024" y="1328"/>
                        <a:pt x="2024" y="1328"/>
                        <a:pt x="2032" y="1328"/>
                      </a:cubicBezTo>
                      <a:lnTo>
                        <a:pt x="2032" y="1328"/>
                      </a:lnTo>
                      <a:lnTo>
                        <a:pt x="2032" y="1328"/>
                      </a:lnTo>
                      <a:cubicBezTo>
                        <a:pt x="2024" y="1313"/>
                        <a:pt x="2016" y="1305"/>
                        <a:pt x="2016" y="1297"/>
                      </a:cubicBezTo>
                      <a:cubicBezTo>
                        <a:pt x="2024" y="1297"/>
                        <a:pt x="2024" y="1289"/>
                        <a:pt x="2032" y="1289"/>
                      </a:cubicBezTo>
                      <a:cubicBezTo>
                        <a:pt x="2040" y="1289"/>
                        <a:pt x="2040" y="1289"/>
                        <a:pt x="2040" y="1289"/>
                      </a:cubicBezTo>
                      <a:cubicBezTo>
                        <a:pt x="2048" y="1289"/>
                        <a:pt x="2056" y="1289"/>
                        <a:pt x="2056" y="1289"/>
                      </a:cubicBezTo>
                      <a:lnTo>
                        <a:pt x="2056" y="1289"/>
                      </a:lnTo>
                      <a:cubicBezTo>
                        <a:pt x="2056" y="1281"/>
                        <a:pt x="2064" y="1281"/>
                        <a:pt x="2072" y="1281"/>
                      </a:cubicBezTo>
                      <a:cubicBezTo>
                        <a:pt x="2079" y="1273"/>
                        <a:pt x="2087" y="1273"/>
                        <a:pt x="2087" y="1265"/>
                      </a:cubicBezTo>
                      <a:lnTo>
                        <a:pt x="2087" y="1265"/>
                      </a:lnTo>
                      <a:cubicBezTo>
                        <a:pt x="2079" y="1257"/>
                        <a:pt x="2072" y="1257"/>
                        <a:pt x="2072" y="1257"/>
                      </a:cubicBezTo>
                      <a:cubicBezTo>
                        <a:pt x="2064" y="1249"/>
                        <a:pt x="2064" y="1249"/>
                        <a:pt x="2056" y="1249"/>
                      </a:cubicBezTo>
                      <a:lnTo>
                        <a:pt x="2056" y="1249"/>
                      </a:lnTo>
                      <a:cubicBezTo>
                        <a:pt x="2024" y="1249"/>
                        <a:pt x="1953" y="1249"/>
                        <a:pt x="1929" y="1233"/>
                      </a:cubicBezTo>
                      <a:cubicBezTo>
                        <a:pt x="1906" y="1218"/>
                        <a:pt x="1906" y="1194"/>
                        <a:pt x="1914" y="1170"/>
                      </a:cubicBezTo>
                      <a:cubicBezTo>
                        <a:pt x="1921" y="1155"/>
                        <a:pt x="1921" y="1146"/>
                        <a:pt x="1914" y="1139"/>
                      </a:cubicBezTo>
                      <a:cubicBezTo>
                        <a:pt x="1906" y="1131"/>
                        <a:pt x="1890" y="1107"/>
                        <a:pt x="1874" y="1091"/>
                      </a:cubicBezTo>
                      <a:cubicBezTo>
                        <a:pt x="1866" y="1075"/>
                        <a:pt x="1866" y="1067"/>
                        <a:pt x="1858" y="1060"/>
                      </a:cubicBezTo>
                      <a:cubicBezTo>
                        <a:pt x="1842" y="1044"/>
                        <a:pt x="1834" y="1036"/>
                        <a:pt x="1819" y="1028"/>
                      </a:cubicBezTo>
                      <a:cubicBezTo>
                        <a:pt x="1811" y="1028"/>
                        <a:pt x="1803" y="1020"/>
                        <a:pt x="1795" y="1020"/>
                      </a:cubicBezTo>
                      <a:cubicBezTo>
                        <a:pt x="1771" y="1004"/>
                        <a:pt x="1779" y="980"/>
                        <a:pt x="1779" y="957"/>
                      </a:cubicBezTo>
                      <a:cubicBezTo>
                        <a:pt x="1779" y="949"/>
                        <a:pt x="1779" y="941"/>
                        <a:pt x="1779" y="933"/>
                      </a:cubicBezTo>
                      <a:cubicBezTo>
                        <a:pt x="1771" y="917"/>
                        <a:pt x="1724" y="854"/>
                        <a:pt x="1700" y="830"/>
                      </a:cubicBezTo>
                      <a:cubicBezTo>
                        <a:pt x="1692" y="830"/>
                        <a:pt x="1692" y="830"/>
                        <a:pt x="1684" y="822"/>
                      </a:cubicBezTo>
                      <a:cubicBezTo>
                        <a:pt x="1661" y="807"/>
                        <a:pt x="1637" y="791"/>
                        <a:pt x="1597" y="759"/>
                      </a:cubicBezTo>
                      <a:cubicBezTo>
                        <a:pt x="1558" y="728"/>
                        <a:pt x="1550" y="704"/>
                        <a:pt x="1542" y="688"/>
                      </a:cubicBezTo>
                      <a:cubicBezTo>
                        <a:pt x="1534" y="680"/>
                        <a:pt x="1534" y="672"/>
                        <a:pt x="1526" y="656"/>
                      </a:cubicBezTo>
                      <a:cubicBezTo>
                        <a:pt x="1502" y="633"/>
                        <a:pt x="1479" y="625"/>
                        <a:pt x="1447" y="617"/>
                      </a:cubicBezTo>
                      <a:cubicBezTo>
                        <a:pt x="1415" y="601"/>
                        <a:pt x="1392" y="593"/>
                        <a:pt x="1360" y="546"/>
                      </a:cubicBezTo>
                      <a:cubicBezTo>
                        <a:pt x="1328" y="506"/>
                        <a:pt x="1313" y="498"/>
                        <a:pt x="1265" y="482"/>
                      </a:cubicBezTo>
                      <a:cubicBezTo>
                        <a:pt x="1210" y="459"/>
                        <a:pt x="1162" y="388"/>
                        <a:pt x="1123" y="324"/>
                      </a:cubicBezTo>
                      <a:cubicBezTo>
                        <a:pt x="1115" y="316"/>
                        <a:pt x="1115" y="301"/>
                        <a:pt x="1107" y="293"/>
                      </a:cubicBezTo>
                      <a:cubicBezTo>
                        <a:pt x="1091" y="261"/>
                        <a:pt x="1084" y="245"/>
                        <a:pt x="1068" y="245"/>
                      </a:cubicBezTo>
                      <a:cubicBezTo>
                        <a:pt x="1060" y="245"/>
                        <a:pt x="1052" y="245"/>
                        <a:pt x="1044" y="253"/>
                      </a:cubicBezTo>
                      <a:cubicBezTo>
                        <a:pt x="1036" y="253"/>
                        <a:pt x="1028" y="253"/>
                        <a:pt x="1020" y="253"/>
                      </a:cubicBezTo>
                      <a:cubicBezTo>
                        <a:pt x="1012" y="253"/>
                        <a:pt x="1004" y="253"/>
                        <a:pt x="1004" y="245"/>
                      </a:cubicBezTo>
                      <a:cubicBezTo>
                        <a:pt x="989" y="229"/>
                        <a:pt x="949" y="198"/>
                        <a:pt x="925" y="182"/>
                      </a:cubicBezTo>
                      <a:cubicBezTo>
                        <a:pt x="917" y="182"/>
                        <a:pt x="917" y="182"/>
                        <a:pt x="909" y="174"/>
                      </a:cubicBezTo>
                      <a:cubicBezTo>
                        <a:pt x="894" y="166"/>
                        <a:pt x="902" y="135"/>
                        <a:pt x="902" y="103"/>
                      </a:cubicBezTo>
                      <a:cubicBezTo>
                        <a:pt x="902" y="95"/>
                        <a:pt x="902" y="95"/>
                        <a:pt x="902" y="95"/>
                      </a:cubicBezTo>
                      <a:cubicBezTo>
                        <a:pt x="902" y="63"/>
                        <a:pt x="941" y="48"/>
                        <a:pt x="957" y="32"/>
                      </a:cubicBezTo>
                      <a:cubicBezTo>
                        <a:pt x="965" y="24"/>
                        <a:pt x="965" y="24"/>
                        <a:pt x="965" y="24"/>
                      </a:cubicBezTo>
                      <a:cubicBezTo>
                        <a:pt x="973" y="24"/>
                        <a:pt x="973" y="24"/>
                        <a:pt x="973" y="8"/>
                      </a:cubicBezTo>
                      <a:cubicBezTo>
                        <a:pt x="965" y="16"/>
                        <a:pt x="949" y="16"/>
                        <a:pt x="941" y="16"/>
                      </a:cubicBezTo>
                      <a:cubicBezTo>
                        <a:pt x="917" y="16"/>
                        <a:pt x="799" y="32"/>
                        <a:pt x="617" y="48"/>
                      </a:cubicBezTo>
                      <a:cubicBezTo>
                        <a:pt x="451" y="71"/>
                        <a:pt x="245" y="95"/>
                        <a:pt x="8" y="119"/>
                      </a:cubicBezTo>
                      <a:cubicBezTo>
                        <a:pt x="372" y="1241"/>
                        <a:pt x="372" y="1241"/>
                        <a:pt x="372" y="1241"/>
                      </a:cubicBezTo>
                      <a:cubicBezTo>
                        <a:pt x="372" y="1241"/>
                        <a:pt x="396" y="1249"/>
                        <a:pt x="411" y="1265"/>
                      </a:cubicBezTo>
                      <a:cubicBezTo>
                        <a:pt x="419" y="1273"/>
                        <a:pt x="419" y="1281"/>
                        <a:pt x="419" y="1289"/>
                      </a:cubicBezTo>
                      <a:cubicBezTo>
                        <a:pt x="419" y="1297"/>
                        <a:pt x="411" y="1313"/>
                        <a:pt x="419" y="1320"/>
                      </a:cubicBezTo>
                      <a:cubicBezTo>
                        <a:pt x="419" y="1336"/>
                        <a:pt x="427" y="1344"/>
                        <a:pt x="435" y="1344"/>
                      </a:cubicBezTo>
                      <a:cubicBezTo>
                        <a:pt x="435" y="1352"/>
                        <a:pt x="443" y="1352"/>
                        <a:pt x="443" y="1368"/>
                      </a:cubicBezTo>
                      <a:cubicBezTo>
                        <a:pt x="443" y="1392"/>
                        <a:pt x="435" y="1407"/>
                        <a:pt x="419" y="1415"/>
                      </a:cubicBezTo>
                      <a:cubicBezTo>
                        <a:pt x="411" y="1423"/>
                        <a:pt x="411" y="1423"/>
                        <a:pt x="411" y="1423"/>
                      </a:cubicBezTo>
                      <a:cubicBezTo>
                        <a:pt x="404" y="1431"/>
                        <a:pt x="388" y="1431"/>
                        <a:pt x="388" y="1439"/>
                      </a:cubicBezTo>
                      <a:cubicBezTo>
                        <a:pt x="388" y="1447"/>
                        <a:pt x="388" y="1447"/>
                        <a:pt x="396" y="1455"/>
                      </a:cubicBezTo>
                      <a:cubicBezTo>
                        <a:pt x="404" y="1471"/>
                        <a:pt x="411" y="1518"/>
                        <a:pt x="396" y="1534"/>
                      </a:cubicBezTo>
                      <a:cubicBezTo>
                        <a:pt x="380" y="1542"/>
                        <a:pt x="364" y="1605"/>
                        <a:pt x="380" y="1621"/>
                      </a:cubicBezTo>
                      <a:lnTo>
                        <a:pt x="388" y="1629"/>
                      </a:lnTo>
                      <a:cubicBezTo>
                        <a:pt x="404" y="1645"/>
                        <a:pt x="427" y="1676"/>
                        <a:pt x="427" y="1700"/>
                      </a:cubicBezTo>
                      <a:cubicBezTo>
                        <a:pt x="427" y="1716"/>
                        <a:pt x="427" y="1739"/>
                        <a:pt x="427" y="1771"/>
                      </a:cubicBezTo>
                      <a:cubicBezTo>
                        <a:pt x="419" y="1803"/>
                        <a:pt x="411" y="1834"/>
                        <a:pt x="419" y="1850"/>
                      </a:cubicBezTo>
                      <a:cubicBezTo>
                        <a:pt x="419" y="1858"/>
                        <a:pt x="427" y="1874"/>
                        <a:pt x="435" y="1890"/>
                      </a:cubicBezTo>
                      <a:cubicBezTo>
                        <a:pt x="451" y="1921"/>
                        <a:pt x="467" y="1961"/>
                        <a:pt x="467" y="1977"/>
                      </a:cubicBezTo>
                      <a:cubicBezTo>
                        <a:pt x="506" y="2032"/>
                        <a:pt x="546" y="2095"/>
                        <a:pt x="554" y="2103"/>
                      </a:cubicBezTo>
                      <a:cubicBezTo>
                        <a:pt x="569" y="2103"/>
                        <a:pt x="1589" y="2016"/>
                        <a:pt x="1605" y="201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8" name="Freeform 412">
                  <a:extLst>
                    <a:ext uri="{FF2B5EF4-FFF2-40B4-BE49-F238E27FC236}">
                      <a16:creationId xmlns:a16="http://schemas.microsoft.com/office/drawing/2014/main" id="{187D6A98-7B79-A949-8833-1855856ACE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4782" y="7033454"/>
                  <a:ext cx="758412" cy="1240828"/>
                </a:xfrm>
                <a:custGeom>
                  <a:avLst/>
                  <a:gdLst>
                    <a:gd name="T0" fmla="*/ 1399 w 1440"/>
                    <a:gd name="T1" fmla="*/ 1581 h 2357"/>
                    <a:gd name="T2" fmla="*/ 1399 w 1440"/>
                    <a:gd name="T3" fmla="*/ 1581 h 2357"/>
                    <a:gd name="T4" fmla="*/ 1344 w 1440"/>
                    <a:gd name="T5" fmla="*/ 1502 h 2357"/>
                    <a:gd name="T6" fmla="*/ 1360 w 1440"/>
                    <a:gd name="T7" fmla="*/ 1407 h 2357"/>
                    <a:gd name="T8" fmla="*/ 1360 w 1440"/>
                    <a:gd name="T9" fmla="*/ 1336 h 2357"/>
                    <a:gd name="T10" fmla="*/ 1383 w 1440"/>
                    <a:gd name="T11" fmla="*/ 1296 h 2357"/>
                    <a:gd name="T12" fmla="*/ 1415 w 1440"/>
                    <a:gd name="T13" fmla="*/ 1249 h 2357"/>
                    <a:gd name="T14" fmla="*/ 1383 w 1440"/>
                    <a:gd name="T15" fmla="*/ 1209 h 2357"/>
                    <a:gd name="T16" fmla="*/ 1376 w 1440"/>
                    <a:gd name="T17" fmla="*/ 1146 h 2357"/>
                    <a:gd name="T18" fmla="*/ 1336 w 1440"/>
                    <a:gd name="T19" fmla="*/ 1130 h 2357"/>
                    <a:gd name="T20" fmla="*/ 980 w 1440"/>
                    <a:gd name="T21" fmla="*/ 0 h 2357"/>
                    <a:gd name="T22" fmla="*/ 0 w 1440"/>
                    <a:gd name="T23" fmla="*/ 95 h 2357"/>
                    <a:gd name="T24" fmla="*/ 24 w 1440"/>
                    <a:gd name="T25" fmla="*/ 134 h 2357"/>
                    <a:gd name="T26" fmla="*/ 40 w 1440"/>
                    <a:gd name="T27" fmla="*/ 182 h 2357"/>
                    <a:gd name="T28" fmla="*/ 24 w 1440"/>
                    <a:gd name="T29" fmla="*/ 1636 h 2357"/>
                    <a:gd name="T30" fmla="*/ 111 w 1440"/>
                    <a:gd name="T31" fmla="*/ 2300 h 2357"/>
                    <a:gd name="T32" fmla="*/ 190 w 1440"/>
                    <a:gd name="T33" fmla="*/ 2292 h 2357"/>
                    <a:gd name="T34" fmla="*/ 229 w 1440"/>
                    <a:gd name="T35" fmla="*/ 2261 h 2357"/>
                    <a:gd name="T36" fmla="*/ 245 w 1440"/>
                    <a:gd name="T37" fmla="*/ 2134 h 2357"/>
                    <a:gd name="T38" fmla="*/ 308 w 1440"/>
                    <a:gd name="T39" fmla="*/ 2166 h 2357"/>
                    <a:gd name="T40" fmla="*/ 285 w 1440"/>
                    <a:gd name="T41" fmla="*/ 2229 h 2357"/>
                    <a:gd name="T42" fmla="*/ 356 w 1440"/>
                    <a:gd name="T43" fmla="*/ 2284 h 2357"/>
                    <a:gd name="T44" fmla="*/ 332 w 1440"/>
                    <a:gd name="T45" fmla="*/ 2324 h 2357"/>
                    <a:gd name="T46" fmla="*/ 277 w 1440"/>
                    <a:gd name="T47" fmla="*/ 2348 h 2357"/>
                    <a:gd name="T48" fmla="*/ 371 w 1440"/>
                    <a:gd name="T49" fmla="*/ 2340 h 2357"/>
                    <a:gd name="T50" fmla="*/ 443 w 1440"/>
                    <a:gd name="T51" fmla="*/ 2316 h 2357"/>
                    <a:gd name="T52" fmla="*/ 474 w 1440"/>
                    <a:gd name="T53" fmla="*/ 2277 h 2357"/>
                    <a:gd name="T54" fmla="*/ 490 w 1440"/>
                    <a:gd name="T55" fmla="*/ 2292 h 2357"/>
                    <a:gd name="T56" fmla="*/ 514 w 1440"/>
                    <a:gd name="T57" fmla="*/ 2229 h 2357"/>
                    <a:gd name="T58" fmla="*/ 490 w 1440"/>
                    <a:gd name="T59" fmla="*/ 2158 h 2357"/>
                    <a:gd name="T60" fmla="*/ 482 w 1440"/>
                    <a:gd name="T61" fmla="*/ 2095 h 2357"/>
                    <a:gd name="T62" fmla="*/ 411 w 1440"/>
                    <a:gd name="T63" fmla="*/ 2008 h 2357"/>
                    <a:gd name="T64" fmla="*/ 1439 w 1440"/>
                    <a:gd name="T65" fmla="*/ 1858 h 2357"/>
                    <a:gd name="T66" fmla="*/ 1383 w 1440"/>
                    <a:gd name="T67" fmla="*/ 1731 h 2357"/>
                    <a:gd name="T68" fmla="*/ 1399 w 1440"/>
                    <a:gd name="T69" fmla="*/ 1581 h 23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40" h="2357">
                      <a:moveTo>
                        <a:pt x="1399" y="1581"/>
                      </a:moveTo>
                      <a:lnTo>
                        <a:pt x="1399" y="1581"/>
                      </a:lnTo>
                      <a:cubicBezTo>
                        <a:pt x="1399" y="1549"/>
                        <a:pt x="1360" y="1518"/>
                        <a:pt x="1344" y="1502"/>
                      </a:cubicBezTo>
                      <a:cubicBezTo>
                        <a:pt x="1336" y="1486"/>
                        <a:pt x="1344" y="1423"/>
                        <a:pt x="1360" y="1407"/>
                      </a:cubicBezTo>
                      <a:cubicBezTo>
                        <a:pt x="1376" y="1391"/>
                        <a:pt x="1376" y="1352"/>
                        <a:pt x="1360" y="1336"/>
                      </a:cubicBezTo>
                      <a:cubicBezTo>
                        <a:pt x="1352" y="1320"/>
                        <a:pt x="1368" y="1304"/>
                        <a:pt x="1383" y="1296"/>
                      </a:cubicBezTo>
                      <a:cubicBezTo>
                        <a:pt x="1407" y="1288"/>
                        <a:pt x="1415" y="1273"/>
                        <a:pt x="1415" y="1249"/>
                      </a:cubicBezTo>
                      <a:cubicBezTo>
                        <a:pt x="1415" y="1225"/>
                        <a:pt x="1399" y="1233"/>
                        <a:pt x="1383" y="1209"/>
                      </a:cubicBezTo>
                      <a:cubicBezTo>
                        <a:pt x="1376" y="1178"/>
                        <a:pt x="1391" y="1154"/>
                        <a:pt x="1376" y="1146"/>
                      </a:cubicBezTo>
                      <a:cubicBezTo>
                        <a:pt x="1368" y="1138"/>
                        <a:pt x="1336" y="1130"/>
                        <a:pt x="1336" y="1130"/>
                      </a:cubicBezTo>
                      <a:cubicBezTo>
                        <a:pt x="980" y="0"/>
                        <a:pt x="980" y="0"/>
                        <a:pt x="980" y="0"/>
                      </a:cubicBezTo>
                      <a:cubicBezTo>
                        <a:pt x="672" y="31"/>
                        <a:pt x="324" y="71"/>
                        <a:pt x="0" y="95"/>
                      </a:cubicBezTo>
                      <a:cubicBezTo>
                        <a:pt x="8" y="110"/>
                        <a:pt x="16" y="126"/>
                        <a:pt x="24" y="134"/>
                      </a:cubicBezTo>
                      <a:cubicBezTo>
                        <a:pt x="55" y="158"/>
                        <a:pt x="40" y="166"/>
                        <a:pt x="40" y="182"/>
                      </a:cubicBezTo>
                      <a:cubicBezTo>
                        <a:pt x="40" y="197"/>
                        <a:pt x="24" y="1636"/>
                        <a:pt x="24" y="1636"/>
                      </a:cubicBezTo>
                      <a:cubicBezTo>
                        <a:pt x="111" y="2300"/>
                        <a:pt x="111" y="2300"/>
                        <a:pt x="111" y="2300"/>
                      </a:cubicBezTo>
                      <a:cubicBezTo>
                        <a:pt x="134" y="2292"/>
                        <a:pt x="158" y="2284"/>
                        <a:pt x="190" y="2292"/>
                      </a:cubicBezTo>
                      <a:cubicBezTo>
                        <a:pt x="237" y="2300"/>
                        <a:pt x="229" y="2300"/>
                        <a:pt x="229" y="2261"/>
                      </a:cubicBezTo>
                      <a:cubicBezTo>
                        <a:pt x="229" y="2229"/>
                        <a:pt x="221" y="2142"/>
                        <a:pt x="245" y="2134"/>
                      </a:cubicBezTo>
                      <a:cubicBezTo>
                        <a:pt x="269" y="2118"/>
                        <a:pt x="316" y="2134"/>
                        <a:pt x="308" y="2166"/>
                      </a:cubicBezTo>
                      <a:cubicBezTo>
                        <a:pt x="300" y="2197"/>
                        <a:pt x="269" y="2205"/>
                        <a:pt x="285" y="2229"/>
                      </a:cubicBezTo>
                      <a:cubicBezTo>
                        <a:pt x="308" y="2253"/>
                        <a:pt x="356" y="2253"/>
                        <a:pt x="356" y="2284"/>
                      </a:cubicBezTo>
                      <a:cubicBezTo>
                        <a:pt x="356" y="2308"/>
                        <a:pt x="380" y="2316"/>
                        <a:pt x="332" y="2324"/>
                      </a:cubicBezTo>
                      <a:cubicBezTo>
                        <a:pt x="293" y="2332"/>
                        <a:pt x="253" y="2340"/>
                        <a:pt x="277" y="2348"/>
                      </a:cubicBezTo>
                      <a:cubicBezTo>
                        <a:pt x="308" y="2356"/>
                        <a:pt x="324" y="2348"/>
                        <a:pt x="371" y="2340"/>
                      </a:cubicBezTo>
                      <a:cubicBezTo>
                        <a:pt x="411" y="2332"/>
                        <a:pt x="427" y="2348"/>
                        <a:pt x="443" y="2316"/>
                      </a:cubicBezTo>
                      <a:cubicBezTo>
                        <a:pt x="458" y="2277"/>
                        <a:pt x="458" y="2261"/>
                        <a:pt x="474" y="2277"/>
                      </a:cubicBezTo>
                      <a:cubicBezTo>
                        <a:pt x="482" y="2284"/>
                        <a:pt x="490" y="2284"/>
                        <a:pt x="490" y="2292"/>
                      </a:cubicBezTo>
                      <a:cubicBezTo>
                        <a:pt x="506" y="2269"/>
                        <a:pt x="522" y="2237"/>
                        <a:pt x="514" y="2229"/>
                      </a:cubicBezTo>
                      <a:cubicBezTo>
                        <a:pt x="514" y="2213"/>
                        <a:pt x="482" y="2182"/>
                        <a:pt x="490" y="2158"/>
                      </a:cubicBezTo>
                      <a:cubicBezTo>
                        <a:pt x="498" y="2134"/>
                        <a:pt x="514" y="2118"/>
                        <a:pt x="482" y="2095"/>
                      </a:cubicBezTo>
                      <a:cubicBezTo>
                        <a:pt x="451" y="2071"/>
                        <a:pt x="387" y="2031"/>
                        <a:pt x="411" y="2008"/>
                      </a:cubicBezTo>
                      <a:cubicBezTo>
                        <a:pt x="427" y="1976"/>
                        <a:pt x="1439" y="1858"/>
                        <a:pt x="1439" y="1858"/>
                      </a:cubicBezTo>
                      <a:cubicBezTo>
                        <a:pt x="1439" y="1834"/>
                        <a:pt x="1391" y="1747"/>
                        <a:pt x="1383" y="1731"/>
                      </a:cubicBezTo>
                      <a:cubicBezTo>
                        <a:pt x="1383" y="1707"/>
                        <a:pt x="1399" y="1620"/>
                        <a:pt x="1399" y="158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9" name="Freeform 413">
                  <a:extLst>
                    <a:ext uri="{FF2B5EF4-FFF2-40B4-BE49-F238E27FC236}">
                      <a16:creationId xmlns:a16="http://schemas.microsoft.com/office/drawing/2014/main" id="{DBC5A53A-4259-4C41-AC2A-60DD58178F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60144" y="7028816"/>
                  <a:ext cx="760732" cy="1243148"/>
                </a:xfrm>
                <a:custGeom>
                  <a:avLst/>
                  <a:gdLst>
                    <a:gd name="T0" fmla="*/ 285 w 1448"/>
                    <a:gd name="T1" fmla="*/ 2364 h 2365"/>
                    <a:gd name="T2" fmla="*/ 364 w 1448"/>
                    <a:gd name="T3" fmla="*/ 2324 h 2365"/>
                    <a:gd name="T4" fmla="*/ 324 w 1448"/>
                    <a:gd name="T5" fmla="*/ 2261 h 2365"/>
                    <a:gd name="T6" fmla="*/ 316 w 1448"/>
                    <a:gd name="T7" fmla="*/ 2174 h 2365"/>
                    <a:gd name="T8" fmla="*/ 253 w 1448"/>
                    <a:gd name="T9" fmla="*/ 2142 h 2365"/>
                    <a:gd name="T10" fmla="*/ 245 w 1448"/>
                    <a:gd name="T11" fmla="*/ 2285 h 2365"/>
                    <a:gd name="T12" fmla="*/ 166 w 1448"/>
                    <a:gd name="T13" fmla="*/ 2300 h 2365"/>
                    <a:gd name="T14" fmla="*/ 111 w 1448"/>
                    <a:gd name="T15" fmla="*/ 2308 h 2365"/>
                    <a:gd name="T16" fmla="*/ 48 w 1448"/>
                    <a:gd name="T17" fmla="*/ 182 h 2365"/>
                    <a:gd name="T18" fmla="*/ 0 w 1448"/>
                    <a:gd name="T19" fmla="*/ 103 h 2365"/>
                    <a:gd name="T20" fmla="*/ 988 w 1448"/>
                    <a:gd name="T21" fmla="*/ 0 h 2365"/>
                    <a:gd name="T22" fmla="*/ 1399 w 1448"/>
                    <a:gd name="T23" fmla="*/ 1178 h 2365"/>
                    <a:gd name="T24" fmla="*/ 1423 w 1448"/>
                    <a:gd name="T25" fmla="*/ 1257 h 2365"/>
                    <a:gd name="T26" fmla="*/ 1368 w 1448"/>
                    <a:gd name="T27" fmla="*/ 1328 h 2365"/>
                    <a:gd name="T28" fmla="*/ 1360 w 1448"/>
                    <a:gd name="T29" fmla="*/ 1510 h 2365"/>
                    <a:gd name="T30" fmla="*/ 1407 w 1448"/>
                    <a:gd name="T31" fmla="*/ 1660 h 2365"/>
                    <a:gd name="T32" fmla="*/ 1447 w 1448"/>
                    <a:gd name="T33" fmla="*/ 1866 h 2365"/>
                    <a:gd name="T34" fmla="*/ 419 w 1448"/>
                    <a:gd name="T35" fmla="*/ 2016 h 2365"/>
                    <a:gd name="T36" fmla="*/ 490 w 1448"/>
                    <a:gd name="T37" fmla="*/ 2103 h 2365"/>
                    <a:gd name="T38" fmla="*/ 514 w 1448"/>
                    <a:gd name="T39" fmla="*/ 2205 h 2365"/>
                    <a:gd name="T40" fmla="*/ 498 w 1448"/>
                    <a:gd name="T41" fmla="*/ 2300 h 2365"/>
                    <a:gd name="T42" fmla="*/ 474 w 1448"/>
                    <a:gd name="T43" fmla="*/ 2285 h 2365"/>
                    <a:gd name="T44" fmla="*/ 411 w 1448"/>
                    <a:gd name="T45" fmla="*/ 2348 h 2365"/>
                    <a:gd name="T46" fmla="*/ 340 w 1448"/>
                    <a:gd name="T47" fmla="*/ 2356 h 2365"/>
                    <a:gd name="T48" fmla="*/ 285 w 1448"/>
                    <a:gd name="T49" fmla="*/ 2348 h 2365"/>
                    <a:gd name="T50" fmla="*/ 340 w 1448"/>
                    <a:gd name="T51" fmla="*/ 2348 h 2365"/>
                    <a:gd name="T52" fmla="*/ 411 w 1448"/>
                    <a:gd name="T53" fmla="*/ 2340 h 2365"/>
                    <a:gd name="T54" fmla="*/ 474 w 1448"/>
                    <a:gd name="T55" fmla="*/ 2277 h 2365"/>
                    <a:gd name="T56" fmla="*/ 522 w 1448"/>
                    <a:gd name="T57" fmla="*/ 2237 h 2365"/>
                    <a:gd name="T58" fmla="*/ 498 w 1448"/>
                    <a:gd name="T59" fmla="*/ 2150 h 2365"/>
                    <a:gd name="T60" fmla="*/ 411 w 1448"/>
                    <a:gd name="T61" fmla="*/ 2032 h 2365"/>
                    <a:gd name="T62" fmla="*/ 1415 w 1448"/>
                    <a:gd name="T63" fmla="*/ 1786 h 2365"/>
                    <a:gd name="T64" fmla="*/ 1399 w 1448"/>
                    <a:gd name="T65" fmla="*/ 1589 h 2365"/>
                    <a:gd name="T66" fmla="*/ 1368 w 1448"/>
                    <a:gd name="T67" fmla="*/ 1415 h 2365"/>
                    <a:gd name="T68" fmla="*/ 1391 w 1448"/>
                    <a:gd name="T69" fmla="*/ 1304 h 2365"/>
                    <a:gd name="T70" fmla="*/ 1407 w 1448"/>
                    <a:gd name="T71" fmla="*/ 1241 h 2365"/>
                    <a:gd name="T72" fmla="*/ 1384 w 1448"/>
                    <a:gd name="T73" fmla="*/ 1154 h 2365"/>
                    <a:gd name="T74" fmla="*/ 1344 w 1448"/>
                    <a:gd name="T75" fmla="*/ 1138 h 2365"/>
                    <a:gd name="T76" fmla="*/ 32 w 1448"/>
                    <a:gd name="T77" fmla="*/ 134 h 2365"/>
                    <a:gd name="T78" fmla="*/ 40 w 1448"/>
                    <a:gd name="T79" fmla="*/ 1644 h 2365"/>
                    <a:gd name="T80" fmla="*/ 198 w 1448"/>
                    <a:gd name="T81" fmla="*/ 2300 h 2365"/>
                    <a:gd name="T82" fmla="*/ 237 w 1448"/>
                    <a:gd name="T83" fmla="*/ 2269 h 2365"/>
                    <a:gd name="T84" fmla="*/ 269 w 1448"/>
                    <a:gd name="T85" fmla="*/ 2134 h 2365"/>
                    <a:gd name="T86" fmla="*/ 301 w 1448"/>
                    <a:gd name="T87" fmla="*/ 2205 h 2365"/>
                    <a:gd name="T88" fmla="*/ 364 w 1448"/>
                    <a:gd name="T89" fmla="*/ 2292 h 2365"/>
                    <a:gd name="T90" fmla="*/ 340 w 1448"/>
                    <a:gd name="T91" fmla="*/ 2340 h 23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48" h="2365">
                      <a:moveTo>
                        <a:pt x="308" y="2364"/>
                      </a:moveTo>
                      <a:lnTo>
                        <a:pt x="308" y="2364"/>
                      </a:lnTo>
                      <a:cubicBezTo>
                        <a:pt x="301" y="2364"/>
                        <a:pt x="293" y="2364"/>
                        <a:pt x="285" y="2364"/>
                      </a:cubicBezTo>
                      <a:cubicBezTo>
                        <a:pt x="277" y="2356"/>
                        <a:pt x="277" y="2356"/>
                        <a:pt x="277" y="2348"/>
                      </a:cubicBezTo>
                      <a:cubicBezTo>
                        <a:pt x="277" y="2348"/>
                        <a:pt x="277" y="2340"/>
                        <a:pt x="340" y="2332"/>
                      </a:cubicBezTo>
                      <a:cubicBezTo>
                        <a:pt x="356" y="2324"/>
                        <a:pt x="364" y="2324"/>
                        <a:pt x="364" y="2324"/>
                      </a:cubicBezTo>
                      <a:cubicBezTo>
                        <a:pt x="364" y="2316"/>
                        <a:pt x="364" y="2316"/>
                        <a:pt x="364" y="2308"/>
                      </a:cubicBezTo>
                      <a:cubicBezTo>
                        <a:pt x="364" y="2300"/>
                        <a:pt x="364" y="2300"/>
                        <a:pt x="364" y="2292"/>
                      </a:cubicBezTo>
                      <a:cubicBezTo>
                        <a:pt x="356" y="2277"/>
                        <a:pt x="340" y="2269"/>
                        <a:pt x="324" y="2261"/>
                      </a:cubicBezTo>
                      <a:cubicBezTo>
                        <a:pt x="316" y="2253"/>
                        <a:pt x="301" y="2245"/>
                        <a:pt x="293" y="2237"/>
                      </a:cubicBezTo>
                      <a:cubicBezTo>
                        <a:pt x="277" y="2221"/>
                        <a:pt x="285" y="2205"/>
                        <a:pt x="301" y="2198"/>
                      </a:cubicBezTo>
                      <a:cubicBezTo>
                        <a:pt x="301" y="2190"/>
                        <a:pt x="308" y="2182"/>
                        <a:pt x="316" y="2174"/>
                      </a:cubicBezTo>
                      <a:cubicBezTo>
                        <a:pt x="316" y="2166"/>
                        <a:pt x="316" y="2158"/>
                        <a:pt x="308" y="2158"/>
                      </a:cubicBezTo>
                      <a:cubicBezTo>
                        <a:pt x="301" y="2142"/>
                        <a:pt x="285" y="2142"/>
                        <a:pt x="269" y="2142"/>
                      </a:cubicBezTo>
                      <a:cubicBezTo>
                        <a:pt x="269" y="2142"/>
                        <a:pt x="261" y="2142"/>
                        <a:pt x="253" y="2142"/>
                      </a:cubicBezTo>
                      <a:cubicBezTo>
                        <a:pt x="237" y="2150"/>
                        <a:pt x="245" y="2205"/>
                        <a:pt x="245" y="2237"/>
                      </a:cubicBezTo>
                      <a:cubicBezTo>
                        <a:pt x="245" y="2253"/>
                        <a:pt x="245" y="2261"/>
                        <a:pt x="245" y="2269"/>
                      </a:cubicBezTo>
                      <a:cubicBezTo>
                        <a:pt x="245" y="2277"/>
                        <a:pt x="245" y="2277"/>
                        <a:pt x="245" y="2285"/>
                      </a:cubicBezTo>
                      <a:cubicBezTo>
                        <a:pt x="245" y="2300"/>
                        <a:pt x="245" y="2308"/>
                        <a:pt x="221" y="2308"/>
                      </a:cubicBezTo>
                      <a:cubicBezTo>
                        <a:pt x="221" y="2308"/>
                        <a:pt x="213" y="2308"/>
                        <a:pt x="198" y="2308"/>
                      </a:cubicBezTo>
                      <a:cubicBezTo>
                        <a:pt x="182" y="2300"/>
                        <a:pt x="174" y="2300"/>
                        <a:pt x="166" y="2300"/>
                      </a:cubicBezTo>
                      <a:cubicBezTo>
                        <a:pt x="150" y="2300"/>
                        <a:pt x="135" y="2308"/>
                        <a:pt x="119" y="2316"/>
                      </a:cubicBezTo>
                      <a:cubicBezTo>
                        <a:pt x="111" y="2316"/>
                        <a:pt x="111" y="2316"/>
                        <a:pt x="111" y="2316"/>
                      </a:cubicBezTo>
                      <a:cubicBezTo>
                        <a:pt x="111" y="2308"/>
                        <a:pt x="111" y="2308"/>
                        <a:pt x="111" y="2308"/>
                      </a:cubicBezTo>
                      <a:cubicBezTo>
                        <a:pt x="32" y="1644"/>
                        <a:pt x="32" y="1644"/>
                        <a:pt x="32" y="1644"/>
                      </a:cubicBezTo>
                      <a:cubicBezTo>
                        <a:pt x="32" y="1628"/>
                        <a:pt x="48" y="205"/>
                        <a:pt x="48" y="190"/>
                      </a:cubicBezTo>
                      <a:lnTo>
                        <a:pt x="48" y="182"/>
                      </a:lnTo>
                      <a:cubicBezTo>
                        <a:pt x="48" y="166"/>
                        <a:pt x="55" y="158"/>
                        <a:pt x="32" y="142"/>
                      </a:cubicBezTo>
                      <a:cubicBezTo>
                        <a:pt x="24" y="134"/>
                        <a:pt x="16" y="127"/>
                        <a:pt x="8" y="111"/>
                      </a:cubicBezTo>
                      <a:cubicBezTo>
                        <a:pt x="0" y="103"/>
                        <a:pt x="0" y="103"/>
                        <a:pt x="0" y="103"/>
                      </a:cubicBezTo>
                      <a:cubicBezTo>
                        <a:pt x="8" y="103"/>
                        <a:pt x="8" y="103"/>
                        <a:pt x="8" y="103"/>
                      </a:cubicBezTo>
                      <a:cubicBezTo>
                        <a:pt x="285" y="79"/>
                        <a:pt x="609" y="47"/>
                        <a:pt x="988" y="0"/>
                      </a:cubicBezTo>
                      <a:lnTo>
                        <a:pt x="988" y="0"/>
                      </a:lnTo>
                      <a:cubicBezTo>
                        <a:pt x="1352" y="1130"/>
                        <a:pt x="1352" y="1130"/>
                        <a:pt x="1352" y="1130"/>
                      </a:cubicBezTo>
                      <a:cubicBezTo>
                        <a:pt x="1352" y="1130"/>
                        <a:pt x="1376" y="1138"/>
                        <a:pt x="1391" y="1154"/>
                      </a:cubicBezTo>
                      <a:cubicBezTo>
                        <a:pt x="1399" y="1162"/>
                        <a:pt x="1399" y="1170"/>
                        <a:pt x="1399" y="1178"/>
                      </a:cubicBezTo>
                      <a:cubicBezTo>
                        <a:pt x="1399" y="1186"/>
                        <a:pt x="1391" y="1202"/>
                        <a:pt x="1399" y="1209"/>
                      </a:cubicBezTo>
                      <a:cubicBezTo>
                        <a:pt x="1399" y="1225"/>
                        <a:pt x="1407" y="1233"/>
                        <a:pt x="1415" y="1233"/>
                      </a:cubicBezTo>
                      <a:cubicBezTo>
                        <a:pt x="1415" y="1241"/>
                        <a:pt x="1423" y="1241"/>
                        <a:pt x="1423" y="1257"/>
                      </a:cubicBezTo>
                      <a:cubicBezTo>
                        <a:pt x="1423" y="1281"/>
                        <a:pt x="1415" y="1296"/>
                        <a:pt x="1399" y="1304"/>
                      </a:cubicBezTo>
                      <a:cubicBezTo>
                        <a:pt x="1391" y="1312"/>
                        <a:pt x="1391" y="1312"/>
                        <a:pt x="1391" y="1312"/>
                      </a:cubicBezTo>
                      <a:cubicBezTo>
                        <a:pt x="1384" y="1320"/>
                        <a:pt x="1368" y="1320"/>
                        <a:pt x="1368" y="1328"/>
                      </a:cubicBezTo>
                      <a:cubicBezTo>
                        <a:pt x="1368" y="1336"/>
                        <a:pt x="1368" y="1336"/>
                        <a:pt x="1376" y="1344"/>
                      </a:cubicBezTo>
                      <a:cubicBezTo>
                        <a:pt x="1384" y="1360"/>
                        <a:pt x="1391" y="1407"/>
                        <a:pt x="1376" y="1423"/>
                      </a:cubicBezTo>
                      <a:cubicBezTo>
                        <a:pt x="1360" y="1431"/>
                        <a:pt x="1344" y="1494"/>
                        <a:pt x="1360" y="1510"/>
                      </a:cubicBezTo>
                      <a:lnTo>
                        <a:pt x="1368" y="1518"/>
                      </a:lnTo>
                      <a:cubicBezTo>
                        <a:pt x="1384" y="1534"/>
                        <a:pt x="1407" y="1565"/>
                        <a:pt x="1407" y="1589"/>
                      </a:cubicBezTo>
                      <a:cubicBezTo>
                        <a:pt x="1407" y="1605"/>
                        <a:pt x="1407" y="1628"/>
                        <a:pt x="1407" y="1660"/>
                      </a:cubicBezTo>
                      <a:cubicBezTo>
                        <a:pt x="1399" y="1692"/>
                        <a:pt x="1391" y="1723"/>
                        <a:pt x="1399" y="1739"/>
                      </a:cubicBezTo>
                      <a:cubicBezTo>
                        <a:pt x="1399" y="1747"/>
                        <a:pt x="1407" y="1763"/>
                        <a:pt x="1415" y="1779"/>
                      </a:cubicBezTo>
                      <a:cubicBezTo>
                        <a:pt x="1431" y="1810"/>
                        <a:pt x="1447" y="1850"/>
                        <a:pt x="1447" y="1866"/>
                      </a:cubicBezTo>
                      <a:lnTo>
                        <a:pt x="1447" y="1866"/>
                      </a:lnTo>
                      <a:lnTo>
                        <a:pt x="1447" y="1866"/>
                      </a:lnTo>
                      <a:cubicBezTo>
                        <a:pt x="1044" y="1913"/>
                        <a:pt x="435" y="2000"/>
                        <a:pt x="419" y="2016"/>
                      </a:cubicBezTo>
                      <a:cubicBezTo>
                        <a:pt x="419" y="2024"/>
                        <a:pt x="411" y="2024"/>
                        <a:pt x="419" y="2032"/>
                      </a:cubicBezTo>
                      <a:cubicBezTo>
                        <a:pt x="419" y="2047"/>
                        <a:pt x="443" y="2063"/>
                        <a:pt x="466" y="2079"/>
                      </a:cubicBezTo>
                      <a:cubicBezTo>
                        <a:pt x="474" y="2087"/>
                        <a:pt x="482" y="2095"/>
                        <a:pt x="490" y="2103"/>
                      </a:cubicBezTo>
                      <a:cubicBezTo>
                        <a:pt x="514" y="2119"/>
                        <a:pt x="514" y="2134"/>
                        <a:pt x="506" y="2158"/>
                      </a:cubicBezTo>
                      <a:lnTo>
                        <a:pt x="498" y="2166"/>
                      </a:lnTo>
                      <a:cubicBezTo>
                        <a:pt x="498" y="2182"/>
                        <a:pt x="506" y="2198"/>
                        <a:pt x="514" y="2205"/>
                      </a:cubicBezTo>
                      <a:cubicBezTo>
                        <a:pt x="522" y="2221"/>
                        <a:pt x="530" y="2229"/>
                        <a:pt x="530" y="2237"/>
                      </a:cubicBezTo>
                      <a:cubicBezTo>
                        <a:pt x="530" y="2245"/>
                        <a:pt x="522" y="2269"/>
                        <a:pt x="506" y="2300"/>
                      </a:cubicBezTo>
                      <a:cubicBezTo>
                        <a:pt x="498" y="2300"/>
                        <a:pt x="498" y="2300"/>
                        <a:pt x="498" y="2300"/>
                      </a:cubicBezTo>
                      <a:cubicBezTo>
                        <a:pt x="490" y="2292"/>
                        <a:pt x="490" y="2292"/>
                        <a:pt x="490" y="2292"/>
                      </a:cubicBezTo>
                      <a:cubicBezTo>
                        <a:pt x="490" y="2292"/>
                        <a:pt x="490" y="2292"/>
                        <a:pt x="482" y="2285"/>
                      </a:cubicBezTo>
                      <a:lnTo>
                        <a:pt x="474" y="2285"/>
                      </a:lnTo>
                      <a:cubicBezTo>
                        <a:pt x="466" y="2285"/>
                        <a:pt x="466" y="2292"/>
                        <a:pt x="459" y="2300"/>
                      </a:cubicBezTo>
                      <a:cubicBezTo>
                        <a:pt x="459" y="2308"/>
                        <a:pt x="459" y="2316"/>
                        <a:pt x="451" y="2324"/>
                      </a:cubicBezTo>
                      <a:cubicBezTo>
                        <a:pt x="443" y="2348"/>
                        <a:pt x="427" y="2348"/>
                        <a:pt x="411" y="2348"/>
                      </a:cubicBezTo>
                      <a:cubicBezTo>
                        <a:pt x="403" y="2348"/>
                        <a:pt x="403" y="2348"/>
                        <a:pt x="403" y="2348"/>
                      </a:cubicBezTo>
                      <a:cubicBezTo>
                        <a:pt x="395" y="2348"/>
                        <a:pt x="388" y="2348"/>
                        <a:pt x="379" y="2348"/>
                      </a:cubicBezTo>
                      <a:cubicBezTo>
                        <a:pt x="364" y="2356"/>
                        <a:pt x="348" y="2356"/>
                        <a:pt x="340" y="2356"/>
                      </a:cubicBezTo>
                      <a:cubicBezTo>
                        <a:pt x="324" y="2364"/>
                        <a:pt x="316" y="2364"/>
                        <a:pt x="308" y="2364"/>
                      </a:cubicBezTo>
                      <a:close/>
                      <a:moveTo>
                        <a:pt x="285" y="2348"/>
                      </a:moveTo>
                      <a:lnTo>
                        <a:pt x="285" y="2348"/>
                      </a:lnTo>
                      <a:cubicBezTo>
                        <a:pt x="285" y="2356"/>
                        <a:pt x="285" y="2356"/>
                        <a:pt x="285" y="2356"/>
                      </a:cubicBezTo>
                      <a:cubicBezTo>
                        <a:pt x="293" y="2356"/>
                        <a:pt x="301" y="2356"/>
                        <a:pt x="308" y="2356"/>
                      </a:cubicBezTo>
                      <a:cubicBezTo>
                        <a:pt x="316" y="2356"/>
                        <a:pt x="324" y="2356"/>
                        <a:pt x="340" y="2348"/>
                      </a:cubicBezTo>
                      <a:cubicBezTo>
                        <a:pt x="348" y="2348"/>
                        <a:pt x="364" y="2348"/>
                        <a:pt x="379" y="2348"/>
                      </a:cubicBezTo>
                      <a:cubicBezTo>
                        <a:pt x="388" y="2340"/>
                        <a:pt x="395" y="2340"/>
                        <a:pt x="403" y="2340"/>
                      </a:cubicBezTo>
                      <a:cubicBezTo>
                        <a:pt x="411" y="2340"/>
                        <a:pt x="411" y="2340"/>
                        <a:pt x="411" y="2340"/>
                      </a:cubicBezTo>
                      <a:cubicBezTo>
                        <a:pt x="427" y="2340"/>
                        <a:pt x="435" y="2340"/>
                        <a:pt x="443" y="2316"/>
                      </a:cubicBezTo>
                      <a:cubicBezTo>
                        <a:pt x="451" y="2308"/>
                        <a:pt x="451" y="2300"/>
                        <a:pt x="459" y="2300"/>
                      </a:cubicBezTo>
                      <a:cubicBezTo>
                        <a:pt x="459" y="2285"/>
                        <a:pt x="466" y="2277"/>
                        <a:pt x="474" y="2277"/>
                      </a:cubicBezTo>
                      <a:cubicBezTo>
                        <a:pt x="474" y="2277"/>
                        <a:pt x="482" y="2277"/>
                        <a:pt x="490" y="2285"/>
                      </a:cubicBezTo>
                      <a:cubicBezTo>
                        <a:pt x="490" y="2285"/>
                        <a:pt x="498" y="2285"/>
                        <a:pt x="498" y="2292"/>
                      </a:cubicBezTo>
                      <a:cubicBezTo>
                        <a:pt x="506" y="2277"/>
                        <a:pt x="522" y="2245"/>
                        <a:pt x="522" y="2237"/>
                      </a:cubicBezTo>
                      <a:cubicBezTo>
                        <a:pt x="522" y="2229"/>
                        <a:pt x="514" y="2221"/>
                        <a:pt x="506" y="2213"/>
                      </a:cubicBezTo>
                      <a:cubicBezTo>
                        <a:pt x="498" y="2198"/>
                        <a:pt x="490" y="2182"/>
                        <a:pt x="490" y="2166"/>
                      </a:cubicBezTo>
                      <a:cubicBezTo>
                        <a:pt x="498" y="2158"/>
                        <a:pt x="498" y="2158"/>
                        <a:pt x="498" y="2150"/>
                      </a:cubicBezTo>
                      <a:cubicBezTo>
                        <a:pt x="506" y="2134"/>
                        <a:pt x="506" y="2126"/>
                        <a:pt x="482" y="2103"/>
                      </a:cubicBezTo>
                      <a:cubicBezTo>
                        <a:pt x="482" y="2103"/>
                        <a:pt x="474" y="2095"/>
                        <a:pt x="459" y="2087"/>
                      </a:cubicBezTo>
                      <a:cubicBezTo>
                        <a:pt x="435" y="2071"/>
                        <a:pt x="411" y="2047"/>
                        <a:pt x="411" y="2032"/>
                      </a:cubicBezTo>
                      <a:cubicBezTo>
                        <a:pt x="411" y="2024"/>
                        <a:pt x="411" y="2016"/>
                        <a:pt x="411" y="2016"/>
                      </a:cubicBezTo>
                      <a:cubicBezTo>
                        <a:pt x="435" y="1984"/>
                        <a:pt x="1320" y="1874"/>
                        <a:pt x="1439" y="1858"/>
                      </a:cubicBezTo>
                      <a:cubicBezTo>
                        <a:pt x="1439" y="1842"/>
                        <a:pt x="1423" y="1810"/>
                        <a:pt x="1415" y="1786"/>
                      </a:cubicBezTo>
                      <a:cubicBezTo>
                        <a:pt x="1399" y="1763"/>
                        <a:pt x="1391" y="1747"/>
                        <a:pt x="1391" y="1739"/>
                      </a:cubicBezTo>
                      <a:cubicBezTo>
                        <a:pt x="1391" y="1723"/>
                        <a:pt x="1391" y="1692"/>
                        <a:pt x="1399" y="1660"/>
                      </a:cubicBezTo>
                      <a:cubicBezTo>
                        <a:pt x="1399" y="1628"/>
                        <a:pt x="1399" y="1605"/>
                        <a:pt x="1399" y="1589"/>
                      </a:cubicBezTo>
                      <a:cubicBezTo>
                        <a:pt x="1399" y="1565"/>
                        <a:pt x="1384" y="1541"/>
                        <a:pt x="1360" y="1526"/>
                      </a:cubicBezTo>
                      <a:cubicBezTo>
                        <a:pt x="1360" y="1518"/>
                        <a:pt x="1352" y="1518"/>
                        <a:pt x="1352" y="1510"/>
                      </a:cubicBezTo>
                      <a:cubicBezTo>
                        <a:pt x="1336" y="1494"/>
                        <a:pt x="1352" y="1431"/>
                        <a:pt x="1368" y="1415"/>
                      </a:cubicBezTo>
                      <a:cubicBezTo>
                        <a:pt x="1376" y="1399"/>
                        <a:pt x="1376" y="1360"/>
                        <a:pt x="1368" y="1344"/>
                      </a:cubicBezTo>
                      <a:cubicBezTo>
                        <a:pt x="1360" y="1344"/>
                        <a:pt x="1360" y="1336"/>
                        <a:pt x="1360" y="1328"/>
                      </a:cubicBezTo>
                      <a:cubicBezTo>
                        <a:pt x="1368" y="1320"/>
                        <a:pt x="1376" y="1312"/>
                        <a:pt x="1391" y="1304"/>
                      </a:cubicBezTo>
                      <a:lnTo>
                        <a:pt x="1391" y="1304"/>
                      </a:lnTo>
                      <a:cubicBezTo>
                        <a:pt x="1407" y="1288"/>
                        <a:pt x="1415" y="1281"/>
                        <a:pt x="1415" y="1257"/>
                      </a:cubicBezTo>
                      <a:cubicBezTo>
                        <a:pt x="1415" y="1249"/>
                        <a:pt x="1415" y="1241"/>
                        <a:pt x="1407" y="1241"/>
                      </a:cubicBezTo>
                      <a:cubicBezTo>
                        <a:pt x="1407" y="1233"/>
                        <a:pt x="1399" y="1233"/>
                        <a:pt x="1391" y="1217"/>
                      </a:cubicBezTo>
                      <a:cubicBezTo>
                        <a:pt x="1384" y="1202"/>
                        <a:pt x="1391" y="1186"/>
                        <a:pt x="1391" y="1178"/>
                      </a:cubicBezTo>
                      <a:cubicBezTo>
                        <a:pt x="1391" y="1170"/>
                        <a:pt x="1391" y="1162"/>
                        <a:pt x="1384" y="1154"/>
                      </a:cubicBezTo>
                      <a:cubicBezTo>
                        <a:pt x="1368" y="1146"/>
                        <a:pt x="1344" y="1138"/>
                        <a:pt x="1344" y="1138"/>
                      </a:cubicBezTo>
                      <a:lnTo>
                        <a:pt x="1344" y="1138"/>
                      </a:lnTo>
                      <a:lnTo>
                        <a:pt x="1344" y="1138"/>
                      </a:lnTo>
                      <a:cubicBezTo>
                        <a:pt x="988" y="8"/>
                        <a:pt x="988" y="8"/>
                        <a:pt x="988" y="8"/>
                      </a:cubicBezTo>
                      <a:cubicBezTo>
                        <a:pt x="609" y="47"/>
                        <a:pt x="293" y="87"/>
                        <a:pt x="16" y="111"/>
                      </a:cubicBezTo>
                      <a:cubicBezTo>
                        <a:pt x="24" y="118"/>
                        <a:pt x="24" y="134"/>
                        <a:pt x="32" y="134"/>
                      </a:cubicBezTo>
                      <a:cubicBezTo>
                        <a:pt x="63" y="158"/>
                        <a:pt x="55" y="174"/>
                        <a:pt x="55" y="182"/>
                      </a:cubicBezTo>
                      <a:lnTo>
                        <a:pt x="55" y="190"/>
                      </a:lnTo>
                      <a:cubicBezTo>
                        <a:pt x="55" y="205"/>
                        <a:pt x="40" y="1628"/>
                        <a:pt x="40" y="1644"/>
                      </a:cubicBezTo>
                      <a:cubicBezTo>
                        <a:pt x="119" y="2308"/>
                        <a:pt x="119" y="2308"/>
                        <a:pt x="119" y="2308"/>
                      </a:cubicBezTo>
                      <a:cubicBezTo>
                        <a:pt x="135" y="2300"/>
                        <a:pt x="150" y="2292"/>
                        <a:pt x="166" y="2292"/>
                      </a:cubicBezTo>
                      <a:cubicBezTo>
                        <a:pt x="174" y="2292"/>
                        <a:pt x="182" y="2292"/>
                        <a:pt x="198" y="2300"/>
                      </a:cubicBezTo>
                      <a:cubicBezTo>
                        <a:pt x="213" y="2300"/>
                        <a:pt x="221" y="2300"/>
                        <a:pt x="221" y="2300"/>
                      </a:cubicBezTo>
                      <a:cubicBezTo>
                        <a:pt x="237" y="2300"/>
                        <a:pt x="237" y="2300"/>
                        <a:pt x="237" y="2277"/>
                      </a:cubicBezTo>
                      <a:cubicBezTo>
                        <a:pt x="237" y="2277"/>
                        <a:pt x="237" y="2277"/>
                        <a:pt x="237" y="2269"/>
                      </a:cubicBezTo>
                      <a:cubicBezTo>
                        <a:pt x="237" y="2261"/>
                        <a:pt x="237" y="2253"/>
                        <a:pt x="237" y="2237"/>
                      </a:cubicBezTo>
                      <a:cubicBezTo>
                        <a:pt x="237" y="2182"/>
                        <a:pt x="237" y="2142"/>
                        <a:pt x="253" y="2134"/>
                      </a:cubicBezTo>
                      <a:cubicBezTo>
                        <a:pt x="261" y="2134"/>
                        <a:pt x="261" y="2134"/>
                        <a:pt x="269" y="2134"/>
                      </a:cubicBezTo>
                      <a:cubicBezTo>
                        <a:pt x="285" y="2134"/>
                        <a:pt x="308" y="2142"/>
                        <a:pt x="316" y="2150"/>
                      </a:cubicBezTo>
                      <a:cubicBezTo>
                        <a:pt x="324" y="2158"/>
                        <a:pt x="324" y="2166"/>
                        <a:pt x="316" y="2174"/>
                      </a:cubicBezTo>
                      <a:cubicBezTo>
                        <a:pt x="316" y="2190"/>
                        <a:pt x="308" y="2198"/>
                        <a:pt x="301" y="2205"/>
                      </a:cubicBezTo>
                      <a:cubicBezTo>
                        <a:pt x="293" y="2213"/>
                        <a:pt x="293" y="2221"/>
                        <a:pt x="301" y="2229"/>
                      </a:cubicBezTo>
                      <a:cubicBezTo>
                        <a:pt x="308" y="2245"/>
                        <a:pt x="316" y="2245"/>
                        <a:pt x="332" y="2253"/>
                      </a:cubicBezTo>
                      <a:cubicBezTo>
                        <a:pt x="348" y="2261"/>
                        <a:pt x="364" y="2269"/>
                        <a:pt x="364" y="2292"/>
                      </a:cubicBezTo>
                      <a:cubicBezTo>
                        <a:pt x="372" y="2292"/>
                        <a:pt x="372" y="2300"/>
                        <a:pt x="372" y="2308"/>
                      </a:cubicBezTo>
                      <a:cubicBezTo>
                        <a:pt x="372" y="2316"/>
                        <a:pt x="372" y="2316"/>
                        <a:pt x="372" y="2324"/>
                      </a:cubicBezTo>
                      <a:cubicBezTo>
                        <a:pt x="372" y="2332"/>
                        <a:pt x="356" y="2332"/>
                        <a:pt x="340" y="2340"/>
                      </a:cubicBezTo>
                      <a:cubicBezTo>
                        <a:pt x="301" y="2340"/>
                        <a:pt x="285" y="2348"/>
                        <a:pt x="285" y="2348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0" name="Freeform 486">
                  <a:extLst>
                    <a:ext uri="{FF2B5EF4-FFF2-40B4-BE49-F238E27FC236}">
                      <a16:creationId xmlns:a16="http://schemas.microsoft.com/office/drawing/2014/main" id="{F79B68C5-3544-4947-89D1-3CA7BF4ED0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00491" y="7638792"/>
                  <a:ext cx="1122544" cy="994983"/>
                </a:xfrm>
                <a:custGeom>
                  <a:avLst/>
                  <a:gdLst>
                    <a:gd name="T0" fmla="*/ 55 w 2135"/>
                    <a:gd name="T1" fmla="*/ 561 h 1890"/>
                    <a:gd name="T2" fmla="*/ 142 w 2135"/>
                    <a:gd name="T3" fmla="*/ 735 h 1890"/>
                    <a:gd name="T4" fmla="*/ 229 w 2135"/>
                    <a:gd name="T5" fmla="*/ 964 h 1890"/>
                    <a:gd name="T6" fmla="*/ 158 w 2135"/>
                    <a:gd name="T7" fmla="*/ 1170 h 1890"/>
                    <a:gd name="T8" fmla="*/ 158 w 2135"/>
                    <a:gd name="T9" fmla="*/ 1289 h 1890"/>
                    <a:gd name="T10" fmla="*/ 158 w 2135"/>
                    <a:gd name="T11" fmla="*/ 1431 h 1890"/>
                    <a:gd name="T12" fmla="*/ 110 w 2135"/>
                    <a:gd name="T13" fmla="*/ 1565 h 1890"/>
                    <a:gd name="T14" fmla="*/ 213 w 2135"/>
                    <a:gd name="T15" fmla="*/ 1557 h 1890"/>
                    <a:gd name="T16" fmla="*/ 331 w 2135"/>
                    <a:gd name="T17" fmla="*/ 1486 h 1890"/>
                    <a:gd name="T18" fmla="*/ 371 w 2135"/>
                    <a:gd name="T19" fmla="*/ 1470 h 1890"/>
                    <a:gd name="T20" fmla="*/ 355 w 2135"/>
                    <a:gd name="T21" fmla="*/ 1549 h 1890"/>
                    <a:gd name="T22" fmla="*/ 830 w 2135"/>
                    <a:gd name="T23" fmla="*/ 1534 h 1890"/>
                    <a:gd name="T24" fmla="*/ 956 w 2135"/>
                    <a:gd name="T25" fmla="*/ 1549 h 1890"/>
                    <a:gd name="T26" fmla="*/ 1090 w 2135"/>
                    <a:gd name="T27" fmla="*/ 1620 h 1890"/>
                    <a:gd name="T28" fmla="*/ 1209 w 2135"/>
                    <a:gd name="T29" fmla="*/ 1700 h 1890"/>
                    <a:gd name="T30" fmla="*/ 1288 w 2135"/>
                    <a:gd name="T31" fmla="*/ 1771 h 1890"/>
                    <a:gd name="T32" fmla="*/ 1462 w 2135"/>
                    <a:gd name="T33" fmla="*/ 1723 h 1890"/>
                    <a:gd name="T34" fmla="*/ 1612 w 2135"/>
                    <a:gd name="T35" fmla="*/ 1747 h 1890"/>
                    <a:gd name="T36" fmla="*/ 1699 w 2135"/>
                    <a:gd name="T37" fmla="*/ 1700 h 1890"/>
                    <a:gd name="T38" fmla="*/ 1628 w 2135"/>
                    <a:gd name="T39" fmla="*/ 1573 h 1890"/>
                    <a:gd name="T40" fmla="*/ 1802 w 2135"/>
                    <a:gd name="T41" fmla="*/ 1660 h 1890"/>
                    <a:gd name="T42" fmla="*/ 1873 w 2135"/>
                    <a:gd name="T43" fmla="*/ 1716 h 1890"/>
                    <a:gd name="T44" fmla="*/ 1984 w 2135"/>
                    <a:gd name="T45" fmla="*/ 1763 h 1890"/>
                    <a:gd name="T46" fmla="*/ 1992 w 2135"/>
                    <a:gd name="T47" fmla="*/ 1858 h 1890"/>
                    <a:gd name="T48" fmla="*/ 2071 w 2135"/>
                    <a:gd name="T49" fmla="*/ 1818 h 1890"/>
                    <a:gd name="T50" fmla="*/ 2102 w 2135"/>
                    <a:gd name="T51" fmla="*/ 1684 h 1890"/>
                    <a:gd name="T52" fmla="*/ 1881 w 2135"/>
                    <a:gd name="T53" fmla="*/ 1597 h 1890"/>
                    <a:gd name="T54" fmla="*/ 1913 w 2135"/>
                    <a:gd name="T55" fmla="*/ 1510 h 1890"/>
                    <a:gd name="T56" fmla="*/ 1960 w 2135"/>
                    <a:gd name="T57" fmla="*/ 1463 h 1890"/>
                    <a:gd name="T58" fmla="*/ 1913 w 2135"/>
                    <a:gd name="T59" fmla="*/ 1312 h 1890"/>
                    <a:gd name="T60" fmla="*/ 1849 w 2135"/>
                    <a:gd name="T61" fmla="*/ 1407 h 1890"/>
                    <a:gd name="T62" fmla="*/ 1826 w 2135"/>
                    <a:gd name="T63" fmla="*/ 1328 h 1890"/>
                    <a:gd name="T64" fmla="*/ 1699 w 2135"/>
                    <a:gd name="T65" fmla="*/ 1352 h 1890"/>
                    <a:gd name="T66" fmla="*/ 1596 w 2135"/>
                    <a:gd name="T67" fmla="*/ 1336 h 1890"/>
                    <a:gd name="T68" fmla="*/ 1628 w 2135"/>
                    <a:gd name="T69" fmla="*/ 1202 h 1890"/>
                    <a:gd name="T70" fmla="*/ 1857 w 2135"/>
                    <a:gd name="T71" fmla="*/ 1289 h 1890"/>
                    <a:gd name="T72" fmla="*/ 1739 w 2135"/>
                    <a:gd name="T73" fmla="*/ 1059 h 1890"/>
                    <a:gd name="T74" fmla="*/ 1019 w 2135"/>
                    <a:gd name="T75" fmla="*/ 941 h 1890"/>
                    <a:gd name="T76" fmla="*/ 1011 w 2135"/>
                    <a:gd name="T77" fmla="*/ 830 h 1890"/>
                    <a:gd name="T78" fmla="*/ 1043 w 2135"/>
                    <a:gd name="T79" fmla="*/ 664 h 1890"/>
                    <a:gd name="T80" fmla="*/ 1114 w 2135"/>
                    <a:gd name="T81" fmla="*/ 585 h 1890"/>
                    <a:gd name="T82" fmla="*/ 1201 w 2135"/>
                    <a:gd name="T83" fmla="*/ 411 h 1890"/>
                    <a:gd name="T84" fmla="*/ 1201 w 2135"/>
                    <a:gd name="T85" fmla="*/ 277 h 1890"/>
                    <a:gd name="T86" fmla="*/ 1146 w 2135"/>
                    <a:gd name="T87" fmla="*/ 119 h 1890"/>
                    <a:gd name="T88" fmla="*/ 0 w 2135"/>
                    <a:gd name="T89" fmla="*/ 32 h 18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135" h="1890">
                      <a:moveTo>
                        <a:pt x="7" y="522"/>
                      </a:moveTo>
                      <a:lnTo>
                        <a:pt x="7" y="522"/>
                      </a:lnTo>
                      <a:cubicBezTo>
                        <a:pt x="7" y="522"/>
                        <a:pt x="39" y="537"/>
                        <a:pt x="55" y="561"/>
                      </a:cubicBezTo>
                      <a:cubicBezTo>
                        <a:pt x="71" y="585"/>
                        <a:pt x="102" y="601"/>
                        <a:pt x="118" y="632"/>
                      </a:cubicBezTo>
                      <a:cubicBezTo>
                        <a:pt x="126" y="672"/>
                        <a:pt x="118" y="672"/>
                        <a:pt x="110" y="704"/>
                      </a:cubicBezTo>
                      <a:cubicBezTo>
                        <a:pt x="102" y="727"/>
                        <a:pt x="126" y="719"/>
                        <a:pt x="142" y="735"/>
                      </a:cubicBezTo>
                      <a:cubicBezTo>
                        <a:pt x="158" y="751"/>
                        <a:pt x="173" y="775"/>
                        <a:pt x="173" y="822"/>
                      </a:cubicBezTo>
                      <a:cubicBezTo>
                        <a:pt x="173" y="862"/>
                        <a:pt x="197" y="846"/>
                        <a:pt x="213" y="877"/>
                      </a:cubicBezTo>
                      <a:cubicBezTo>
                        <a:pt x="229" y="909"/>
                        <a:pt x="237" y="941"/>
                        <a:pt x="229" y="964"/>
                      </a:cubicBezTo>
                      <a:cubicBezTo>
                        <a:pt x="221" y="996"/>
                        <a:pt x="229" y="1012"/>
                        <a:pt x="229" y="1028"/>
                      </a:cubicBezTo>
                      <a:cubicBezTo>
                        <a:pt x="229" y="1051"/>
                        <a:pt x="229" y="1083"/>
                        <a:pt x="213" y="1115"/>
                      </a:cubicBezTo>
                      <a:cubicBezTo>
                        <a:pt x="189" y="1154"/>
                        <a:pt x="189" y="1146"/>
                        <a:pt x="158" y="1170"/>
                      </a:cubicBezTo>
                      <a:cubicBezTo>
                        <a:pt x="134" y="1202"/>
                        <a:pt x="173" y="1194"/>
                        <a:pt x="181" y="1210"/>
                      </a:cubicBezTo>
                      <a:cubicBezTo>
                        <a:pt x="189" y="1225"/>
                        <a:pt x="189" y="1241"/>
                        <a:pt x="173" y="1241"/>
                      </a:cubicBezTo>
                      <a:cubicBezTo>
                        <a:pt x="165" y="1241"/>
                        <a:pt x="158" y="1273"/>
                        <a:pt x="158" y="1289"/>
                      </a:cubicBezTo>
                      <a:cubicBezTo>
                        <a:pt x="150" y="1304"/>
                        <a:pt x="165" y="1320"/>
                        <a:pt x="173" y="1344"/>
                      </a:cubicBezTo>
                      <a:cubicBezTo>
                        <a:pt x="189" y="1360"/>
                        <a:pt x="181" y="1383"/>
                        <a:pt x="181" y="1399"/>
                      </a:cubicBezTo>
                      <a:cubicBezTo>
                        <a:pt x="181" y="1415"/>
                        <a:pt x="173" y="1415"/>
                        <a:pt x="158" y="1431"/>
                      </a:cubicBezTo>
                      <a:cubicBezTo>
                        <a:pt x="150" y="1447"/>
                        <a:pt x="158" y="1470"/>
                        <a:pt x="134" y="1494"/>
                      </a:cubicBezTo>
                      <a:cubicBezTo>
                        <a:pt x="118" y="1510"/>
                        <a:pt x="102" y="1526"/>
                        <a:pt x="94" y="1541"/>
                      </a:cubicBezTo>
                      <a:cubicBezTo>
                        <a:pt x="86" y="1557"/>
                        <a:pt x="102" y="1565"/>
                        <a:pt x="110" y="1565"/>
                      </a:cubicBezTo>
                      <a:cubicBezTo>
                        <a:pt x="126" y="1573"/>
                        <a:pt x="126" y="1589"/>
                        <a:pt x="126" y="1589"/>
                      </a:cubicBezTo>
                      <a:lnTo>
                        <a:pt x="126" y="1589"/>
                      </a:lnTo>
                      <a:cubicBezTo>
                        <a:pt x="150" y="1581"/>
                        <a:pt x="165" y="1565"/>
                        <a:pt x="213" y="1557"/>
                      </a:cubicBezTo>
                      <a:cubicBezTo>
                        <a:pt x="268" y="1557"/>
                        <a:pt x="316" y="1565"/>
                        <a:pt x="324" y="1549"/>
                      </a:cubicBezTo>
                      <a:cubicBezTo>
                        <a:pt x="324" y="1534"/>
                        <a:pt x="308" y="1502"/>
                        <a:pt x="308" y="1502"/>
                      </a:cubicBezTo>
                      <a:cubicBezTo>
                        <a:pt x="300" y="1502"/>
                        <a:pt x="324" y="1502"/>
                        <a:pt x="331" y="1486"/>
                      </a:cubicBezTo>
                      <a:cubicBezTo>
                        <a:pt x="331" y="1470"/>
                        <a:pt x="324" y="1463"/>
                        <a:pt x="324" y="1447"/>
                      </a:cubicBezTo>
                      <a:cubicBezTo>
                        <a:pt x="331" y="1431"/>
                        <a:pt x="339" y="1399"/>
                        <a:pt x="347" y="1431"/>
                      </a:cubicBezTo>
                      <a:cubicBezTo>
                        <a:pt x="355" y="1454"/>
                        <a:pt x="371" y="1463"/>
                        <a:pt x="371" y="1470"/>
                      </a:cubicBezTo>
                      <a:cubicBezTo>
                        <a:pt x="379" y="1478"/>
                        <a:pt x="379" y="1486"/>
                        <a:pt x="363" y="1494"/>
                      </a:cubicBezTo>
                      <a:cubicBezTo>
                        <a:pt x="339" y="1494"/>
                        <a:pt x="324" y="1494"/>
                        <a:pt x="339" y="1518"/>
                      </a:cubicBezTo>
                      <a:cubicBezTo>
                        <a:pt x="355" y="1541"/>
                        <a:pt x="339" y="1549"/>
                        <a:pt x="355" y="1549"/>
                      </a:cubicBezTo>
                      <a:cubicBezTo>
                        <a:pt x="379" y="1549"/>
                        <a:pt x="561" y="1597"/>
                        <a:pt x="592" y="1620"/>
                      </a:cubicBezTo>
                      <a:cubicBezTo>
                        <a:pt x="624" y="1636"/>
                        <a:pt x="853" y="1660"/>
                        <a:pt x="845" y="1589"/>
                      </a:cubicBezTo>
                      <a:cubicBezTo>
                        <a:pt x="837" y="1518"/>
                        <a:pt x="798" y="1549"/>
                        <a:pt x="830" y="1534"/>
                      </a:cubicBezTo>
                      <a:cubicBezTo>
                        <a:pt x="869" y="1510"/>
                        <a:pt x="861" y="1526"/>
                        <a:pt x="885" y="1510"/>
                      </a:cubicBezTo>
                      <a:cubicBezTo>
                        <a:pt x="901" y="1502"/>
                        <a:pt x="932" y="1478"/>
                        <a:pt x="932" y="1510"/>
                      </a:cubicBezTo>
                      <a:cubicBezTo>
                        <a:pt x="932" y="1534"/>
                        <a:pt x="932" y="1565"/>
                        <a:pt x="956" y="1549"/>
                      </a:cubicBezTo>
                      <a:cubicBezTo>
                        <a:pt x="988" y="1534"/>
                        <a:pt x="964" y="1502"/>
                        <a:pt x="1003" y="1526"/>
                      </a:cubicBezTo>
                      <a:cubicBezTo>
                        <a:pt x="1043" y="1557"/>
                        <a:pt x="1051" y="1557"/>
                        <a:pt x="1059" y="1581"/>
                      </a:cubicBezTo>
                      <a:cubicBezTo>
                        <a:pt x="1067" y="1613"/>
                        <a:pt x="1067" y="1620"/>
                        <a:pt x="1090" y="1620"/>
                      </a:cubicBezTo>
                      <a:cubicBezTo>
                        <a:pt x="1114" y="1629"/>
                        <a:pt x="1161" y="1636"/>
                        <a:pt x="1177" y="1644"/>
                      </a:cubicBezTo>
                      <a:cubicBezTo>
                        <a:pt x="1193" y="1652"/>
                        <a:pt x="1201" y="1660"/>
                        <a:pt x="1217" y="1668"/>
                      </a:cubicBezTo>
                      <a:cubicBezTo>
                        <a:pt x="1233" y="1684"/>
                        <a:pt x="1233" y="1700"/>
                        <a:pt x="1209" y="1700"/>
                      </a:cubicBezTo>
                      <a:cubicBezTo>
                        <a:pt x="1185" y="1700"/>
                        <a:pt x="1161" y="1700"/>
                        <a:pt x="1177" y="1723"/>
                      </a:cubicBezTo>
                      <a:cubicBezTo>
                        <a:pt x="1185" y="1747"/>
                        <a:pt x="1185" y="1755"/>
                        <a:pt x="1217" y="1763"/>
                      </a:cubicBezTo>
                      <a:cubicBezTo>
                        <a:pt x="1248" y="1771"/>
                        <a:pt x="1256" y="1755"/>
                        <a:pt x="1288" y="1771"/>
                      </a:cubicBezTo>
                      <a:cubicBezTo>
                        <a:pt x="1312" y="1779"/>
                        <a:pt x="1296" y="1787"/>
                        <a:pt x="1335" y="1794"/>
                      </a:cubicBezTo>
                      <a:cubicBezTo>
                        <a:pt x="1383" y="1802"/>
                        <a:pt x="1446" y="1818"/>
                        <a:pt x="1462" y="1787"/>
                      </a:cubicBezTo>
                      <a:cubicBezTo>
                        <a:pt x="1478" y="1763"/>
                        <a:pt x="1446" y="1739"/>
                        <a:pt x="1462" y="1723"/>
                      </a:cubicBezTo>
                      <a:cubicBezTo>
                        <a:pt x="1486" y="1707"/>
                        <a:pt x="1557" y="1707"/>
                        <a:pt x="1557" y="1723"/>
                      </a:cubicBezTo>
                      <a:cubicBezTo>
                        <a:pt x="1565" y="1731"/>
                        <a:pt x="1573" y="1739"/>
                        <a:pt x="1588" y="1731"/>
                      </a:cubicBezTo>
                      <a:cubicBezTo>
                        <a:pt x="1604" y="1723"/>
                        <a:pt x="1612" y="1723"/>
                        <a:pt x="1612" y="1747"/>
                      </a:cubicBezTo>
                      <a:cubicBezTo>
                        <a:pt x="1612" y="1763"/>
                        <a:pt x="1588" y="1787"/>
                        <a:pt x="1612" y="1794"/>
                      </a:cubicBezTo>
                      <a:cubicBezTo>
                        <a:pt x="1644" y="1802"/>
                        <a:pt x="1675" y="1818"/>
                        <a:pt x="1683" y="1787"/>
                      </a:cubicBezTo>
                      <a:cubicBezTo>
                        <a:pt x="1691" y="1747"/>
                        <a:pt x="1691" y="1716"/>
                        <a:pt x="1699" y="1700"/>
                      </a:cubicBezTo>
                      <a:cubicBezTo>
                        <a:pt x="1707" y="1684"/>
                        <a:pt x="1715" y="1684"/>
                        <a:pt x="1707" y="1660"/>
                      </a:cubicBezTo>
                      <a:cubicBezTo>
                        <a:pt x="1691" y="1636"/>
                        <a:pt x="1683" y="1636"/>
                        <a:pt x="1660" y="1620"/>
                      </a:cubicBezTo>
                      <a:cubicBezTo>
                        <a:pt x="1628" y="1605"/>
                        <a:pt x="1604" y="1573"/>
                        <a:pt x="1628" y="1573"/>
                      </a:cubicBezTo>
                      <a:cubicBezTo>
                        <a:pt x="1660" y="1581"/>
                        <a:pt x="1660" y="1581"/>
                        <a:pt x="1691" y="1597"/>
                      </a:cubicBezTo>
                      <a:cubicBezTo>
                        <a:pt x="1731" y="1613"/>
                        <a:pt x="1762" y="1613"/>
                        <a:pt x="1778" y="1620"/>
                      </a:cubicBezTo>
                      <a:cubicBezTo>
                        <a:pt x="1794" y="1636"/>
                        <a:pt x="1818" y="1660"/>
                        <a:pt x="1802" y="1660"/>
                      </a:cubicBezTo>
                      <a:cubicBezTo>
                        <a:pt x="1786" y="1668"/>
                        <a:pt x="1762" y="1676"/>
                        <a:pt x="1794" y="1676"/>
                      </a:cubicBezTo>
                      <a:cubicBezTo>
                        <a:pt x="1826" y="1684"/>
                        <a:pt x="1841" y="1668"/>
                        <a:pt x="1849" y="1684"/>
                      </a:cubicBezTo>
                      <a:cubicBezTo>
                        <a:pt x="1865" y="1692"/>
                        <a:pt x="1841" y="1707"/>
                        <a:pt x="1873" y="1716"/>
                      </a:cubicBezTo>
                      <a:cubicBezTo>
                        <a:pt x="1897" y="1716"/>
                        <a:pt x="1936" y="1692"/>
                        <a:pt x="1936" y="1700"/>
                      </a:cubicBezTo>
                      <a:cubicBezTo>
                        <a:pt x="1936" y="1716"/>
                        <a:pt x="1936" y="1731"/>
                        <a:pt x="1952" y="1747"/>
                      </a:cubicBezTo>
                      <a:cubicBezTo>
                        <a:pt x="1968" y="1763"/>
                        <a:pt x="1976" y="1755"/>
                        <a:pt x="1984" y="1763"/>
                      </a:cubicBezTo>
                      <a:cubicBezTo>
                        <a:pt x="1992" y="1779"/>
                        <a:pt x="2007" y="1787"/>
                        <a:pt x="1992" y="1802"/>
                      </a:cubicBezTo>
                      <a:cubicBezTo>
                        <a:pt x="1976" y="1818"/>
                        <a:pt x="1968" y="1826"/>
                        <a:pt x="1976" y="1842"/>
                      </a:cubicBezTo>
                      <a:cubicBezTo>
                        <a:pt x="1976" y="1858"/>
                        <a:pt x="1968" y="1889"/>
                        <a:pt x="1992" y="1858"/>
                      </a:cubicBezTo>
                      <a:cubicBezTo>
                        <a:pt x="2015" y="1826"/>
                        <a:pt x="2015" y="1802"/>
                        <a:pt x="2031" y="1787"/>
                      </a:cubicBezTo>
                      <a:cubicBezTo>
                        <a:pt x="2039" y="1771"/>
                        <a:pt x="2039" y="1779"/>
                        <a:pt x="2047" y="1787"/>
                      </a:cubicBezTo>
                      <a:cubicBezTo>
                        <a:pt x="2055" y="1802"/>
                        <a:pt x="2063" y="1826"/>
                        <a:pt x="2071" y="1818"/>
                      </a:cubicBezTo>
                      <a:cubicBezTo>
                        <a:pt x="2087" y="1802"/>
                        <a:pt x="2087" y="1802"/>
                        <a:pt x="2094" y="1771"/>
                      </a:cubicBezTo>
                      <a:cubicBezTo>
                        <a:pt x="2102" y="1747"/>
                        <a:pt x="2102" y="1763"/>
                        <a:pt x="2118" y="1739"/>
                      </a:cubicBezTo>
                      <a:cubicBezTo>
                        <a:pt x="2134" y="1716"/>
                        <a:pt x="2126" y="1700"/>
                        <a:pt x="2102" y="1684"/>
                      </a:cubicBezTo>
                      <a:cubicBezTo>
                        <a:pt x="2078" y="1676"/>
                        <a:pt x="2087" y="1652"/>
                        <a:pt x="2047" y="1652"/>
                      </a:cubicBezTo>
                      <a:cubicBezTo>
                        <a:pt x="2015" y="1644"/>
                        <a:pt x="2007" y="1652"/>
                        <a:pt x="1968" y="1636"/>
                      </a:cubicBezTo>
                      <a:cubicBezTo>
                        <a:pt x="1928" y="1613"/>
                        <a:pt x="1920" y="1629"/>
                        <a:pt x="1881" y="1597"/>
                      </a:cubicBezTo>
                      <a:cubicBezTo>
                        <a:pt x="1849" y="1565"/>
                        <a:pt x="1826" y="1565"/>
                        <a:pt x="1834" y="1549"/>
                      </a:cubicBezTo>
                      <a:cubicBezTo>
                        <a:pt x="1841" y="1534"/>
                        <a:pt x="1865" y="1518"/>
                        <a:pt x="1881" y="1526"/>
                      </a:cubicBezTo>
                      <a:cubicBezTo>
                        <a:pt x="1905" y="1526"/>
                        <a:pt x="1936" y="1526"/>
                        <a:pt x="1913" y="1510"/>
                      </a:cubicBezTo>
                      <a:cubicBezTo>
                        <a:pt x="1897" y="1502"/>
                        <a:pt x="1857" y="1510"/>
                        <a:pt x="1865" y="1494"/>
                      </a:cubicBezTo>
                      <a:cubicBezTo>
                        <a:pt x="1873" y="1478"/>
                        <a:pt x="1889" y="1463"/>
                        <a:pt x="1913" y="1463"/>
                      </a:cubicBezTo>
                      <a:cubicBezTo>
                        <a:pt x="1928" y="1454"/>
                        <a:pt x="1952" y="1478"/>
                        <a:pt x="1960" y="1463"/>
                      </a:cubicBezTo>
                      <a:cubicBezTo>
                        <a:pt x="1968" y="1447"/>
                        <a:pt x="1968" y="1439"/>
                        <a:pt x="1960" y="1415"/>
                      </a:cubicBezTo>
                      <a:cubicBezTo>
                        <a:pt x="1952" y="1383"/>
                        <a:pt x="1928" y="1399"/>
                        <a:pt x="1928" y="1376"/>
                      </a:cubicBezTo>
                      <a:cubicBezTo>
                        <a:pt x="1920" y="1352"/>
                        <a:pt x="1936" y="1320"/>
                        <a:pt x="1913" y="1312"/>
                      </a:cubicBezTo>
                      <a:cubicBezTo>
                        <a:pt x="1897" y="1304"/>
                        <a:pt x="1873" y="1336"/>
                        <a:pt x="1873" y="1336"/>
                      </a:cubicBezTo>
                      <a:cubicBezTo>
                        <a:pt x="1873" y="1336"/>
                        <a:pt x="1857" y="1383"/>
                        <a:pt x="1857" y="1391"/>
                      </a:cubicBezTo>
                      <a:cubicBezTo>
                        <a:pt x="1857" y="1399"/>
                        <a:pt x="1865" y="1415"/>
                        <a:pt x="1849" y="1407"/>
                      </a:cubicBezTo>
                      <a:cubicBezTo>
                        <a:pt x="1826" y="1407"/>
                        <a:pt x="1818" y="1423"/>
                        <a:pt x="1810" y="1391"/>
                      </a:cubicBezTo>
                      <a:cubicBezTo>
                        <a:pt x="1810" y="1367"/>
                        <a:pt x="1778" y="1383"/>
                        <a:pt x="1786" y="1360"/>
                      </a:cubicBezTo>
                      <a:cubicBezTo>
                        <a:pt x="1794" y="1344"/>
                        <a:pt x="1818" y="1336"/>
                        <a:pt x="1826" y="1328"/>
                      </a:cubicBezTo>
                      <a:cubicBezTo>
                        <a:pt x="1834" y="1312"/>
                        <a:pt x="1810" y="1296"/>
                        <a:pt x="1802" y="1296"/>
                      </a:cubicBezTo>
                      <a:cubicBezTo>
                        <a:pt x="1794" y="1296"/>
                        <a:pt x="1747" y="1281"/>
                        <a:pt x="1731" y="1296"/>
                      </a:cubicBezTo>
                      <a:cubicBezTo>
                        <a:pt x="1707" y="1304"/>
                        <a:pt x="1675" y="1336"/>
                        <a:pt x="1699" y="1352"/>
                      </a:cubicBezTo>
                      <a:cubicBezTo>
                        <a:pt x="1715" y="1376"/>
                        <a:pt x="1747" y="1407"/>
                        <a:pt x="1707" y="1391"/>
                      </a:cubicBezTo>
                      <a:cubicBezTo>
                        <a:pt x="1675" y="1383"/>
                        <a:pt x="1667" y="1344"/>
                        <a:pt x="1644" y="1344"/>
                      </a:cubicBezTo>
                      <a:cubicBezTo>
                        <a:pt x="1628" y="1336"/>
                        <a:pt x="1612" y="1344"/>
                        <a:pt x="1596" y="1336"/>
                      </a:cubicBezTo>
                      <a:cubicBezTo>
                        <a:pt x="1581" y="1328"/>
                        <a:pt x="1541" y="1367"/>
                        <a:pt x="1533" y="1328"/>
                      </a:cubicBezTo>
                      <a:cubicBezTo>
                        <a:pt x="1525" y="1281"/>
                        <a:pt x="1573" y="1233"/>
                        <a:pt x="1588" y="1210"/>
                      </a:cubicBezTo>
                      <a:cubicBezTo>
                        <a:pt x="1604" y="1194"/>
                        <a:pt x="1573" y="1178"/>
                        <a:pt x="1628" y="1202"/>
                      </a:cubicBezTo>
                      <a:cubicBezTo>
                        <a:pt x="1683" y="1233"/>
                        <a:pt x="1660" y="1225"/>
                        <a:pt x="1707" y="1249"/>
                      </a:cubicBezTo>
                      <a:cubicBezTo>
                        <a:pt x="1762" y="1265"/>
                        <a:pt x="1754" y="1273"/>
                        <a:pt x="1786" y="1281"/>
                      </a:cubicBezTo>
                      <a:cubicBezTo>
                        <a:pt x="1826" y="1289"/>
                        <a:pt x="1841" y="1289"/>
                        <a:pt x="1857" y="1289"/>
                      </a:cubicBezTo>
                      <a:cubicBezTo>
                        <a:pt x="1873" y="1281"/>
                        <a:pt x="1881" y="1289"/>
                        <a:pt x="1897" y="1281"/>
                      </a:cubicBezTo>
                      <a:cubicBezTo>
                        <a:pt x="1889" y="1273"/>
                        <a:pt x="1826" y="1186"/>
                        <a:pt x="1810" y="1146"/>
                      </a:cubicBezTo>
                      <a:cubicBezTo>
                        <a:pt x="1802" y="1115"/>
                        <a:pt x="1778" y="1115"/>
                        <a:pt x="1739" y="1059"/>
                      </a:cubicBezTo>
                      <a:cubicBezTo>
                        <a:pt x="1699" y="1004"/>
                        <a:pt x="1762" y="949"/>
                        <a:pt x="1770" y="933"/>
                      </a:cubicBezTo>
                      <a:cubicBezTo>
                        <a:pt x="1786" y="917"/>
                        <a:pt x="1754" y="909"/>
                        <a:pt x="1754" y="909"/>
                      </a:cubicBezTo>
                      <a:cubicBezTo>
                        <a:pt x="1754" y="909"/>
                        <a:pt x="1035" y="949"/>
                        <a:pt x="1019" y="941"/>
                      </a:cubicBezTo>
                      <a:cubicBezTo>
                        <a:pt x="995" y="941"/>
                        <a:pt x="1003" y="933"/>
                        <a:pt x="1011" y="925"/>
                      </a:cubicBezTo>
                      <a:cubicBezTo>
                        <a:pt x="1019" y="917"/>
                        <a:pt x="1011" y="893"/>
                        <a:pt x="995" y="870"/>
                      </a:cubicBezTo>
                      <a:cubicBezTo>
                        <a:pt x="980" y="854"/>
                        <a:pt x="1003" y="838"/>
                        <a:pt x="1011" y="830"/>
                      </a:cubicBezTo>
                      <a:cubicBezTo>
                        <a:pt x="1027" y="822"/>
                        <a:pt x="1027" y="783"/>
                        <a:pt x="1019" y="767"/>
                      </a:cubicBezTo>
                      <a:cubicBezTo>
                        <a:pt x="1011" y="751"/>
                        <a:pt x="1027" y="727"/>
                        <a:pt x="1035" y="727"/>
                      </a:cubicBezTo>
                      <a:cubicBezTo>
                        <a:pt x="1043" y="727"/>
                        <a:pt x="1043" y="688"/>
                        <a:pt x="1043" y="664"/>
                      </a:cubicBezTo>
                      <a:cubicBezTo>
                        <a:pt x="1043" y="640"/>
                        <a:pt x="1067" y="648"/>
                        <a:pt x="1083" y="640"/>
                      </a:cubicBezTo>
                      <a:cubicBezTo>
                        <a:pt x="1098" y="640"/>
                        <a:pt x="1083" y="617"/>
                        <a:pt x="1083" y="601"/>
                      </a:cubicBezTo>
                      <a:cubicBezTo>
                        <a:pt x="1075" y="577"/>
                        <a:pt x="1106" y="585"/>
                        <a:pt x="1114" y="585"/>
                      </a:cubicBezTo>
                      <a:cubicBezTo>
                        <a:pt x="1122" y="577"/>
                        <a:pt x="1122" y="569"/>
                        <a:pt x="1122" y="537"/>
                      </a:cubicBezTo>
                      <a:cubicBezTo>
                        <a:pt x="1114" y="506"/>
                        <a:pt x="1138" y="514"/>
                        <a:pt x="1154" y="506"/>
                      </a:cubicBezTo>
                      <a:cubicBezTo>
                        <a:pt x="1161" y="498"/>
                        <a:pt x="1201" y="435"/>
                        <a:pt x="1201" y="411"/>
                      </a:cubicBezTo>
                      <a:cubicBezTo>
                        <a:pt x="1209" y="387"/>
                        <a:pt x="1193" y="395"/>
                        <a:pt x="1146" y="372"/>
                      </a:cubicBezTo>
                      <a:cubicBezTo>
                        <a:pt x="1106" y="348"/>
                        <a:pt x="1217" y="324"/>
                        <a:pt x="1233" y="324"/>
                      </a:cubicBezTo>
                      <a:cubicBezTo>
                        <a:pt x="1256" y="316"/>
                        <a:pt x="1241" y="293"/>
                        <a:pt x="1201" y="277"/>
                      </a:cubicBezTo>
                      <a:cubicBezTo>
                        <a:pt x="1170" y="261"/>
                        <a:pt x="1185" y="261"/>
                        <a:pt x="1193" y="237"/>
                      </a:cubicBezTo>
                      <a:cubicBezTo>
                        <a:pt x="1201" y="221"/>
                        <a:pt x="1185" y="198"/>
                        <a:pt x="1185" y="198"/>
                      </a:cubicBezTo>
                      <a:cubicBezTo>
                        <a:pt x="1138" y="206"/>
                        <a:pt x="1161" y="134"/>
                        <a:pt x="1146" y="119"/>
                      </a:cubicBezTo>
                      <a:cubicBezTo>
                        <a:pt x="1130" y="103"/>
                        <a:pt x="1170" y="71"/>
                        <a:pt x="1170" y="47"/>
                      </a:cubicBezTo>
                      <a:cubicBezTo>
                        <a:pt x="1161" y="32"/>
                        <a:pt x="1146" y="32"/>
                        <a:pt x="1138" y="0"/>
                      </a:cubicBezTo>
                      <a:cubicBezTo>
                        <a:pt x="0" y="32"/>
                        <a:pt x="0" y="32"/>
                        <a:pt x="0" y="32"/>
                      </a:cubicBezTo>
                      <a:lnTo>
                        <a:pt x="7" y="522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1" name="Freeform 487">
                  <a:extLst>
                    <a:ext uri="{FF2B5EF4-FFF2-40B4-BE49-F238E27FC236}">
                      <a16:creationId xmlns:a16="http://schemas.microsoft.com/office/drawing/2014/main" id="{C2AF2ED6-BC6C-9E40-9ACD-91B22DCC71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00491" y="7636474"/>
                  <a:ext cx="1122544" cy="990343"/>
                </a:xfrm>
                <a:custGeom>
                  <a:avLst/>
                  <a:gdLst>
                    <a:gd name="T0" fmla="*/ 1976 w 2135"/>
                    <a:gd name="T1" fmla="*/ 1771 h 1882"/>
                    <a:gd name="T2" fmla="*/ 1849 w 2135"/>
                    <a:gd name="T3" fmla="*/ 1692 h 1882"/>
                    <a:gd name="T4" fmla="*/ 1691 w 2135"/>
                    <a:gd name="T5" fmla="*/ 1605 h 1882"/>
                    <a:gd name="T6" fmla="*/ 1691 w 2135"/>
                    <a:gd name="T7" fmla="*/ 1755 h 1882"/>
                    <a:gd name="T8" fmla="*/ 1604 w 2135"/>
                    <a:gd name="T9" fmla="*/ 1739 h 1882"/>
                    <a:gd name="T10" fmla="*/ 1335 w 2135"/>
                    <a:gd name="T11" fmla="*/ 1810 h 1882"/>
                    <a:gd name="T12" fmla="*/ 1225 w 2135"/>
                    <a:gd name="T13" fmla="*/ 1700 h 1882"/>
                    <a:gd name="T14" fmla="*/ 964 w 2135"/>
                    <a:gd name="T15" fmla="*/ 1557 h 1882"/>
                    <a:gd name="T16" fmla="*/ 845 w 2135"/>
                    <a:gd name="T17" fmla="*/ 1621 h 1882"/>
                    <a:gd name="T18" fmla="*/ 371 w 2135"/>
                    <a:gd name="T19" fmla="*/ 1494 h 1882"/>
                    <a:gd name="T20" fmla="*/ 316 w 2135"/>
                    <a:gd name="T21" fmla="*/ 1510 h 1882"/>
                    <a:gd name="T22" fmla="*/ 110 w 2135"/>
                    <a:gd name="T23" fmla="*/ 1581 h 1882"/>
                    <a:gd name="T24" fmla="*/ 165 w 2135"/>
                    <a:gd name="T25" fmla="*/ 1336 h 1882"/>
                    <a:gd name="T26" fmla="*/ 181 w 2135"/>
                    <a:gd name="T27" fmla="*/ 1162 h 1882"/>
                    <a:gd name="T28" fmla="*/ 126 w 2135"/>
                    <a:gd name="T29" fmla="*/ 743 h 1882"/>
                    <a:gd name="T30" fmla="*/ 0 w 2135"/>
                    <a:gd name="T31" fmla="*/ 32 h 1882"/>
                    <a:gd name="T32" fmla="*/ 1185 w 2135"/>
                    <a:gd name="T33" fmla="*/ 206 h 1882"/>
                    <a:gd name="T34" fmla="*/ 1217 w 2135"/>
                    <a:gd name="T35" fmla="*/ 340 h 1882"/>
                    <a:gd name="T36" fmla="*/ 1106 w 2135"/>
                    <a:gd name="T37" fmla="*/ 593 h 1882"/>
                    <a:gd name="T38" fmla="*/ 1027 w 2135"/>
                    <a:gd name="T39" fmla="*/ 751 h 1882"/>
                    <a:gd name="T40" fmla="*/ 1019 w 2135"/>
                    <a:gd name="T41" fmla="*/ 949 h 1882"/>
                    <a:gd name="T42" fmla="*/ 1786 w 2135"/>
                    <a:gd name="T43" fmla="*/ 1115 h 1882"/>
                    <a:gd name="T44" fmla="*/ 1802 w 2135"/>
                    <a:gd name="T45" fmla="*/ 1289 h 1882"/>
                    <a:gd name="T46" fmla="*/ 1588 w 2135"/>
                    <a:gd name="T47" fmla="*/ 1225 h 1882"/>
                    <a:gd name="T48" fmla="*/ 1675 w 2135"/>
                    <a:gd name="T49" fmla="*/ 1368 h 1882"/>
                    <a:gd name="T50" fmla="*/ 1826 w 2135"/>
                    <a:gd name="T51" fmla="*/ 1320 h 1882"/>
                    <a:gd name="T52" fmla="*/ 1849 w 2135"/>
                    <a:gd name="T53" fmla="*/ 1415 h 1882"/>
                    <a:gd name="T54" fmla="*/ 1928 w 2135"/>
                    <a:gd name="T55" fmla="*/ 1384 h 1882"/>
                    <a:gd name="T56" fmla="*/ 1865 w 2135"/>
                    <a:gd name="T57" fmla="*/ 1502 h 1882"/>
                    <a:gd name="T58" fmla="*/ 1889 w 2135"/>
                    <a:gd name="T59" fmla="*/ 1605 h 1882"/>
                    <a:gd name="T60" fmla="*/ 2102 w 2135"/>
                    <a:gd name="T61" fmla="*/ 1763 h 1882"/>
                    <a:gd name="T62" fmla="*/ 1992 w 2135"/>
                    <a:gd name="T63" fmla="*/ 1866 h 1882"/>
                    <a:gd name="T64" fmla="*/ 1992 w 2135"/>
                    <a:gd name="T65" fmla="*/ 1779 h 1882"/>
                    <a:gd name="T66" fmla="*/ 2039 w 2135"/>
                    <a:gd name="T67" fmla="*/ 1779 h 1882"/>
                    <a:gd name="T68" fmla="*/ 2102 w 2135"/>
                    <a:gd name="T69" fmla="*/ 1692 h 1882"/>
                    <a:gd name="T70" fmla="*/ 1881 w 2135"/>
                    <a:gd name="T71" fmla="*/ 1526 h 1882"/>
                    <a:gd name="T72" fmla="*/ 1936 w 2135"/>
                    <a:gd name="T73" fmla="*/ 1471 h 1882"/>
                    <a:gd name="T74" fmla="*/ 1881 w 2135"/>
                    <a:gd name="T75" fmla="*/ 1344 h 1882"/>
                    <a:gd name="T76" fmla="*/ 1778 w 2135"/>
                    <a:gd name="T77" fmla="*/ 1384 h 1882"/>
                    <a:gd name="T78" fmla="*/ 1699 w 2135"/>
                    <a:gd name="T79" fmla="*/ 1344 h 1882"/>
                    <a:gd name="T80" fmla="*/ 1596 w 2135"/>
                    <a:gd name="T81" fmla="*/ 1352 h 1882"/>
                    <a:gd name="T82" fmla="*/ 1628 w 2135"/>
                    <a:gd name="T83" fmla="*/ 1210 h 1882"/>
                    <a:gd name="T84" fmla="*/ 1873 w 2135"/>
                    <a:gd name="T85" fmla="*/ 1273 h 1882"/>
                    <a:gd name="T86" fmla="*/ 1019 w 2135"/>
                    <a:gd name="T87" fmla="*/ 957 h 1882"/>
                    <a:gd name="T88" fmla="*/ 1019 w 2135"/>
                    <a:gd name="T89" fmla="*/ 751 h 1882"/>
                    <a:gd name="T90" fmla="*/ 1106 w 2135"/>
                    <a:gd name="T91" fmla="*/ 585 h 1882"/>
                    <a:gd name="T92" fmla="*/ 1217 w 2135"/>
                    <a:gd name="T93" fmla="*/ 332 h 1882"/>
                    <a:gd name="T94" fmla="*/ 1146 w 2135"/>
                    <a:gd name="T95" fmla="*/ 127 h 1882"/>
                    <a:gd name="T96" fmla="*/ 118 w 2135"/>
                    <a:gd name="T97" fmla="*/ 640 h 1882"/>
                    <a:gd name="T98" fmla="*/ 229 w 2135"/>
                    <a:gd name="T99" fmla="*/ 1028 h 1882"/>
                    <a:gd name="T100" fmla="*/ 173 w 2135"/>
                    <a:gd name="T101" fmla="*/ 1257 h 1882"/>
                    <a:gd name="T102" fmla="*/ 158 w 2135"/>
                    <a:gd name="T103" fmla="*/ 1462 h 1882"/>
                    <a:gd name="T104" fmla="*/ 316 w 2135"/>
                    <a:gd name="T105" fmla="*/ 1557 h 1882"/>
                    <a:gd name="T106" fmla="*/ 355 w 2135"/>
                    <a:gd name="T107" fmla="*/ 1431 h 1882"/>
                    <a:gd name="T108" fmla="*/ 355 w 2135"/>
                    <a:gd name="T109" fmla="*/ 1549 h 1882"/>
                    <a:gd name="T110" fmla="*/ 869 w 2135"/>
                    <a:gd name="T111" fmla="*/ 1526 h 1882"/>
                    <a:gd name="T112" fmla="*/ 1019 w 2135"/>
                    <a:gd name="T113" fmla="*/ 1542 h 1882"/>
                    <a:gd name="T114" fmla="*/ 1185 w 2135"/>
                    <a:gd name="T115" fmla="*/ 1739 h 1882"/>
                    <a:gd name="T116" fmla="*/ 1454 w 2135"/>
                    <a:gd name="T117" fmla="*/ 1763 h 1882"/>
                    <a:gd name="T118" fmla="*/ 1612 w 2135"/>
                    <a:gd name="T119" fmla="*/ 1771 h 1882"/>
                    <a:gd name="T120" fmla="*/ 1699 w 2135"/>
                    <a:gd name="T121" fmla="*/ 1668 h 1882"/>
                    <a:gd name="T122" fmla="*/ 1778 w 2135"/>
                    <a:gd name="T123" fmla="*/ 1628 h 1882"/>
                    <a:gd name="T124" fmla="*/ 1873 w 2135"/>
                    <a:gd name="T125" fmla="*/ 1715 h 18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135" h="1882">
                      <a:moveTo>
                        <a:pt x="1976" y="1881"/>
                      </a:moveTo>
                      <a:lnTo>
                        <a:pt x="1976" y="1881"/>
                      </a:lnTo>
                      <a:cubicBezTo>
                        <a:pt x="1968" y="1881"/>
                        <a:pt x="1968" y="1874"/>
                        <a:pt x="1968" y="1866"/>
                      </a:cubicBezTo>
                      <a:cubicBezTo>
                        <a:pt x="1968" y="1858"/>
                        <a:pt x="1968" y="1850"/>
                        <a:pt x="1968" y="1850"/>
                      </a:cubicBezTo>
                      <a:cubicBezTo>
                        <a:pt x="1960" y="1834"/>
                        <a:pt x="1968" y="1826"/>
                        <a:pt x="1984" y="1810"/>
                      </a:cubicBezTo>
                      <a:lnTo>
                        <a:pt x="1984" y="1810"/>
                      </a:lnTo>
                      <a:cubicBezTo>
                        <a:pt x="2000" y="1795"/>
                        <a:pt x="1992" y="1795"/>
                        <a:pt x="1984" y="1787"/>
                      </a:cubicBezTo>
                      <a:cubicBezTo>
                        <a:pt x="1984" y="1779"/>
                        <a:pt x="1984" y="1779"/>
                        <a:pt x="1984" y="1779"/>
                      </a:cubicBezTo>
                      <a:cubicBezTo>
                        <a:pt x="1984" y="1771"/>
                        <a:pt x="1976" y="1771"/>
                        <a:pt x="1976" y="1771"/>
                      </a:cubicBezTo>
                      <a:cubicBezTo>
                        <a:pt x="1968" y="1771"/>
                        <a:pt x="1960" y="1771"/>
                        <a:pt x="1944" y="1755"/>
                      </a:cubicBezTo>
                      <a:cubicBezTo>
                        <a:pt x="1936" y="1739"/>
                        <a:pt x="1936" y="1731"/>
                        <a:pt x="1936" y="1715"/>
                      </a:cubicBezTo>
                      <a:cubicBezTo>
                        <a:pt x="1936" y="1715"/>
                        <a:pt x="1936" y="1715"/>
                        <a:pt x="1936" y="1708"/>
                      </a:cubicBezTo>
                      <a:lnTo>
                        <a:pt x="1936" y="1708"/>
                      </a:lnTo>
                      <a:cubicBezTo>
                        <a:pt x="1928" y="1708"/>
                        <a:pt x="1920" y="1715"/>
                        <a:pt x="1920" y="1715"/>
                      </a:cubicBezTo>
                      <a:cubicBezTo>
                        <a:pt x="1905" y="1724"/>
                        <a:pt x="1889" y="1724"/>
                        <a:pt x="1873" y="1724"/>
                      </a:cubicBezTo>
                      <a:lnTo>
                        <a:pt x="1873" y="1724"/>
                      </a:lnTo>
                      <a:cubicBezTo>
                        <a:pt x="1849" y="1724"/>
                        <a:pt x="1849" y="1708"/>
                        <a:pt x="1849" y="1700"/>
                      </a:cubicBezTo>
                      <a:lnTo>
                        <a:pt x="1849" y="1692"/>
                      </a:lnTo>
                      <a:lnTo>
                        <a:pt x="1841" y="1684"/>
                      </a:lnTo>
                      <a:cubicBezTo>
                        <a:pt x="1834" y="1684"/>
                        <a:pt x="1834" y="1684"/>
                        <a:pt x="1826" y="1692"/>
                      </a:cubicBezTo>
                      <a:cubicBezTo>
                        <a:pt x="1818" y="1692"/>
                        <a:pt x="1802" y="1692"/>
                        <a:pt x="1794" y="1692"/>
                      </a:cubicBezTo>
                      <a:cubicBezTo>
                        <a:pt x="1778" y="1684"/>
                        <a:pt x="1778" y="1684"/>
                        <a:pt x="1778" y="1676"/>
                      </a:cubicBezTo>
                      <a:cubicBezTo>
                        <a:pt x="1778" y="1676"/>
                        <a:pt x="1778" y="1668"/>
                        <a:pt x="1794" y="1668"/>
                      </a:cubicBezTo>
                      <a:cubicBezTo>
                        <a:pt x="1802" y="1668"/>
                        <a:pt x="1802" y="1660"/>
                        <a:pt x="1802" y="1660"/>
                      </a:cubicBezTo>
                      <a:cubicBezTo>
                        <a:pt x="1802" y="1660"/>
                        <a:pt x="1794" y="1644"/>
                        <a:pt x="1778" y="1637"/>
                      </a:cubicBezTo>
                      <a:cubicBezTo>
                        <a:pt x="1770" y="1628"/>
                        <a:pt x="1754" y="1628"/>
                        <a:pt x="1739" y="1621"/>
                      </a:cubicBezTo>
                      <a:cubicBezTo>
                        <a:pt x="1723" y="1621"/>
                        <a:pt x="1707" y="1613"/>
                        <a:pt x="1691" y="1605"/>
                      </a:cubicBezTo>
                      <a:cubicBezTo>
                        <a:pt x="1683" y="1605"/>
                        <a:pt x="1675" y="1605"/>
                        <a:pt x="1667" y="1597"/>
                      </a:cubicBezTo>
                      <a:cubicBezTo>
                        <a:pt x="1652" y="1597"/>
                        <a:pt x="1644" y="1589"/>
                        <a:pt x="1628" y="1589"/>
                      </a:cubicBezTo>
                      <a:lnTo>
                        <a:pt x="1628" y="1589"/>
                      </a:lnTo>
                      <a:cubicBezTo>
                        <a:pt x="1620" y="1589"/>
                        <a:pt x="1636" y="1613"/>
                        <a:pt x="1660" y="1628"/>
                      </a:cubicBezTo>
                      <a:cubicBezTo>
                        <a:pt x="1667" y="1637"/>
                        <a:pt x="1675" y="1637"/>
                        <a:pt x="1683" y="1637"/>
                      </a:cubicBezTo>
                      <a:cubicBezTo>
                        <a:pt x="1691" y="1644"/>
                        <a:pt x="1699" y="1644"/>
                        <a:pt x="1707" y="1668"/>
                      </a:cubicBezTo>
                      <a:cubicBezTo>
                        <a:pt x="1715" y="1692"/>
                        <a:pt x="1715" y="1692"/>
                        <a:pt x="1707" y="1708"/>
                      </a:cubicBezTo>
                      <a:cubicBezTo>
                        <a:pt x="1707" y="1708"/>
                        <a:pt x="1699" y="1708"/>
                        <a:pt x="1699" y="1715"/>
                      </a:cubicBezTo>
                      <a:cubicBezTo>
                        <a:pt x="1699" y="1724"/>
                        <a:pt x="1691" y="1739"/>
                        <a:pt x="1691" y="1755"/>
                      </a:cubicBezTo>
                      <a:cubicBezTo>
                        <a:pt x="1691" y="1763"/>
                        <a:pt x="1691" y="1779"/>
                        <a:pt x="1683" y="1795"/>
                      </a:cubicBezTo>
                      <a:cubicBezTo>
                        <a:pt x="1683" y="1810"/>
                        <a:pt x="1675" y="1818"/>
                        <a:pt x="1660" y="1818"/>
                      </a:cubicBezTo>
                      <a:cubicBezTo>
                        <a:pt x="1652" y="1818"/>
                        <a:pt x="1644" y="1810"/>
                        <a:pt x="1628" y="1810"/>
                      </a:cubicBezTo>
                      <a:cubicBezTo>
                        <a:pt x="1628" y="1810"/>
                        <a:pt x="1620" y="1810"/>
                        <a:pt x="1612" y="1802"/>
                      </a:cubicBezTo>
                      <a:cubicBezTo>
                        <a:pt x="1612" y="1802"/>
                        <a:pt x="1604" y="1802"/>
                        <a:pt x="1604" y="1795"/>
                      </a:cubicBezTo>
                      <a:cubicBezTo>
                        <a:pt x="1596" y="1787"/>
                        <a:pt x="1604" y="1779"/>
                        <a:pt x="1604" y="1771"/>
                      </a:cubicBezTo>
                      <a:cubicBezTo>
                        <a:pt x="1604" y="1763"/>
                        <a:pt x="1604" y="1755"/>
                        <a:pt x="1612" y="1755"/>
                      </a:cubicBezTo>
                      <a:cubicBezTo>
                        <a:pt x="1612" y="1739"/>
                        <a:pt x="1604" y="1739"/>
                        <a:pt x="1604" y="1739"/>
                      </a:cubicBezTo>
                      <a:lnTo>
                        <a:pt x="1604" y="1739"/>
                      </a:lnTo>
                      <a:cubicBezTo>
                        <a:pt x="1604" y="1739"/>
                        <a:pt x="1596" y="1739"/>
                        <a:pt x="1588" y="1747"/>
                      </a:cubicBezTo>
                      <a:lnTo>
                        <a:pt x="1581" y="1747"/>
                      </a:lnTo>
                      <a:cubicBezTo>
                        <a:pt x="1573" y="1747"/>
                        <a:pt x="1565" y="1739"/>
                        <a:pt x="1557" y="1731"/>
                      </a:cubicBezTo>
                      <a:cubicBezTo>
                        <a:pt x="1557" y="1731"/>
                        <a:pt x="1541" y="1724"/>
                        <a:pt x="1517" y="1724"/>
                      </a:cubicBezTo>
                      <a:cubicBezTo>
                        <a:pt x="1494" y="1724"/>
                        <a:pt x="1478" y="1724"/>
                        <a:pt x="1470" y="1731"/>
                      </a:cubicBezTo>
                      <a:cubicBezTo>
                        <a:pt x="1462" y="1739"/>
                        <a:pt x="1462" y="1747"/>
                        <a:pt x="1462" y="1763"/>
                      </a:cubicBezTo>
                      <a:cubicBezTo>
                        <a:pt x="1470" y="1771"/>
                        <a:pt x="1470" y="1787"/>
                        <a:pt x="1462" y="1802"/>
                      </a:cubicBezTo>
                      <a:cubicBezTo>
                        <a:pt x="1462" y="1810"/>
                        <a:pt x="1438" y="1818"/>
                        <a:pt x="1414" y="1818"/>
                      </a:cubicBezTo>
                      <a:cubicBezTo>
                        <a:pt x="1391" y="1818"/>
                        <a:pt x="1359" y="1810"/>
                        <a:pt x="1335" y="1810"/>
                      </a:cubicBezTo>
                      <a:cubicBezTo>
                        <a:pt x="1312" y="1802"/>
                        <a:pt x="1304" y="1795"/>
                        <a:pt x="1304" y="1795"/>
                      </a:cubicBezTo>
                      <a:cubicBezTo>
                        <a:pt x="1296" y="1787"/>
                        <a:pt x="1296" y="1779"/>
                        <a:pt x="1280" y="1779"/>
                      </a:cubicBezTo>
                      <a:cubicBezTo>
                        <a:pt x="1272" y="1771"/>
                        <a:pt x="1256" y="1771"/>
                        <a:pt x="1248" y="1771"/>
                      </a:cubicBezTo>
                      <a:cubicBezTo>
                        <a:pt x="1241" y="1779"/>
                        <a:pt x="1225" y="1779"/>
                        <a:pt x="1217" y="1771"/>
                      </a:cubicBezTo>
                      <a:cubicBezTo>
                        <a:pt x="1185" y="1771"/>
                        <a:pt x="1185" y="1755"/>
                        <a:pt x="1177" y="1739"/>
                      </a:cubicBezTo>
                      <a:cubicBezTo>
                        <a:pt x="1177" y="1739"/>
                        <a:pt x="1170" y="1739"/>
                        <a:pt x="1170" y="1731"/>
                      </a:cubicBezTo>
                      <a:cubicBezTo>
                        <a:pt x="1170" y="1724"/>
                        <a:pt x="1170" y="1715"/>
                        <a:pt x="1170" y="1715"/>
                      </a:cubicBezTo>
                      <a:cubicBezTo>
                        <a:pt x="1177" y="1708"/>
                        <a:pt x="1193" y="1708"/>
                        <a:pt x="1209" y="1708"/>
                      </a:cubicBezTo>
                      <a:cubicBezTo>
                        <a:pt x="1217" y="1708"/>
                        <a:pt x="1225" y="1700"/>
                        <a:pt x="1225" y="1700"/>
                      </a:cubicBezTo>
                      <a:cubicBezTo>
                        <a:pt x="1225" y="1692"/>
                        <a:pt x="1225" y="1684"/>
                        <a:pt x="1217" y="1684"/>
                      </a:cubicBezTo>
                      <a:cubicBezTo>
                        <a:pt x="1201" y="1668"/>
                        <a:pt x="1193" y="1660"/>
                        <a:pt x="1177" y="1660"/>
                      </a:cubicBezTo>
                      <a:cubicBezTo>
                        <a:pt x="1161" y="1652"/>
                        <a:pt x="1114" y="1637"/>
                        <a:pt x="1090" y="1637"/>
                      </a:cubicBezTo>
                      <a:cubicBezTo>
                        <a:pt x="1067" y="1637"/>
                        <a:pt x="1059" y="1621"/>
                        <a:pt x="1051" y="1589"/>
                      </a:cubicBezTo>
                      <a:cubicBezTo>
                        <a:pt x="1043" y="1573"/>
                        <a:pt x="1043" y="1565"/>
                        <a:pt x="1019" y="1549"/>
                      </a:cubicBezTo>
                      <a:cubicBezTo>
                        <a:pt x="1011" y="1549"/>
                        <a:pt x="1011" y="1542"/>
                        <a:pt x="1003" y="1542"/>
                      </a:cubicBezTo>
                      <a:cubicBezTo>
                        <a:pt x="995" y="1534"/>
                        <a:pt x="988" y="1526"/>
                        <a:pt x="980" y="1526"/>
                      </a:cubicBezTo>
                      <a:cubicBezTo>
                        <a:pt x="980" y="1526"/>
                        <a:pt x="980" y="1534"/>
                        <a:pt x="980" y="1542"/>
                      </a:cubicBezTo>
                      <a:cubicBezTo>
                        <a:pt x="980" y="1542"/>
                        <a:pt x="972" y="1557"/>
                        <a:pt x="964" y="1557"/>
                      </a:cubicBezTo>
                      <a:cubicBezTo>
                        <a:pt x="956" y="1565"/>
                        <a:pt x="948" y="1565"/>
                        <a:pt x="948" y="1565"/>
                      </a:cubicBezTo>
                      <a:cubicBezTo>
                        <a:pt x="932" y="1565"/>
                        <a:pt x="932" y="1542"/>
                        <a:pt x="932" y="1518"/>
                      </a:cubicBezTo>
                      <a:cubicBezTo>
                        <a:pt x="932" y="1510"/>
                        <a:pt x="924" y="1510"/>
                        <a:pt x="924" y="1510"/>
                      </a:cubicBezTo>
                      <a:cubicBezTo>
                        <a:pt x="908" y="1510"/>
                        <a:pt x="893" y="1518"/>
                        <a:pt x="885" y="1526"/>
                      </a:cubicBezTo>
                      <a:cubicBezTo>
                        <a:pt x="877" y="1534"/>
                        <a:pt x="869" y="1534"/>
                        <a:pt x="869" y="1534"/>
                      </a:cubicBezTo>
                      <a:cubicBezTo>
                        <a:pt x="861" y="1534"/>
                        <a:pt x="853" y="1534"/>
                        <a:pt x="830" y="1542"/>
                      </a:cubicBezTo>
                      <a:cubicBezTo>
                        <a:pt x="830" y="1542"/>
                        <a:pt x="830" y="1549"/>
                        <a:pt x="821" y="1549"/>
                      </a:cubicBezTo>
                      <a:cubicBezTo>
                        <a:pt x="830" y="1549"/>
                        <a:pt x="845" y="1565"/>
                        <a:pt x="853" y="1597"/>
                      </a:cubicBezTo>
                      <a:cubicBezTo>
                        <a:pt x="853" y="1605"/>
                        <a:pt x="845" y="1613"/>
                        <a:pt x="845" y="1621"/>
                      </a:cubicBezTo>
                      <a:cubicBezTo>
                        <a:pt x="821" y="1644"/>
                        <a:pt x="766" y="1652"/>
                        <a:pt x="727" y="1652"/>
                      </a:cubicBezTo>
                      <a:cubicBezTo>
                        <a:pt x="671" y="1652"/>
                        <a:pt x="608" y="1644"/>
                        <a:pt x="592" y="1628"/>
                      </a:cubicBezTo>
                      <a:cubicBezTo>
                        <a:pt x="561" y="1613"/>
                        <a:pt x="379" y="1557"/>
                        <a:pt x="355" y="1557"/>
                      </a:cubicBezTo>
                      <a:cubicBezTo>
                        <a:pt x="347" y="1557"/>
                        <a:pt x="339" y="1557"/>
                        <a:pt x="339" y="1549"/>
                      </a:cubicBezTo>
                      <a:cubicBezTo>
                        <a:pt x="339" y="1542"/>
                        <a:pt x="339" y="1534"/>
                        <a:pt x="339" y="1526"/>
                      </a:cubicBezTo>
                      <a:cubicBezTo>
                        <a:pt x="331" y="1518"/>
                        <a:pt x="331" y="1510"/>
                        <a:pt x="331" y="1510"/>
                      </a:cubicBezTo>
                      <a:cubicBezTo>
                        <a:pt x="331" y="1502"/>
                        <a:pt x="339" y="1502"/>
                        <a:pt x="355" y="1494"/>
                      </a:cubicBezTo>
                      <a:cubicBezTo>
                        <a:pt x="355" y="1494"/>
                        <a:pt x="355" y="1494"/>
                        <a:pt x="363" y="1494"/>
                      </a:cubicBezTo>
                      <a:lnTo>
                        <a:pt x="371" y="1494"/>
                      </a:lnTo>
                      <a:cubicBezTo>
                        <a:pt x="371" y="1486"/>
                        <a:pt x="371" y="1478"/>
                        <a:pt x="371" y="1478"/>
                      </a:cubicBezTo>
                      <a:cubicBezTo>
                        <a:pt x="371" y="1478"/>
                        <a:pt x="363" y="1478"/>
                        <a:pt x="363" y="1471"/>
                      </a:cubicBezTo>
                      <a:cubicBezTo>
                        <a:pt x="363" y="1462"/>
                        <a:pt x="355" y="1455"/>
                        <a:pt x="347" y="1439"/>
                      </a:cubicBezTo>
                      <a:cubicBezTo>
                        <a:pt x="339" y="1431"/>
                        <a:pt x="339" y="1431"/>
                        <a:pt x="339" y="1431"/>
                      </a:cubicBezTo>
                      <a:cubicBezTo>
                        <a:pt x="339" y="1431"/>
                        <a:pt x="339" y="1439"/>
                        <a:pt x="331" y="1447"/>
                      </a:cubicBezTo>
                      <a:lnTo>
                        <a:pt x="331" y="1455"/>
                      </a:lnTo>
                      <a:cubicBezTo>
                        <a:pt x="324" y="1462"/>
                        <a:pt x="331" y="1471"/>
                        <a:pt x="331" y="1471"/>
                      </a:cubicBezTo>
                      <a:cubicBezTo>
                        <a:pt x="331" y="1478"/>
                        <a:pt x="331" y="1486"/>
                        <a:pt x="331" y="1494"/>
                      </a:cubicBezTo>
                      <a:cubicBezTo>
                        <a:pt x="331" y="1502"/>
                        <a:pt x="324" y="1510"/>
                        <a:pt x="316" y="1510"/>
                      </a:cubicBezTo>
                      <a:cubicBezTo>
                        <a:pt x="324" y="1518"/>
                        <a:pt x="331" y="1542"/>
                        <a:pt x="324" y="1557"/>
                      </a:cubicBezTo>
                      <a:cubicBezTo>
                        <a:pt x="324" y="1573"/>
                        <a:pt x="292" y="1573"/>
                        <a:pt x="253" y="1573"/>
                      </a:cubicBezTo>
                      <a:cubicBezTo>
                        <a:pt x="244" y="1573"/>
                        <a:pt x="229" y="1573"/>
                        <a:pt x="213" y="1573"/>
                      </a:cubicBezTo>
                      <a:cubicBezTo>
                        <a:pt x="181" y="1573"/>
                        <a:pt x="165" y="1581"/>
                        <a:pt x="150" y="1589"/>
                      </a:cubicBezTo>
                      <a:cubicBezTo>
                        <a:pt x="142" y="1597"/>
                        <a:pt x="134" y="1597"/>
                        <a:pt x="126" y="1597"/>
                      </a:cubicBezTo>
                      <a:cubicBezTo>
                        <a:pt x="126" y="1605"/>
                        <a:pt x="126" y="1605"/>
                        <a:pt x="126" y="1605"/>
                      </a:cubicBezTo>
                      <a:cubicBezTo>
                        <a:pt x="126" y="1597"/>
                        <a:pt x="126" y="1597"/>
                        <a:pt x="126" y="1597"/>
                      </a:cubicBezTo>
                      <a:cubicBezTo>
                        <a:pt x="126" y="1597"/>
                        <a:pt x="118" y="1589"/>
                        <a:pt x="110" y="1581"/>
                      </a:cubicBezTo>
                      <a:lnTo>
                        <a:pt x="110" y="1581"/>
                      </a:lnTo>
                      <a:cubicBezTo>
                        <a:pt x="94" y="1573"/>
                        <a:pt x="86" y="1565"/>
                        <a:pt x="94" y="1542"/>
                      </a:cubicBezTo>
                      <a:cubicBezTo>
                        <a:pt x="102" y="1526"/>
                        <a:pt x="110" y="1518"/>
                        <a:pt x="134" y="1494"/>
                      </a:cubicBezTo>
                      <a:cubicBezTo>
                        <a:pt x="142" y="1486"/>
                        <a:pt x="150" y="1471"/>
                        <a:pt x="150" y="1462"/>
                      </a:cubicBezTo>
                      <a:cubicBezTo>
                        <a:pt x="150" y="1455"/>
                        <a:pt x="150" y="1439"/>
                        <a:pt x="158" y="1431"/>
                      </a:cubicBezTo>
                      <a:cubicBezTo>
                        <a:pt x="165" y="1431"/>
                        <a:pt x="165" y="1423"/>
                        <a:pt x="173" y="1423"/>
                      </a:cubicBezTo>
                      <a:cubicBezTo>
                        <a:pt x="181" y="1423"/>
                        <a:pt x="181" y="1415"/>
                        <a:pt x="181" y="1407"/>
                      </a:cubicBezTo>
                      <a:lnTo>
                        <a:pt x="181" y="1399"/>
                      </a:lnTo>
                      <a:cubicBezTo>
                        <a:pt x="181" y="1384"/>
                        <a:pt x="181" y="1368"/>
                        <a:pt x="173" y="1352"/>
                      </a:cubicBezTo>
                      <a:cubicBezTo>
                        <a:pt x="173" y="1344"/>
                        <a:pt x="165" y="1344"/>
                        <a:pt x="165" y="1336"/>
                      </a:cubicBezTo>
                      <a:cubicBezTo>
                        <a:pt x="158" y="1320"/>
                        <a:pt x="150" y="1312"/>
                        <a:pt x="150" y="1297"/>
                      </a:cubicBezTo>
                      <a:lnTo>
                        <a:pt x="150" y="1289"/>
                      </a:lnTo>
                      <a:cubicBezTo>
                        <a:pt x="158" y="1273"/>
                        <a:pt x="165" y="1249"/>
                        <a:pt x="173" y="1249"/>
                      </a:cubicBezTo>
                      <a:cubicBezTo>
                        <a:pt x="181" y="1249"/>
                        <a:pt x="181" y="1249"/>
                        <a:pt x="181" y="1249"/>
                      </a:cubicBezTo>
                      <a:cubicBezTo>
                        <a:pt x="181" y="1241"/>
                        <a:pt x="181" y="1233"/>
                        <a:pt x="173" y="1218"/>
                      </a:cubicBezTo>
                      <a:cubicBezTo>
                        <a:pt x="173" y="1210"/>
                        <a:pt x="165" y="1210"/>
                        <a:pt x="158" y="1210"/>
                      </a:cubicBezTo>
                      <a:lnTo>
                        <a:pt x="150" y="1202"/>
                      </a:lnTo>
                      <a:cubicBezTo>
                        <a:pt x="150" y="1194"/>
                        <a:pt x="150" y="1186"/>
                        <a:pt x="158" y="1178"/>
                      </a:cubicBezTo>
                      <a:cubicBezTo>
                        <a:pt x="165" y="1170"/>
                        <a:pt x="173" y="1162"/>
                        <a:pt x="181" y="1162"/>
                      </a:cubicBezTo>
                      <a:cubicBezTo>
                        <a:pt x="189" y="1154"/>
                        <a:pt x="197" y="1146"/>
                        <a:pt x="205" y="1123"/>
                      </a:cubicBezTo>
                      <a:cubicBezTo>
                        <a:pt x="229" y="1083"/>
                        <a:pt x="229" y="1051"/>
                        <a:pt x="229" y="1036"/>
                      </a:cubicBezTo>
                      <a:cubicBezTo>
                        <a:pt x="229" y="1036"/>
                        <a:pt x="229" y="1036"/>
                        <a:pt x="221" y="1028"/>
                      </a:cubicBezTo>
                      <a:cubicBezTo>
                        <a:pt x="221" y="1012"/>
                        <a:pt x="221" y="996"/>
                        <a:pt x="229" y="972"/>
                      </a:cubicBezTo>
                      <a:cubicBezTo>
                        <a:pt x="229" y="949"/>
                        <a:pt x="229" y="909"/>
                        <a:pt x="213" y="885"/>
                      </a:cubicBezTo>
                      <a:cubicBezTo>
                        <a:pt x="205" y="870"/>
                        <a:pt x="197" y="870"/>
                        <a:pt x="189" y="862"/>
                      </a:cubicBezTo>
                      <a:cubicBezTo>
                        <a:pt x="181" y="862"/>
                        <a:pt x="165" y="854"/>
                        <a:pt x="165" y="830"/>
                      </a:cubicBezTo>
                      <a:cubicBezTo>
                        <a:pt x="173" y="783"/>
                        <a:pt x="150" y="759"/>
                        <a:pt x="134" y="751"/>
                      </a:cubicBezTo>
                      <a:cubicBezTo>
                        <a:pt x="134" y="743"/>
                        <a:pt x="126" y="743"/>
                        <a:pt x="126" y="743"/>
                      </a:cubicBezTo>
                      <a:cubicBezTo>
                        <a:pt x="110" y="735"/>
                        <a:pt x="102" y="727"/>
                        <a:pt x="110" y="704"/>
                      </a:cubicBezTo>
                      <a:cubicBezTo>
                        <a:pt x="110" y="696"/>
                        <a:pt x="110" y="696"/>
                        <a:pt x="110" y="688"/>
                      </a:cubicBezTo>
                      <a:cubicBezTo>
                        <a:pt x="118" y="672"/>
                        <a:pt x="118" y="664"/>
                        <a:pt x="110" y="640"/>
                      </a:cubicBezTo>
                      <a:cubicBezTo>
                        <a:pt x="102" y="625"/>
                        <a:pt x="86" y="609"/>
                        <a:pt x="78" y="593"/>
                      </a:cubicBezTo>
                      <a:cubicBezTo>
                        <a:pt x="71" y="585"/>
                        <a:pt x="63" y="577"/>
                        <a:pt x="55" y="569"/>
                      </a:cubicBezTo>
                      <a:cubicBezTo>
                        <a:pt x="39" y="545"/>
                        <a:pt x="7" y="530"/>
                        <a:pt x="7" y="530"/>
                      </a:cubicBezTo>
                      <a:lnTo>
                        <a:pt x="7" y="530"/>
                      </a:lnTo>
                      <a:lnTo>
                        <a:pt x="7" y="530"/>
                      </a:lnTo>
                      <a:cubicBezTo>
                        <a:pt x="0" y="32"/>
                        <a:pt x="0" y="32"/>
                        <a:pt x="0" y="32"/>
                      </a:cubicBezTo>
                      <a:lnTo>
                        <a:pt x="0" y="32"/>
                      </a:lnTo>
                      <a:cubicBezTo>
                        <a:pt x="1138" y="0"/>
                        <a:pt x="1138" y="0"/>
                        <a:pt x="1138" y="0"/>
                      </a:cubicBezTo>
                      <a:lnTo>
                        <a:pt x="1138" y="0"/>
                      </a:lnTo>
                      <a:cubicBezTo>
                        <a:pt x="1146" y="24"/>
                        <a:pt x="1154" y="32"/>
                        <a:pt x="1161" y="40"/>
                      </a:cubicBezTo>
                      <a:cubicBezTo>
                        <a:pt x="1161" y="48"/>
                        <a:pt x="1170" y="48"/>
                        <a:pt x="1170" y="55"/>
                      </a:cubicBezTo>
                      <a:cubicBezTo>
                        <a:pt x="1170" y="63"/>
                        <a:pt x="1161" y="79"/>
                        <a:pt x="1154" y="95"/>
                      </a:cubicBezTo>
                      <a:cubicBezTo>
                        <a:pt x="1146" y="103"/>
                        <a:pt x="1146" y="119"/>
                        <a:pt x="1146" y="127"/>
                      </a:cubicBezTo>
                      <a:cubicBezTo>
                        <a:pt x="1154" y="134"/>
                        <a:pt x="1154" y="142"/>
                        <a:pt x="1154" y="158"/>
                      </a:cubicBezTo>
                      <a:cubicBezTo>
                        <a:pt x="1154" y="190"/>
                        <a:pt x="1161" y="206"/>
                        <a:pt x="1185" y="206"/>
                      </a:cubicBezTo>
                      <a:lnTo>
                        <a:pt x="1185" y="206"/>
                      </a:lnTo>
                      <a:lnTo>
                        <a:pt x="1185" y="206"/>
                      </a:lnTo>
                      <a:cubicBezTo>
                        <a:pt x="1185" y="206"/>
                        <a:pt x="1201" y="221"/>
                        <a:pt x="1193" y="245"/>
                      </a:cubicBezTo>
                      <a:cubicBezTo>
                        <a:pt x="1193" y="253"/>
                        <a:pt x="1193" y="261"/>
                        <a:pt x="1193" y="261"/>
                      </a:cubicBezTo>
                      <a:cubicBezTo>
                        <a:pt x="1185" y="269"/>
                        <a:pt x="1185" y="269"/>
                        <a:pt x="1185" y="269"/>
                      </a:cubicBezTo>
                      <a:cubicBezTo>
                        <a:pt x="1185" y="277"/>
                        <a:pt x="1201" y="285"/>
                        <a:pt x="1209" y="285"/>
                      </a:cubicBezTo>
                      <a:cubicBezTo>
                        <a:pt x="1217" y="292"/>
                        <a:pt x="1248" y="308"/>
                        <a:pt x="1248" y="324"/>
                      </a:cubicBezTo>
                      <a:cubicBezTo>
                        <a:pt x="1248" y="324"/>
                        <a:pt x="1248" y="332"/>
                        <a:pt x="1241" y="332"/>
                      </a:cubicBezTo>
                      <a:cubicBezTo>
                        <a:pt x="1233" y="332"/>
                        <a:pt x="1225" y="332"/>
                        <a:pt x="1217" y="340"/>
                      </a:cubicBezTo>
                      <a:cubicBezTo>
                        <a:pt x="1193" y="340"/>
                        <a:pt x="1146" y="356"/>
                        <a:pt x="1138" y="364"/>
                      </a:cubicBezTo>
                      <a:cubicBezTo>
                        <a:pt x="1138" y="364"/>
                        <a:pt x="1146" y="372"/>
                        <a:pt x="1154" y="372"/>
                      </a:cubicBezTo>
                      <a:cubicBezTo>
                        <a:pt x="1161" y="380"/>
                        <a:pt x="1177" y="387"/>
                        <a:pt x="1185" y="387"/>
                      </a:cubicBezTo>
                      <a:cubicBezTo>
                        <a:pt x="1201" y="395"/>
                        <a:pt x="1209" y="395"/>
                        <a:pt x="1209" y="419"/>
                      </a:cubicBezTo>
                      <a:cubicBezTo>
                        <a:pt x="1201" y="443"/>
                        <a:pt x="1170" y="506"/>
                        <a:pt x="1154" y="514"/>
                      </a:cubicBezTo>
                      <a:cubicBezTo>
                        <a:pt x="1146" y="522"/>
                        <a:pt x="1146" y="522"/>
                        <a:pt x="1138" y="522"/>
                      </a:cubicBezTo>
                      <a:cubicBezTo>
                        <a:pt x="1130" y="522"/>
                        <a:pt x="1122" y="530"/>
                        <a:pt x="1122" y="545"/>
                      </a:cubicBezTo>
                      <a:cubicBezTo>
                        <a:pt x="1130" y="585"/>
                        <a:pt x="1122" y="593"/>
                        <a:pt x="1114" y="593"/>
                      </a:cubicBezTo>
                      <a:lnTo>
                        <a:pt x="1106" y="593"/>
                      </a:lnTo>
                      <a:cubicBezTo>
                        <a:pt x="1098" y="593"/>
                        <a:pt x="1090" y="593"/>
                        <a:pt x="1083" y="601"/>
                      </a:cubicBezTo>
                      <a:cubicBezTo>
                        <a:pt x="1083" y="601"/>
                        <a:pt x="1083" y="601"/>
                        <a:pt x="1083" y="609"/>
                      </a:cubicBezTo>
                      <a:cubicBezTo>
                        <a:pt x="1083" y="617"/>
                        <a:pt x="1090" y="625"/>
                        <a:pt x="1090" y="625"/>
                      </a:cubicBezTo>
                      <a:cubicBezTo>
                        <a:pt x="1090" y="640"/>
                        <a:pt x="1098" y="648"/>
                        <a:pt x="1083" y="656"/>
                      </a:cubicBezTo>
                      <a:lnTo>
                        <a:pt x="1075" y="656"/>
                      </a:lnTo>
                      <a:cubicBezTo>
                        <a:pt x="1059" y="656"/>
                        <a:pt x="1043" y="664"/>
                        <a:pt x="1043" y="672"/>
                      </a:cubicBezTo>
                      <a:cubicBezTo>
                        <a:pt x="1043" y="680"/>
                        <a:pt x="1043" y="688"/>
                        <a:pt x="1043" y="696"/>
                      </a:cubicBezTo>
                      <a:cubicBezTo>
                        <a:pt x="1043" y="720"/>
                        <a:pt x="1051" y="735"/>
                        <a:pt x="1035" y="743"/>
                      </a:cubicBezTo>
                      <a:cubicBezTo>
                        <a:pt x="1035" y="743"/>
                        <a:pt x="1027" y="743"/>
                        <a:pt x="1027" y="751"/>
                      </a:cubicBezTo>
                      <a:cubicBezTo>
                        <a:pt x="1019" y="751"/>
                        <a:pt x="1019" y="759"/>
                        <a:pt x="1027" y="767"/>
                      </a:cubicBezTo>
                      <a:cubicBezTo>
                        <a:pt x="1035" y="783"/>
                        <a:pt x="1035" y="814"/>
                        <a:pt x="1027" y="830"/>
                      </a:cubicBezTo>
                      <a:cubicBezTo>
                        <a:pt x="1027" y="838"/>
                        <a:pt x="1019" y="838"/>
                        <a:pt x="1019" y="846"/>
                      </a:cubicBezTo>
                      <a:cubicBezTo>
                        <a:pt x="1011" y="846"/>
                        <a:pt x="995" y="854"/>
                        <a:pt x="995" y="862"/>
                      </a:cubicBezTo>
                      <a:cubicBezTo>
                        <a:pt x="988" y="870"/>
                        <a:pt x="995" y="870"/>
                        <a:pt x="995" y="878"/>
                      </a:cubicBezTo>
                      <a:cubicBezTo>
                        <a:pt x="1011" y="901"/>
                        <a:pt x="1027" y="925"/>
                        <a:pt x="1011" y="933"/>
                      </a:cubicBezTo>
                      <a:lnTo>
                        <a:pt x="1011" y="933"/>
                      </a:lnTo>
                      <a:cubicBezTo>
                        <a:pt x="1011" y="941"/>
                        <a:pt x="1003" y="941"/>
                        <a:pt x="1003" y="949"/>
                      </a:cubicBezTo>
                      <a:cubicBezTo>
                        <a:pt x="1003" y="949"/>
                        <a:pt x="1011" y="949"/>
                        <a:pt x="1019" y="949"/>
                      </a:cubicBezTo>
                      <a:cubicBezTo>
                        <a:pt x="1019" y="949"/>
                        <a:pt x="1019" y="949"/>
                        <a:pt x="1027" y="949"/>
                      </a:cubicBezTo>
                      <a:cubicBezTo>
                        <a:pt x="1098" y="949"/>
                        <a:pt x="1747" y="909"/>
                        <a:pt x="1747" y="909"/>
                      </a:cubicBezTo>
                      <a:cubicBezTo>
                        <a:pt x="1754" y="909"/>
                        <a:pt x="1754" y="909"/>
                        <a:pt x="1754" y="909"/>
                      </a:cubicBezTo>
                      <a:lnTo>
                        <a:pt x="1754" y="909"/>
                      </a:lnTo>
                      <a:cubicBezTo>
                        <a:pt x="1754" y="909"/>
                        <a:pt x="1778" y="917"/>
                        <a:pt x="1778" y="933"/>
                      </a:cubicBezTo>
                      <a:lnTo>
                        <a:pt x="1778" y="941"/>
                      </a:lnTo>
                      <a:cubicBezTo>
                        <a:pt x="1770" y="949"/>
                        <a:pt x="1770" y="949"/>
                        <a:pt x="1770" y="949"/>
                      </a:cubicBezTo>
                      <a:cubicBezTo>
                        <a:pt x="1754" y="965"/>
                        <a:pt x="1699" y="1012"/>
                        <a:pt x="1739" y="1067"/>
                      </a:cubicBezTo>
                      <a:cubicBezTo>
                        <a:pt x="1762" y="1091"/>
                        <a:pt x="1770" y="1107"/>
                        <a:pt x="1786" y="1115"/>
                      </a:cubicBezTo>
                      <a:cubicBezTo>
                        <a:pt x="1802" y="1123"/>
                        <a:pt x="1810" y="1138"/>
                        <a:pt x="1818" y="1154"/>
                      </a:cubicBezTo>
                      <a:cubicBezTo>
                        <a:pt x="1826" y="1186"/>
                        <a:pt x="1865" y="1241"/>
                        <a:pt x="1881" y="1265"/>
                      </a:cubicBezTo>
                      <a:cubicBezTo>
                        <a:pt x="1889" y="1281"/>
                        <a:pt x="1897" y="1289"/>
                        <a:pt x="1897" y="1289"/>
                      </a:cubicBezTo>
                      <a:lnTo>
                        <a:pt x="1897" y="1289"/>
                      </a:lnTo>
                      <a:lnTo>
                        <a:pt x="1897" y="1289"/>
                      </a:lnTo>
                      <a:cubicBezTo>
                        <a:pt x="1889" y="1297"/>
                        <a:pt x="1881" y="1297"/>
                        <a:pt x="1881" y="1297"/>
                      </a:cubicBezTo>
                      <a:cubicBezTo>
                        <a:pt x="1873" y="1297"/>
                        <a:pt x="1873" y="1297"/>
                        <a:pt x="1865" y="1297"/>
                      </a:cubicBezTo>
                      <a:cubicBezTo>
                        <a:pt x="1857" y="1297"/>
                        <a:pt x="1849" y="1297"/>
                        <a:pt x="1841" y="1297"/>
                      </a:cubicBezTo>
                      <a:cubicBezTo>
                        <a:pt x="1826" y="1297"/>
                        <a:pt x="1818" y="1297"/>
                        <a:pt x="1802" y="1289"/>
                      </a:cubicBezTo>
                      <a:cubicBezTo>
                        <a:pt x="1786" y="1289"/>
                        <a:pt x="1786" y="1289"/>
                        <a:pt x="1786" y="1289"/>
                      </a:cubicBezTo>
                      <a:cubicBezTo>
                        <a:pt x="1770" y="1289"/>
                        <a:pt x="1762" y="1281"/>
                        <a:pt x="1754" y="1273"/>
                      </a:cubicBezTo>
                      <a:cubicBezTo>
                        <a:pt x="1747" y="1273"/>
                        <a:pt x="1731" y="1265"/>
                        <a:pt x="1707" y="1257"/>
                      </a:cubicBezTo>
                      <a:cubicBezTo>
                        <a:pt x="1675" y="1241"/>
                        <a:pt x="1675" y="1241"/>
                        <a:pt x="1667" y="1233"/>
                      </a:cubicBezTo>
                      <a:cubicBezTo>
                        <a:pt x="1660" y="1233"/>
                        <a:pt x="1652" y="1225"/>
                        <a:pt x="1628" y="1218"/>
                      </a:cubicBezTo>
                      <a:cubicBezTo>
                        <a:pt x="1612" y="1210"/>
                        <a:pt x="1604" y="1202"/>
                        <a:pt x="1596" y="1202"/>
                      </a:cubicBezTo>
                      <a:lnTo>
                        <a:pt x="1596" y="1202"/>
                      </a:lnTo>
                      <a:cubicBezTo>
                        <a:pt x="1596" y="1210"/>
                        <a:pt x="1596" y="1218"/>
                        <a:pt x="1588" y="1225"/>
                      </a:cubicBezTo>
                      <a:lnTo>
                        <a:pt x="1588" y="1225"/>
                      </a:lnTo>
                      <a:cubicBezTo>
                        <a:pt x="1573" y="1249"/>
                        <a:pt x="1533" y="1289"/>
                        <a:pt x="1541" y="1328"/>
                      </a:cubicBezTo>
                      <a:cubicBezTo>
                        <a:pt x="1541" y="1352"/>
                        <a:pt x="1549" y="1352"/>
                        <a:pt x="1557" y="1352"/>
                      </a:cubicBezTo>
                      <a:cubicBezTo>
                        <a:pt x="1557" y="1352"/>
                        <a:pt x="1565" y="1352"/>
                        <a:pt x="1573" y="1344"/>
                      </a:cubicBezTo>
                      <a:cubicBezTo>
                        <a:pt x="1581" y="1344"/>
                        <a:pt x="1588" y="1344"/>
                        <a:pt x="1596" y="1344"/>
                      </a:cubicBezTo>
                      <a:lnTo>
                        <a:pt x="1596" y="1344"/>
                      </a:lnTo>
                      <a:cubicBezTo>
                        <a:pt x="1604" y="1344"/>
                        <a:pt x="1612" y="1344"/>
                        <a:pt x="1612" y="1344"/>
                      </a:cubicBezTo>
                      <a:cubicBezTo>
                        <a:pt x="1620" y="1344"/>
                        <a:pt x="1620" y="1344"/>
                        <a:pt x="1628" y="1344"/>
                      </a:cubicBezTo>
                      <a:cubicBezTo>
                        <a:pt x="1628" y="1344"/>
                        <a:pt x="1636" y="1344"/>
                        <a:pt x="1644" y="1344"/>
                      </a:cubicBezTo>
                      <a:cubicBezTo>
                        <a:pt x="1660" y="1344"/>
                        <a:pt x="1667" y="1352"/>
                        <a:pt x="1675" y="1368"/>
                      </a:cubicBezTo>
                      <a:cubicBezTo>
                        <a:pt x="1683" y="1375"/>
                        <a:pt x="1691" y="1391"/>
                        <a:pt x="1715" y="1399"/>
                      </a:cubicBezTo>
                      <a:cubicBezTo>
                        <a:pt x="1723" y="1407"/>
                        <a:pt x="1723" y="1399"/>
                        <a:pt x="1723" y="1399"/>
                      </a:cubicBezTo>
                      <a:cubicBezTo>
                        <a:pt x="1723" y="1399"/>
                        <a:pt x="1715" y="1384"/>
                        <a:pt x="1699" y="1368"/>
                      </a:cubicBezTo>
                      <a:cubicBezTo>
                        <a:pt x="1691" y="1360"/>
                        <a:pt x="1691" y="1352"/>
                        <a:pt x="1691" y="1344"/>
                      </a:cubicBezTo>
                      <a:cubicBezTo>
                        <a:pt x="1691" y="1328"/>
                        <a:pt x="1723" y="1304"/>
                        <a:pt x="1723" y="1297"/>
                      </a:cubicBezTo>
                      <a:cubicBezTo>
                        <a:pt x="1731" y="1297"/>
                        <a:pt x="1739" y="1297"/>
                        <a:pt x="1747" y="1297"/>
                      </a:cubicBezTo>
                      <a:cubicBezTo>
                        <a:pt x="1762" y="1297"/>
                        <a:pt x="1778" y="1297"/>
                        <a:pt x="1786" y="1297"/>
                      </a:cubicBezTo>
                      <a:cubicBezTo>
                        <a:pt x="1794" y="1304"/>
                        <a:pt x="1802" y="1304"/>
                        <a:pt x="1802" y="1304"/>
                      </a:cubicBezTo>
                      <a:cubicBezTo>
                        <a:pt x="1810" y="1304"/>
                        <a:pt x="1826" y="1312"/>
                        <a:pt x="1826" y="1320"/>
                      </a:cubicBezTo>
                      <a:cubicBezTo>
                        <a:pt x="1834" y="1328"/>
                        <a:pt x="1834" y="1328"/>
                        <a:pt x="1826" y="1336"/>
                      </a:cubicBezTo>
                      <a:cubicBezTo>
                        <a:pt x="1826" y="1344"/>
                        <a:pt x="1818" y="1344"/>
                        <a:pt x="1810" y="1352"/>
                      </a:cubicBezTo>
                      <a:cubicBezTo>
                        <a:pt x="1802" y="1360"/>
                        <a:pt x="1794" y="1360"/>
                        <a:pt x="1786" y="1375"/>
                      </a:cubicBezTo>
                      <a:lnTo>
                        <a:pt x="1786" y="1375"/>
                      </a:lnTo>
                      <a:lnTo>
                        <a:pt x="1794" y="1375"/>
                      </a:lnTo>
                      <a:cubicBezTo>
                        <a:pt x="1802" y="1384"/>
                        <a:pt x="1818" y="1384"/>
                        <a:pt x="1818" y="1399"/>
                      </a:cubicBezTo>
                      <a:cubicBezTo>
                        <a:pt x="1818" y="1415"/>
                        <a:pt x="1818" y="1415"/>
                        <a:pt x="1826" y="1415"/>
                      </a:cubicBezTo>
                      <a:cubicBezTo>
                        <a:pt x="1826" y="1415"/>
                        <a:pt x="1826" y="1415"/>
                        <a:pt x="1834" y="1415"/>
                      </a:cubicBezTo>
                      <a:cubicBezTo>
                        <a:pt x="1834" y="1415"/>
                        <a:pt x="1841" y="1415"/>
                        <a:pt x="1849" y="1415"/>
                      </a:cubicBezTo>
                      <a:lnTo>
                        <a:pt x="1849" y="1415"/>
                      </a:lnTo>
                      <a:lnTo>
                        <a:pt x="1857" y="1415"/>
                      </a:lnTo>
                      <a:cubicBezTo>
                        <a:pt x="1857" y="1415"/>
                        <a:pt x="1857" y="1407"/>
                        <a:pt x="1857" y="1399"/>
                      </a:cubicBezTo>
                      <a:lnTo>
                        <a:pt x="1857" y="1399"/>
                      </a:lnTo>
                      <a:cubicBezTo>
                        <a:pt x="1857" y="1391"/>
                        <a:pt x="1873" y="1352"/>
                        <a:pt x="1873" y="1344"/>
                      </a:cubicBezTo>
                      <a:cubicBezTo>
                        <a:pt x="1873" y="1344"/>
                        <a:pt x="1889" y="1320"/>
                        <a:pt x="1905" y="1320"/>
                      </a:cubicBezTo>
                      <a:cubicBezTo>
                        <a:pt x="1913" y="1320"/>
                        <a:pt x="1913" y="1320"/>
                        <a:pt x="1913" y="1320"/>
                      </a:cubicBezTo>
                      <a:cubicBezTo>
                        <a:pt x="1936" y="1328"/>
                        <a:pt x="1928" y="1344"/>
                        <a:pt x="1928" y="1368"/>
                      </a:cubicBezTo>
                      <a:cubicBezTo>
                        <a:pt x="1928" y="1368"/>
                        <a:pt x="1928" y="1375"/>
                        <a:pt x="1928" y="1384"/>
                      </a:cubicBezTo>
                      <a:cubicBezTo>
                        <a:pt x="1928" y="1391"/>
                        <a:pt x="1936" y="1391"/>
                        <a:pt x="1944" y="1391"/>
                      </a:cubicBezTo>
                      <a:cubicBezTo>
                        <a:pt x="1944" y="1399"/>
                        <a:pt x="1960" y="1399"/>
                        <a:pt x="1960" y="1415"/>
                      </a:cubicBezTo>
                      <a:cubicBezTo>
                        <a:pt x="1968" y="1447"/>
                        <a:pt x="1968" y="1455"/>
                        <a:pt x="1960" y="1471"/>
                      </a:cubicBezTo>
                      <a:cubicBezTo>
                        <a:pt x="1960" y="1478"/>
                        <a:pt x="1952" y="1478"/>
                        <a:pt x="1952" y="1478"/>
                      </a:cubicBezTo>
                      <a:cubicBezTo>
                        <a:pt x="1944" y="1478"/>
                        <a:pt x="1936" y="1478"/>
                        <a:pt x="1928" y="1478"/>
                      </a:cubicBezTo>
                      <a:cubicBezTo>
                        <a:pt x="1928" y="1471"/>
                        <a:pt x="1920" y="1471"/>
                        <a:pt x="1913" y="1471"/>
                      </a:cubicBezTo>
                      <a:lnTo>
                        <a:pt x="1913" y="1471"/>
                      </a:lnTo>
                      <a:cubicBezTo>
                        <a:pt x="1889" y="1471"/>
                        <a:pt x="1873" y="1486"/>
                        <a:pt x="1865" y="1502"/>
                      </a:cubicBezTo>
                      <a:lnTo>
                        <a:pt x="1865" y="1502"/>
                      </a:lnTo>
                      <a:cubicBezTo>
                        <a:pt x="1865" y="1510"/>
                        <a:pt x="1881" y="1510"/>
                        <a:pt x="1889" y="1510"/>
                      </a:cubicBezTo>
                      <a:cubicBezTo>
                        <a:pt x="1897" y="1510"/>
                        <a:pt x="1913" y="1518"/>
                        <a:pt x="1920" y="1518"/>
                      </a:cubicBezTo>
                      <a:lnTo>
                        <a:pt x="1928" y="1526"/>
                      </a:lnTo>
                      <a:cubicBezTo>
                        <a:pt x="1920" y="1534"/>
                        <a:pt x="1905" y="1534"/>
                        <a:pt x="1897" y="1534"/>
                      </a:cubicBezTo>
                      <a:cubicBezTo>
                        <a:pt x="1897" y="1534"/>
                        <a:pt x="1889" y="1534"/>
                        <a:pt x="1881" y="1534"/>
                      </a:cubicBezTo>
                      <a:lnTo>
                        <a:pt x="1881" y="1534"/>
                      </a:lnTo>
                      <a:cubicBezTo>
                        <a:pt x="1857" y="1534"/>
                        <a:pt x="1841" y="1549"/>
                        <a:pt x="1834" y="1557"/>
                      </a:cubicBezTo>
                      <a:cubicBezTo>
                        <a:pt x="1834" y="1565"/>
                        <a:pt x="1841" y="1565"/>
                        <a:pt x="1849" y="1573"/>
                      </a:cubicBezTo>
                      <a:cubicBezTo>
                        <a:pt x="1865" y="1581"/>
                        <a:pt x="1873" y="1589"/>
                        <a:pt x="1889" y="1605"/>
                      </a:cubicBezTo>
                      <a:cubicBezTo>
                        <a:pt x="1905" y="1621"/>
                        <a:pt x="1920" y="1621"/>
                        <a:pt x="1936" y="1628"/>
                      </a:cubicBezTo>
                      <a:cubicBezTo>
                        <a:pt x="1944" y="1628"/>
                        <a:pt x="1952" y="1628"/>
                        <a:pt x="1968" y="1637"/>
                      </a:cubicBezTo>
                      <a:cubicBezTo>
                        <a:pt x="1992" y="1652"/>
                        <a:pt x="2007" y="1652"/>
                        <a:pt x="2023" y="1652"/>
                      </a:cubicBezTo>
                      <a:cubicBezTo>
                        <a:pt x="2031" y="1652"/>
                        <a:pt x="2039" y="1652"/>
                        <a:pt x="2047" y="1652"/>
                      </a:cubicBezTo>
                      <a:cubicBezTo>
                        <a:pt x="2071" y="1660"/>
                        <a:pt x="2078" y="1668"/>
                        <a:pt x="2087" y="1676"/>
                      </a:cubicBezTo>
                      <a:cubicBezTo>
                        <a:pt x="2087" y="1676"/>
                        <a:pt x="2094" y="1684"/>
                        <a:pt x="2102" y="1692"/>
                      </a:cubicBezTo>
                      <a:cubicBezTo>
                        <a:pt x="2118" y="1692"/>
                        <a:pt x="2126" y="1708"/>
                        <a:pt x="2126" y="1715"/>
                      </a:cubicBezTo>
                      <a:cubicBezTo>
                        <a:pt x="2134" y="1724"/>
                        <a:pt x="2126" y="1739"/>
                        <a:pt x="2118" y="1747"/>
                      </a:cubicBezTo>
                      <a:cubicBezTo>
                        <a:pt x="2110" y="1763"/>
                        <a:pt x="2110" y="1763"/>
                        <a:pt x="2102" y="1763"/>
                      </a:cubicBezTo>
                      <a:cubicBezTo>
                        <a:pt x="2102" y="1763"/>
                        <a:pt x="2102" y="1771"/>
                        <a:pt x="2094" y="1779"/>
                      </a:cubicBezTo>
                      <a:cubicBezTo>
                        <a:pt x="2094" y="1787"/>
                        <a:pt x="2094" y="1795"/>
                        <a:pt x="2087" y="1802"/>
                      </a:cubicBezTo>
                      <a:cubicBezTo>
                        <a:pt x="2087" y="1810"/>
                        <a:pt x="2087" y="1818"/>
                        <a:pt x="2078" y="1826"/>
                      </a:cubicBezTo>
                      <a:cubicBezTo>
                        <a:pt x="2071" y="1826"/>
                        <a:pt x="2071" y="1826"/>
                        <a:pt x="2071" y="1826"/>
                      </a:cubicBezTo>
                      <a:cubicBezTo>
                        <a:pt x="2063" y="1826"/>
                        <a:pt x="2055" y="1818"/>
                        <a:pt x="2047" y="1802"/>
                      </a:cubicBezTo>
                      <a:cubicBezTo>
                        <a:pt x="2039" y="1795"/>
                        <a:pt x="2039" y="1795"/>
                        <a:pt x="2039" y="1787"/>
                      </a:cubicBezTo>
                      <a:cubicBezTo>
                        <a:pt x="2039" y="1787"/>
                        <a:pt x="2039" y="1795"/>
                        <a:pt x="2031" y="1795"/>
                      </a:cubicBezTo>
                      <a:cubicBezTo>
                        <a:pt x="2031" y="1802"/>
                        <a:pt x="2023" y="1810"/>
                        <a:pt x="2023" y="1818"/>
                      </a:cubicBezTo>
                      <a:cubicBezTo>
                        <a:pt x="2015" y="1834"/>
                        <a:pt x="2007" y="1850"/>
                        <a:pt x="1992" y="1866"/>
                      </a:cubicBezTo>
                      <a:cubicBezTo>
                        <a:pt x="1984" y="1881"/>
                        <a:pt x="1984" y="1881"/>
                        <a:pt x="1976" y="1881"/>
                      </a:cubicBezTo>
                      <a:close/>
                      <a:moveTo>
                        <a:pt x="1936" y="1708"/>
                      </a:moveTo>
                      <a:lnTo>
                        <a:pt x="1936" y="1708"/>
                      </a:lnTo>
                      <a:cubicBezTo>
                        <a:pt x="1944" y="1708"/>
                        <a:pt x="1944" y="1708"/>
                        <a:pt x="1944" y="1708"/>
                      </a:cubicBezTo>
                      <a:cubicBezTo>
                        <a:pt x="1944" y="1715"/>
                        <a:pt x="1944" y="1715"/>
                        <a:pt x="1944" y="1724"/>
                      </a:cubicBezTo>
                      <a:cubicBezTo>
                        <a:pt x="1944" y="1731"/>
                        <a:pt x="1944" y="1739"/>
                        <a:pt x="1952" y="1755"/>
                      </a:cubicBezTo>
                      <a:cubicBezTo>
                        <a:pt x="1960" y="1763"/>
                        <a:pt x="1968" y="1763"/>
                        <a:pt x="1976" y="1763"/>
                      </a:cubicBezTo>
                      <a:cubicBezTo>
                        <a:pt x="1976" y="1763"/>
                        <a:pt x="1984" y="1763"/>
                        <a:pt x="1992" y="1771"/>
                      </a:cubicBezTo>
                      <a:lnTo>
                        <a:pt x="1992" y="1779"/>
                      </a:lnTo>
                      <a:cubicBezTo>
                        <a:pt x="2000" y="1787"/>
                        <a:pt x="2007" y="1795"/>
                        <a:pt x="1992" y="1810"/>
                      </a:cubicBezTo>
                      <a:cubicBezTo>
                        <a:pt x="1992" y="1818"/>
                        <a:pt x="1992" y="1818"/>
                        <a:pt x="1984" y="1818"/>
                      </a:cubicBezTo>
                      <a:cubicBezTo>
                        <a:pt x="1976" y="1834"/>
                        <a:pt x="1968" y="1834"/>
                        <a:pt x="1976" y="1850"/>
                      </a:cubicBezTo>
                      <a:cubicBezTo>
                        <a:pt x="1976" y="1850"/>
                        <a:pt x="1976" y="1858"/>
                        <a:pt x="1976" y="1866"/>
                      </a:cubicBezTo>
                      <a:lnTo>
                        <a:pt x="1976" y="1874"/>
                      </a:lnTo>
                      <a:lnTo>
                        <a:pt x="1984" y="1866"/>
                      </a:lnTo>
                      <a:cubicBezTo>
                        <a:pt x="2000" y="1850"/>
                        <a:pt x="2007" y="1834"/>
                        <a:pt x="2015" y="1818"/>
                      </a:cubicBezTo>
                      <a:cubicBezTo>
                        <a:pt x="2015" y="1810"/>
                        <a:pt x="2023" y="1802"/>
                        <a:pt x="2023" y="1795"/>
                      </a:cubicBezTo>
                      <a:cubicBezTo>
                        <a:pt x="2031" y="1787"/>
                        <a:pt x="2039" y="1779"/>
                        <a:pt x="2039" y="1779"/>
                      </a:cubicBezTo>
                      <a:cubicBezTo>
                        <a:pt x="2047" y="1779"/>
                        <a:pt x="2047" y="1787"/>
                        <a:pt x="2055" y="1795"/>
                      </a:cubicBezTo>
                      <a:cubicBezTo>
                        <a:pt x="2055" y="1818"/>
                        <a:pt x="2063" y="1826"/>
                        <a:pt x="2071" y="1826"/>
                      </a:cubicBezTo>
                      <a:lnTo>
                        <a:pt x="2071" y="1818"/>
                      </a:lnTo>
                      <a:cubicBezTo>
                        <a:pt x="2078" y="1810"/>
                        <a:pt x="2078" y="1810"/>
                        <a:pt x="2087" y="1795"/>
                      </a:cubicBezTo>
                      <a:cubicBezTo>
                        <a:pt x="2087" y="1795"/>
                        <a:pt x="2087" y="1787"/>
                        <a:pt x="2087" y="1779"/>
                      </a:cubicBezTo>
                      <a:cubicBezTo>
                        <a:pt x="2094" y="1763"/>
                        <a:pt x="2094" y="1763"/>
                        <a:pt x="2102" y="1755"/>
                      </a:cubicBezTo>
                      <a:cubicBezTo>
                        <a:pt x="2102" y="1755"/>
                        <a:pt x="2110" y="1755"/>
                        <a:pt x="2110" y="1747"/>
                      </a:cubicBezTo>
                      <a:cubicBezTo>
                        <a:pt x="2118" y="1739"/>
                        <a:pt x="2126" y="1724"/>
                        <a:pt x="2118" y="1715"/>
                      </a:cubicBezTo>
                      <a:cubicBezTo>
                        <a:pt x="2118" y="1708"/>
                        <a:pt x="2110" y="1700"/>
                        <a:pt x="2102" y="1692"/>
                      </a:cubicBezTo>
                      <a:cubicBezTo>
                        <a:pt x="2087" y="1692"/>
                        <a:pt x="2087" y="1684"/>
                        <a:pt x="2078" y="1676"/>
                      </a:cubicBezTo>
                      <a:cubicBezTo>
                        <a:pt x="2071" y="1668"/>
                        <a:pt x="2071" y="1668"/>
                        <a:pt x="2047" y="1660"/>
                      </a:cubicBezTo>
                      <a:cubicBezTo>
                        <a:pt x="2039" y="1660"/>
                        <a:pt x="2031" y="1660"/>
                        <a:pt x="2023" y="1660"/>
                      </a:cubicBezTo>
                      <a:cubicBezTo>
                        <a:pt x="2007" y="1660"/>
                        <a:pt x="1992" y="1652"/>
                        <a:pt x="1968" y="1644"/>
                      </a:cubicBezTo>
                      <a:cubicBezTo>
                        <a:pt x="1952" y="1637"/>
                        <a:pt x="1944" y="1637"/>
                        <a:pt x="1936" y="1637"/>
                      </a:cubicBezTo>
                      <a:cubicBezTo>
                        <a:pt x="1913" y="1628"/>
                        <a:pt x="1905" y="1628"/>
                        <a:pt x="1881" y="1605"/>
                      </a:cubicBezTo>
                      <a:cubicBezTo>
                        <a:pt x="1873" y="1597"/>
                        <a:pt x="1857" y="1589"/>
                        <a:pt x="1849" y="1581"/>
                      </a:cubicBezTo>
                      <a:cubicBezTo>
                        <a:pt x="1834" y="1573"/>
                        <a:pt x="1826" y="1573"/>
                        <a:pt x="1834" y="1557"/>
                      </a:cubicBezTo>
                      <a:cubicBezTo>
                        <a:pt x="1834" y="1542"/>
                        <a:pt x="1857" y="1526"/>
                        <a:pt x="1881" y="1526"/>
                      </a:cubicBezTo>
                      <a:cubicBezTo>
                        <a:pt x="1881" y="1526"/>
                        <a:pt x="1881" y="1526"/>
                        <a:pt x="1889" y="1526"/>
                      </a:cubicBezTo>
                      <a:lnTo>
                        <a:pt x="1897" y="1526"/>
                      </a:lnTo>
                      <a:cubicBezTo>
                        <a:pt x="1913" y="1526"/>
                        <a:pt x="1913" y="1526"/>
                        <a:pt x="1920" y="1526"/>
                      </a:cubicBezTo>
                      <a:lnTo>
                        <a:pt x="1913" y="1526"/>
                      </a:lnTo>
                      <a:cubicBezTo>
                        <a:pt x="1905" y="1526"/>
                        <a:pt x="1897" y="1518"/>
                        <a:pt x="1889" y="1518"/>
                      </a:cubicBezTo>
                      <a:cubicBezTo>
                        <a:pt x="1873" y="1518"/>
                        <a:pt x="1865" y="1518"/>
                        <a:pt x="1857" y="1510"/>
                      </a:cubicBezTo>
                      <a:cubicBezTo>
                        <a:pt x="1857" y="1510"/>
                        <a:pt x="1857" y="1502"/>
                        <a:pt x="1865" y="1502"/>
                      </a:cubicBezTo>
                      <a:cubicBezTo>
                        <a:pt x="1873" y="1478"/>
                        <a:pt x="1889" y="1462"/>
                        <a:pt x="1913" y="1462"/>
                      </a:cubicBezTo>
                      <a:cubicBezTo>
                        <a:pt x="1920" y="1462"/>
                        <a:pt x="1928" y="1462"/>
                        <a:pt x="1936" y="1471"/>
                      </a:cubicBezTo>
                      <a:cubicBezTo>
                        <a:pt x="1944" y="1471"/>
                        <a:pt x="1944" y="1471"/>
                        <a:pt x="1952" y="1471"/>
                      </a:cubicBezTo>
                      <a:lnTo>
                        <a:pt x="1952" y="1471"/>
                      </a:lnTo>
                      <a:cubicBezTo>
                        <a:pt x="1960" y="1455"/>
                        <a:pt x="1960" y="1447"/>
                        <a:pt x="1952" y="1423"/>
                      </a:cubicBezTo>
                      <a:cubicBezTo>
                        <a:pt x="1952" y="1407"/>
                        <a:pt x="1944" y="1407"/>
                        <a:pt x="1936" y="1399"/>
                      </a:cubicBezTo>
                      <a:cubicBezTo>
                        <a:pt x="1928" y="1399"/>
                        <a:pt x="1920" y="1399"/>
                        <a:pt x="1920" y="1384"/>
                      </a:cubicBezTo>
                      <a:cubicBezTo>
                        <a:pt x="1920" y="1375"/>
                        <a:pt x="1920" y="1368"/>
                        <a:pt x="1920" y="1360"/>
                      </a:cubicBezTo>
                      <a:cubicBezTo>
                        <a:pt x="1920" y="1344"/>
                        <a:pt x="1920" y="1328"/>
                        <a:pt x="1913" y="1328"/>
                      </a:cubicBezTo>
                      <a:cubicBezTo>
                        <a:pt x="1913" y="1328"/>
                        <a:pt x="1913" y="1328"/>
                        <a:pt x="1905" y="1328"/>
                      </a:cubicBezTo>
                      <a:cubicBezTo>
                        <a:pt x="1897" y="1328"/>
                        <a:pt x="1881" y="1344"/>
                        <a:pt x="1881" y="1344"/>
                      </a:cubicBezTo>
                      <a:cubicBezTo>
                        <a:pt x="1873" y="1360"/>
                        <a:pt x="1865" y="1391"/>
                        <a:pt x="1865" y="1399"/>
                      </a:cubicBezTo>
                      <a:lnTo>
                        <a:pt x="1865" y="1399"/>
                      </a:lnTo>
                      <a:cubicBezTo>
                        <a:pt x="1865" y="1407"/>
                        <a:pt x="1865" y="1415"/>
                        <a:pt x="1857" y="1423"/>
                      </a:cubicBezTo>
                      <a:lnTo>
                        <a:pt x="1849" y="1423"/>
                      </a:lnTo>
                      <a:cubicBezTo>
                        <a:pt x="1841" y="1423"/>
                        <a:pt x="1834" y="1423"/>
                        <a:pt x="1834" y="1423"/>
                      </a:cubicBezTo>
                      <a:cubicBezTo>
                        <a:pt x="1826" y="1423"/>
                        <a:pt x="1826" y="1423"/>
                        <a:pt x="1826" y="1423"/>
                      </a:cubicBezTo>
                      <a:cubicBezTo>
                        <a:pt x="1818" y="1423"/>
                        <a:pt x="1810" y="1415"/>
                        <a:pt x="1810" y="1399"/>
                      </a:cubicBezTo>
                      <a:cubicBezTo>
                        <a:pt x="1810" y="1391"/>
                        <a:pt x="1802" y="1384"/>
                        <a:pt x="1794" y="1384"/>
                      </a:cubicBezTo>
                      <a:cubicBezTo>
                        <a:pt x="1786" y="1384"/>
                        <a:pt x="1778" y="1384"/>
                        <a:pt x="1778" y="1384"/>
                      </a:cubicBezTo>
                      <a:cubicBezTo>
                        <a:pt x="1778" y="1375"/>
                        <a:pt x="1778" y="1375"/>
                        <a:pt x="1778" y="1368"/>
                      </a:cubicBezTo>
                      <a:cubicBezTo>
                        <a:pt x="1786" y="1360"/>
                        <a:pt x="1794" y="1352"/>
                        <a:pt x="1810" y="1344"/>
                      </a:cubicBezTo>
                      <a:cubicBezTo>
                        <a:pt x="1810" y="1336"/>
                        <a:pt x="1818" y="1336"/>
                        <a:pt x="1818" y="1328"/>
                      </a:cubicBezTo>
                      <a:cubicBezTo>
                        <a:pt x="1826" y="1328"/>
                        <a:pt x="1826" y="1328"/>
                        <a:pt x="1826" y="1320"/>
                      </a:cubicBezTo>
                      <a:cubicBezTo>
                        <a:pt x="1818" y="1320"/>
                        <a:pt x="1810" y="1312"/>
                        <a:pt x="1802" y="1312"/>
                      </a:cubicBezTo>
                      <a:cubicBezTo>
                        <a:pt x="1794" y="1312"/>
                        <a:pt x="1794" y="1312"/>
                        <a:pt x="1786" y="1304"/>
                      </a:cubicBezTo>
                      <a:cubicBezTo>
                        <a:pt x="1778" y="1304"/>
                        <a:pt x="1762" y="1304"/>
                        <a:pt x="1747" y="1304"/>
                      </a:cubicBezTo>
                      <a:cubicBezTo>
                        <a:pt x="1739" y="1304"/>
                        <a:pt x="1731" y="1304"/>
                        <a:pt x="1731" y="1304"/>
                      </a:cubicBezTo>
                      <a:cubicBezTo>
                        <a:pt x="1715" y="1312"/>
                        <a:pt x="1699" y="1336"/>
                        <a:pt x="1699" y="1344"/>
                      </a:cubicBezTo>
                      <a:cubicBezTo>
                        <a:pt x="1699" y="1352"/>
                        <a:pt x="1699" y="1360"/>
                        <a:pt x="1699" y="1360"/>
                      </a:cubicBezTo>
                      <a:cubicBezTo>
                        <a:pt x="1715" y="1368"/>
                        <a:pt x="1739" y="1399"/>
                        <a:pt x="1731" y="1407"/>
                      </a:cubicBezTo>
                      <a:cubicBezTo>
                        <a:pt x="1731" y="1407"/>
                        <a:pt x="1731" y="1407"/>
                        <a:pt x="1723" y="1407"/>
                      </a:cubicBezTo>
                      <a:cubicBezTo>
                        <a:pt x="1723" y="1407"/>
                        <a:pt x="1715" y="1407"/>
                        <a:pt x="1707" y="1407"/>
                      </a:cubicBezTo>
                      <a:cubicBezTo>
                        <a:pt x="1691" y="1399"/>
                        <a:pt x="1675" y="1384"/>
                        <a:pt x="1667" y="1368"/>
                      </a:cubicBezTo>
                      <a:cubicBezTo>
                        <a:pt x="1660" y="1360"/>
                        <a:pt x="1652" y="1352"/>
                        <a:pt x="1644" y="1352"/>
                      </a:cubicBezTo>
                      <a:cubicBezTo>
                        <a:pt x="1636" y="1352"/>
                        <a:pt x="1636" y="1352"/>
                        <a:pt x="1628" y="1352"/>
                      </a:cubicBezTo>
                      <a:cubicBezTo>
                        <a:pt x="1620" y="1352"/>
                        <a:pt x="1620" y="1352"/>
                        <a:pt x="1612" y="1352"/>
                      </a:cubicBezTo>
                      <a:cubicBezTo>
                        <a:pt x="1612" y="1352"/>
                        <a:pt x="1604" y="1352"/>
                        <a:pt x="1596" y="1352"/>
                      </a:cubicBezTo>
                      <a:cubicBezTo>
                        <a:pt x="1588" y="1344"/>
                        <a:pt x="1581" y="1352"/>
                        <a:pt x="1573" y="1352"/>
                      </a:cubicBezTo>
                      <a:cubicBezTo>
                        <a:pt x="1573" y="1352"/>
                        <a:pt x="1565" y="1360"/>
                        <a:pt x="1557" y="1360"/>
                      </a:cubicBezTo>
                      <a:cubicBezTo>
                        <a:pt x="1541" y="1360"/>
                        <a:pt x="1533" y="1352"/>
                        <a:pt x="1533" y="1336"/>
                      </a:cubicBezTo>
                      <a:cubicBezTo>
                        <a:pt x="1525" y="1289"/>
                        <a:pt x="1565" y="1241"/>
                        <a:pt x="1581" y="1225"/>
                      </a:cubicBezTo>
                      <a:cubicBezTo>
                        <a:pt x="1581" y="1225"/>
                        <a:pt x="1581" y="1218"/>
                        <a:pt x="1588" y="1218"/>
                      </a:cubicBezTo>
                      <a:cubicBezTo>
                        <a:pt x="1588" y="1210"/>
                        <a:pt x="1588" y="1210"/>
                        <a:pt x="1588" y="1202"/>
                      </a:cubicBezTo>
                      <a:lnTo>
                        <a:pt x="1588" y="1194"/>
                      </a:lnTo>
                      <a:lnTo>
                        <a:pt x="1596" y="1194"/>
                      </a:lnTo>
                      <a:cubicBezTo>
                        <a:pt x="1596" y="1194"/>
                        <a:pt x="1604" y="1194"/>
                        <a:pt x="1628" y="1210"/>
                      </a:cubicBezTo>
                      <a:cubicBezTo>
                        <a:pt x="1652" y="1218"/>
                        <a:pt x="1667" y="1225"/>
                        <a:pt x="1667" y="1233"/>
                      </a:cubicBezTo>
                      <a:cubicBezTo>
                        <a:pt x="1675" y="1233"/>
                        <a:pt x="1683" y="1241"/>
                        <a:pt x="1715" y="1249"/>
                      </a:cubicBezTo>
                      <a:cubicBezTo>
                        <a:pt x="1739" y="1257"/>
                        <a:pt x="1747" y="1265"/>
                        <a:pt x="1754" y="1273"/>
                      </a:cubicBezTo>
                      <a:cubicBezTo>
                        <a:pt x="1770" y="1273"/>
                        <a:pt x="1770" y="1281"/>
                        <a:pt x="1794" y="1281"/>
                      </a:cubicBezTo>
                      <a:cubicBezTo>
                        <a:pt x="1802" y="1289"/>
                        <a:pt x="1802" y="1289"/>
                        <a:pt x="1802" y="1289"/>
                      </a:cubicBezTo>
                      <a:cubicBezTo>
                        <a:pt x="1826" y="1289"/>
                        <a:pt x="1841" y="1297"/>
                        <a:pt x="1857" y="1289"/>
                      </a:cubicBezTo>
                      <a:cubicBezTo>
                        <a:pt x="1865" y="1289"/>
                        <a:pt x="1873" y="1289"/>
                        <a:pt x="1881" y="1289"/>
                      </a:cubicBezTo>
                      <a:cubicBezTo>
                        <a:pt x="1881" y="1289"/>
                        <a:pt x="1881" y="1289"/>
                        <a:pt x="1889" y="1289"/>
                      </a:cubicBezTo>
                      <a:cubicBezTo>
                        <a:pt x="1889" y="1281"/>
                        <a:pt x="1881" y="1281"/>
                        <a:pt x="1873" y="1273"/>
                      </a:cubicBezTo>
                      <a:cubicBezTo>
                        <a:pt x="1857" y="1241"/>
                        <a:pt x="1818" y="1186"/>
                        <a:pt x="1810" y="1162"/>
                      </a:cubicBezTo>
                      <a:cubicBezTo>
                        <a:pt x="1802" y="1138"/>
                        <a:pt x="1794" y="1131"/>
                        <a:pt x="1778" y="1123"/>
                      </a:cubicBezTo>
                      <a:cubicBezTo>
                        <a:pt x="1770" y="1107"/>
                        <a:pt x="1754" y="1099"/>
                        <a:pt x="1739" y="1067"/>
                      </a:cubicBezTo>
                      <a:cubicBezTo>
                        <a:pt x="1691" y="1012"/>
                        <a:pt x="1747" y="957"/>
                        <a:pt x="1770" y="941"/>
                      </a:cubicBezTo>
                      <a:lnTo>
                        <a:pt x="1770" y="941"/>
                      </a:lnTo>
                      <a:cubicBezTo>
                        <a:pt x="1778" y="933"/>
                        <a:pt x="1770" y="933"/>
                        <a:pt x="1770" y="933"/>
                      </a:cubicBezTo>
                      <a:cubicBezTo>
                        <a:pt x="1770" y="925"/>
                        <a:pt x="1762" y="917"/>
                        <a:pt x="1747" y="917"/>
                      </a:cubicBezTo>
                      <a:cubicBezTo>
                        <a:pt x="1731" y="917"/>
                        <a:pt x="1098" y="957"/>
                        <a:pt x="1027" y="957"/>
                      </a:cubicBezTo>
                      <a:cubicBezTo>
                        <a:pt x="1019" y="957"/>
                        <a:pt x="1019" y="957"/>
                        <a:pt x="1019" y="957"/>
                      </a:cubicBezTo>
                      <a:cubicBezTo>
                        <a:pt x="1003" y="957"/>
                        <a:pt x="1003" y="949"/>
                        <a:pt x="1003" y="949"/>
                      </a:cubicBezTo>
                      <a:cubicBezTo>
                        <a:pt x="995" y="941"/>
                        <a:pt x="1003" y="941"/>
                        <a:pt x="1003" y="933"/>
                      </a:cubicBezTo>
                      <a:lnTo>
                        <a:pt x="1003" y="933"/>
                      </a:lnTo>
                      <a:cubicBezTo>
                        <a:pt x="1011" y="925"/>
                        <a:pt x="1003" y="901"/>
                        <a:pt x="988" y="885"/>
                      </a:cubicBezTo>
                      <a:cubicBezTo>
                        <a:pt x="988" y="878"/>
                        <a:pt x="980" y="870"/>
                        <a:pt x="988" y="862"/>
                      </a:cubicBezTo>
                      <a:cubicBezTo>
                        <a:pt x="988" y="846"/>
                        <a:pt x="1003" y="838"/>
                        <a:pt x="1011" y="838"/>
                      </a:cubicBezTo>
                      <a:cubicBezTo>
                        <a:pt x="1019" y="838"/>
                        <a:pt x="1019" y="830"/>
                        <a:pt x="1019" y="830"/>
                      </a:cubicBezTo>
                      <a:cubicBezTo>
                        <a:pt x="1027" y="814"/>
                        <a:pt x="1019" y="783"/>
                        <a:pt x="1019" y="775"/>
                      </a:cubicBezTo>
                      <a:cubicBezTo>
                        <a:pt x="1011" y="767"/>
                        <a:pt x="1011" y="759"/>
                        <a:pt x="1019" y="751"/>
                      </a:cubicBezTo>
                      <a:cubicBezTo>
                        <a:pt x="1019" y="743"/>
                        <a:pt x="1027" y="735"/>
                        <a:pt x="1035" y="735"/>
                      </a:cubicBezTo>
                      <a:cubicBezTo>
                        <a:pt x="1043" y="735"/>
                        <a:pt x="1035" y="712"/>
                        <a:pt x="1035" y="696"/>
                      </a:cubicBezTo>
                      <a:cubicBezTo>
                        <a:pt x="1035" y="688"/>
                        <a:pt x="1035" y="680"/>
                        <a:pt x="1035" y="672"/>
                      </a:cubicBezTo>
                      <a:cubicBezTo>
                        <a:pt x="1035" y="656"/>
                        <a:pt x="1059" y="648"/>
                        <a:pt x="1075" y="648"/>
                      </a:cubicBezTo>
                      <a:lnTo>
                        <a:pt x="1083" y="648"/>
                      </a:lnTo>
                      <a:cubicBezTo>
                        <a:pt x="1083" y="648"/>
                        <a:pt x="1083" y="640"/>
                        <a:pt x="1083" y="632"/>
                      </a:cubicBezTo>
                      <a:cubicBezTo>
                        <a:pt x="1083" y="625"/>
                        <a:pt x="1075" y="617"/>
                        <a:pt x="1075" y="609"/>
                      </a:cubicBezTo>
                      <a:cubicBezTo>
                        <a:pt x="1075" y="601"/>
                        <a:pt x="1075" y="593"/>
                        <a:pt x="1083" y="593"/>
                      </a:cubicBezTo>
                      <a:cubicBezTo>
                        <a:pt x="1083" y="585"/>
                        <a:pt x="1098" y="585"/>
                        <a:pt x="1106" y="585"/>
                      </a:cubicBezTo>
                      <a:cubicBezTo>
                        <a:pt x="1106" y="585"/>
                        <a:pt x="1106" y="585"/>
                        <a:pt x="1114" y="585"/>
                      </a:cubicBezTo>
                      <a:cubicBezTo>
                        <a:pt x="1122" y="585"/>
                        <a:pt x="1122" y="569"/>
                        <a:pt x="1114" y="545"/>
                      </a:cubicBezTo>
                      <a:cubicBezTo>
                        <a:pt x="1106" y="522"/>
                        <a:pt x="1122" y="522"/>
                        <a:pt x="1138" y="514"/>
                      </a:cubicBezTo>
                      <a:lnTo>
                        <a:pt x="1146" y="514"/>
                      </a:lnTo>
                      <a:cubicBezTo>
                        <a:pt x="1161" y="506"/>
                        <a:pt x="1193" y="443"/>
                        <a:pt x="1201" y="419"/>
                      </a:cubicBezTo>
                      <a:cubicBezTo>
                        <a:pt x="1201" y="403"/>
                        <a:pt x="1201" y="403"/>
                        <a:pt x="1185" y="395"/>
                      </a:cubicBezTo>
                      <a:cubicBezTo>
                        <a:pt x="1177" y="395"/>
                        <a:pt x="1161" y="387"/>
                        <a:pt x="1146" y="380"/>
                      </a:cubicBezTo>
                      <a:cubicBezTo>
                        <a:pt x="1146" y="380"/>
                        <a:pt x="1130" y="372"/>
                        <a:pt x="1138" y="364"/>
                      </a:cubicBezTo>
                      <a:cubicBezTo>
                        <a:pt x="1138" y="348"/>
                        <a:pt x="1170" y="340"/>
                        <a:pt x="1217" y="332"/>
                      </a:cubicBezTo>
                      <a:cubicBezTo>
                        <a:pt x="1225" y="332"/>
                        <a:pt x="1233" y="324"/>
                        <a:pt x="1233" y="324"/>
                      </a:cubicBezTo>
                      <a:cubicBezTo>
                        <a:pt x="1241" y="324"/>
                        <a:pt x="1241" y="324"/>
                        <a:pt x="1241" y="324"/>
                      </a:cubicBezTo>
                      <a:cubicBezTo>
                        <a:pt x="1241" y="316"/>
                        <a:pt x="1233" y="301"/>
                        <a:pt x="1201" y="292"/>
                      </a:cubicBezTo>
                      <a:cubicBezTo>
                        <a:pt x="1185" y="285"/>
                        <a:pt x="1177" y="277"/>
                        <a:pt x="1177" y="277"/>
                      </a:cubicBezTo>
                      <a:cubicBezTo>
                        <a:pt x="1177" y="269"/>
                        <a:pt x="1177" y="261"/>
                        <a:pt x="1185" y="261"/>
                      </a:cubicBezTo>
                      <a:cubicBezTo>
                        <a:pt x="1185" y="253"/>
                        <a:pt x="1185" y="253"/>
                        <a:pt x="1193" y="245"/>
                      </a:cubicBezTo>
                      <a:cubicBezTo>
                        <a:pt x="1193" y="229"/>
                        <a:pt x="1185" y="214"/>
                        <a:pt x="1177" y="214"/>
                      </a:cubicBezTo>
                      <a:cubicBezTo>
                        <a:pt x="1146" y="214"/>
                        <a:pt x="1146" y="182"/>
                        <a:pt x="1146" y="158"/>
                      </a:cubicBezTo>
                      <a:cubicBezTo>
                        <a:pt x="1146" y="150"/>
                        <a:pt x="1146" y="134"/>
                        <a:pt x="1146" y="127"/>
                      </a:cubicBezTo>
                      <a:cubicBezTo>
                        <a:pt x="1130" y="119"/>
                        <a:pt x="1146" y="103"/>
                        <a:pt x="1154" y="87"/>
                      </a:cubicBezTo>
                      <a:cubicBezTo>
                        <a:pt x="1161" y="79"/>
                        <a:pt x="1161" y="63"/>
                        <a:pt x="1161" y="55"/>
                      </a:cubicBezTo>
                      <a:lnTo>
                        <a:pt x="1154" y="48"/>
                      </a:lnTo>
                      <a:cubicBezTo>
                        <a:pt x="1146" y="40"/>
                        <a:pt x="1138" y="32"/>
                        <a:pt x="1138" y="8"/>
                      </a:cubicBezTo>
                      <a:cubicBezTo>
                        <a:pt x="7" y="40"/>
                        <a:pt x="7" y="40"/>
                        <a:pt x="7" y="40"/>
                      </a:cubicBezTo>
                      <a:cubicBezTo>
                        <a:pt x="15" y="522"/>
                        <a:pt x="15" y="522"/>
                        <a:pt x="15" y="522"/>
                      </a:cubicBezTo>
                      <a:cubicBezTo>
                        <a:pt x="23" y="530"/>
                        <a:pt x="47" y="545"/>
                        <a:pt x="63" y="561"/>
                      </a:cubicBezTo>
                      <a:cubicBezTo>
                        <a:pt x="63" y="569"/>
                        <a:pt x="71" y="577"/>
                        <a:pt x="78" y="585"/>
                      </a:cubicBezTo>
                      <a:cubicBezTo>
                        <a:pt x="94" y="601"/>
                        <a:pt x="110" y="617"/>
                        <a:pt x="118" y="640"/>
                      </a:cubicBezTo>
                      <a:cubicBezTo>
                        <a:pt x="126" y="664"/>
                        <a:pt x="126" y="680"/>
                        <a:pt x="118" y="688"/>
                      </a:cubicBezTo>
                      <a:cubicBezTo>
                        <a:pt x="118" y="696"/>
                        <a:pt x="118" y="704"/>
                        <a:pt x="110" y="712"/>
                      </a:cubicBezTo>
                      <a:cubicBezTo>
                        <a:pt x="110" y="727"/>
                        <a:pt x="118" y="727"/>
                        <a:pt x="126" y="735"/>
                      </a:cubicBezTo>
                      <a:cubicBezTo>
                        <a:pt x="134" y="735"/>
                        <a:pt x="134" y="735"/>
                        <a:pt x="142" y="743"/>
                      </a:cubicBezTo>
                      <a:cubicBezTo>
                        <a:pt x="158" y="759"/>
                        <a:pt x="181" y="783"/>
                        <a:pt x="173" y="830"/>
                      </a:cubicBezTo>
                      <a:cubicBezTo>
                        <a:pt x="173" y="854"/>
                        <a:pt x="181" y="854"/>
                        <a:pt x="189" y="862"/>
                      </a:cubicBezTo>
                      <a:cubicBezTo>
                        <a:pt x="197" y="862"/>
                        <a:pt x="213" y="862"/>
                        <a:pt x="221" y="878"/>
                      </a:cubicBezTo>
                      <a:cubicBezTo>
                        <a:pt x="237" y="909"/>
                        <a:pt x="237" y="949"/>
                        <a:pt x="237" y="972"/>
                      </a:cubicBezTo>
                      <a:cubicBezTo>
                        <a:pt x="229" y="996"/>
                        <a:pt x="229" y="1012"/>
                        <a:pt x="229" y="1028"/>
                      </a:cubicBezTo>
                      <a:cubicBezTo>
                        <a:pt x="229" y="1036"/>
                        <a:pt x="229" y="1036"/>
                        <a:pt x="237" y="1036"/>
                      </a:cubicBezTo>
                      <a:cubicBezTo>
                        <a:pt x="237" y="1051"/>
                        <a:pt x="237" y="1083"/>
                        <a:pt x="213" y="1131"/>
                      </a:cubicBezTo>
                      <a:cubicBezTo>
                        <a:pt x="205" y="1154"/>
                        <a:pt x="197" y="1154"/>
                        <a:pt x="181" y="1162"/>
                      </a:cubicBezTo>
                      <a:cubicBezTo>
                        <a:pt x="181" y="1170"/>
                        <a:pt x="173" y="1170"/>
                        <a:pt x="165" y="1186"/>
                      </a:cubicBezTo>
                      <a:cubicBezTo>
                        <a:pt x="158" y="1194"/>
                        <a:pt x="158" y="1194"/>
                        <a:pt x="158" y="1194"/>
                      </a:cubicBezTo>
                      <a:cubicBezTo>
                        <a:pt x="158" y="1202"/>
                        <a:pt x="158" y="1202"/>
                        <a:pt x="165" y="1202"/>
                      </a:cubicBezTo>
                      <a:cubicBezTo>
                        <a:pt x="173" y="1202"/>
                        <a:pt x="181" y="1210"/>
                        <a:pt x="181" y="1218"/>
                      </a:cubicBezTo>
                      <a:cubicBezTo>
                        <a:pt x="189" y="1225"/>
                        <a:pt x="189" y="1241"/>
                        <a:pt x="189" y="1249"/>
                      </a:cubicBezTo>
                      <a:cubicBezTo>
                        <a:pt x="181" y="1257"/>
                        <a:pt x="181" y="1257"/>
                        <a:pt x="173" y="1257"/>
                      </a:cubicBezTo>
                      <a:cubicBezTo>
                        <a:pt x="173" y="1257"/>
                        <a:pt x="165" y="1281"/>
                        <a:pt x="158" y="1289"/>
                      </a:cubicBezTo>
                      <a:cubicBezTo>
                        <a:pt x="158" y="1297"/>
                        <a:pt x="158" y="1297"/>
                        <a:pt x="158" y="1297"/>
                      </a:cubicBezTo>
                      <a:cubicBezTo>
                        <a:pt x="158" y="1312"/>
                        <a:pt x="165" y="1320"/>
                        <a:pt x="173" y="1336"/>
                      </a:cubicBezTo>
                      <a:cubicBezTo>
                        <a:pt x="173" y="1336"/>
                        <a:pt x="173" y="1344"/>
                        <a:pt x="181" y="1344"/>
                      </a:cubicBezTo>
                      <a:cubicBezTo>
                        <a:pt x="189" y="1368"/>
                        <a:pt x="189" y="1384"/>
                        <a:pt x="189" y="1399"/>
                      </a:cubicBezTo>
                      <a:lnTo>
                        <a:pt x="189" y="1407"/>
                      </a:lnTo>
                      <a:cubicBezTo>
                        <a:pt x="189" y="1423"/>
                        <a:pt x="181" y="1423"/>
                        <a:pt x="173" y="1431"/>
                      </a:cubicBezTo>
                      <a:cubicBezTo>
                        <a:pt x="173" y="1431"/>
                        <a:pt x="165" y="1431"/>
                        <a:pt x="165" y="1439"/>
                      </a:cubicBezTo>
                      <a:cubicBezTo>
                        <a:pt x="158" y="1447"/>
                        <a:pt x="158" y="1455"/>
                        <a:pt x="158" y="1462"/>
                      </a:cubicBezTo>
                      <a:cubicBezTo>
                        <a:pt x="158" y="1478"/>
                        <a:pt x="150" y="1486"/>
                        <a:pt x="142" y="1502"/>
                      </a:cubicBezTo>
                      <a:cubicBezTo>
                        <a:pt x="118" y="1518"/>
                        <a:pt x="110" y="1534"/>
                        <a:pt x="102" y="1549"/>
                      </a:cubicBezTo>
                      <a:cubicBezTo>
                        <a:pt x="94" y="1557"/>
                        <a:pt x="102" y="1565"/>
                        <a:pt x="110" y="1573"/>
                      </a:cubicBezTo>
                      <a:lnTo>
                        <a:pt x="110" y="1573"/>
                      </a:lnTo>
                      <a:cubicBezTo>
                        <a:pt x="126" y="1581"/>
                        <a:pt x="126" y="1589"/>
                        <a:pt x="134" y="1589"/>
                      </a:cubicBezTo>
                      <a:cubicBezTo>
                        <a:pt x="134" y="1589"/>
                        <a:pt x="142" y="1589"/>
                        <a:pt x="150" y="1581"/>
                      </a:cubicBezTo>
                      <a:cubicBezTo>
                        <a:pt x="158" y="1573"/>
                        <a:pt x="181" y="1565"/>
                        <a:pt x="213" y="1565"/>
                      </a:cubicBezTo>
                      <a:cubicBezTo>
                        <a:pt x="229" y="1565"/>
                        <a:pt x="244" y="1565"/>
                        <a:pt x="253" y="1565"/>
                      </a:cubicBezTo>
                      <a:cubicBezTo>
                        <a:pt x="284" y="1565"/>
                        <a:pt x="316" y="1565"/>
                        <a:pt x="316" y="1557"/>
                      </a:cubicBezTo>
                      <a:cubicBezTo>
                        <a:pt x="324" y="1542"/>
                        <a:pt x="308" y="1518"/>
                        <a:pt x="308" y="1510"/>
                      </a:cubicBezTo>
                      <a:cubicBezTo>
                        <a:pt x="300" y="1510"/>
                        <a:pt x="300" y="1510"/>
                        <a:pt x="300" y="1510"/>
                      </a:cubicBezTo>
                      <a:cubicBezTo>
                        <a:pt x="300" y="1502"/>
                        <a:pt x="308" y="1502"/>
                        <a:pt x="308" y="1502"/>
                      </a:cubicBezTo>
                      <a:cubicBezTo>
                        <a:pt x="316" y="1502"/>
                        <a:pt x="324" y="1502"/>
                        <a:pt x="324" y="1494"/>
                      </a:cubicBezTo>
                      <a:cubicBezTo>
                        <a:pt x="324" y="1486"/>
                        <a:pt x="324" y="1478"/>
                        <a:pt x="324" y="1478"/>
                      </a:cubicBezTo>
                      <a:cubicBezTo>
                        <a:pt x="324" y="1471"/>
                        <a:pt x="324" y="1462"/>
                        <a:pt x="324" y="1455"/>
                      </a:cubicBezTo>
                      <a:cubicBezTo>
                        <a:pt x="324" y="1447"/>
                        <a:pt x="324" y="1447"/>
                        <a:pt x="324" y="1439"/>
                      </a:cubicBezTo>
                      <a:cubicBezTo>
                        <a:pt x="331" y="1431"/>
                        <a:pt x="331" y="1423"/>
                        <a:pt x="339" y="1423"/>
                      </a:cubicBezTo>
                      <a:cubicBezTo>
                        <a:pt x="347" y="1423"/>
                        <a:pt x="347" y="1423"/>
                        <a:pt x="355" y="1431"/>
                      </a:cubicBezTo>
                      <a:cubicBezTo>
                        <a:pt x="355" y="1455"/>
                        <a:pt x="363" y="1462"/>
                        <a:pt x="371" y="1471"/>
                      </a:cubicBezTo>
                      <a:cubicBezTo>
                        <a:pt x="371" y="1471"/>
                        <a:pt x="371" y="1471"/>
                        <a:pt x="379" y="1478"/>
                      </a:cubicBezTo>
                      <a:cubicBezTo>
                        <a:pt x="379" y="1478"/>
                        <a:pt x="379" y="1486"/>
                        <a:pt x="379" y="1494"/>
                      </a:cubicBezTo>
                      <a:cubicBezTo>
                        <a:pt x="371" y="1502"/>
                        <a:pt x="371" y="1502"/>
                        <a:pt x="363" y="1502"/>
                      </a:cubicBezTo>
                      <a:cubicBezTo>
                        <a:pt x="355" y="1502"/>
                        <a:pt x="355" y="1502"/>
                        <a:pt x="355" y="1502"/>
                      </a:cubicBezTo>
                      <a:cubicBezTo>
                        <a:pt x="347" y="1510"/>
                        <a:pt x="339" y="1510"/>
                        <a:pt x="339" y="1510"/>
                      </a:cubicBezTo>
                      <a:cubicBezTo>
                        <a:pt x="339" y="1510"/>
                        <a:pt x="339" y="1518"/>
                        <a:pt x="339" y="1526"/>
                      </a:cubicBezTo>
                      <a:cubicBezTo>
                        <a:pt x="347" y="1534"/>
                        <a:pt x="347" y="1542"/>
                        <a:pt x="347" y="1549"/>
                      </a:cubicBezTo>
                      <a:cubicBezTo>
                        <a:pt x="347" y="1549"/>
                        <a:pt x="347" y="1549"/>
                        <a:pt x="355" y="1549"/>
                      </a:cubicBezTo>
                      <a:cubicBezTo>
                        <a:pt x="379" y="1557"/>
                        <a:pt x="561" y="1605"/>
                        <a:pt x="592" y="1621"/>
                      </a:cubicBezTo>
                      <a:cubicBezTo>
                        <a:pt x="608" y="1637"/>
                        <a:pt x="671" y="1644"/>
                        <a:pt x="727" y="1644"/>
                      </a:cubicBezTo>
                      <a:cubicBezTo>
                        <a:pt x="782" y="1644"/>
                        <a:pt x="821" y="1637"/>
                        <a:pt x="837" y="1621"/>
                      </a:cubicBezTo>
                      <a:cubicBezTo>
                        <a:pt x="845" y="1613"/>
                        <a:pt x="845" y="1605"/>
                        <a:pt x="845" y="1597"/>
                      </a:cubicBezTo>
                      <a:cubicBezTo>
                        <a:pt x="837" y="1557"/>
                        <a:pt x="821" y="1557"/>
                        <a:pt x="821" y="1549"/>
                      </a:cubicBezTo>
                      <a:cubicBezTo>
                        <a:pt x="814" y="1549"/>
                        <a:pt x="814" y="1549"/>
                        <a:pt x="814" y="1549"/>
                      </a:cubicBezTo>
                      <a:cubicBezTo>
                        <a:pt x="814" y="1542"/>
                        <a:pt x="814" y="1542"/>
                        <a:pt x="821" y="1542"/>
                      </a:cubicBezTo>
                      <a:cubicBezTo>
                        <a:pt x="821" y="1542"/>
                        <a:pt x="830" y="1542"/>
                        <a:pt x="830" y="1534"/>
                      </a:cubicBezTo>
                      <a:cubicBezTo>
                        <a:pt x="853" y="1526"/>
                        <a:pt x="861" y="1526"/>
                        <a:pt x="869" y="1526"/>
                      </a:cubicBezTo>
                      <a:cubicBezTo>
                        <a:pt x="869" y="1526"/>
                        <a:pt x="877" y="1526"/>
                        <a:pt x="885" y="1518"/>
                      </a:cubicBezTo>
                      <a:cubicBezTo>
                        <a:pt x="893" y="1510"/>
                        <a:pt x="908" y="1502"/>
                        <a:pt x="924" y="1502"/>
                      </a:cubicBezTo>
                      <a:cubicBezTo>
                        <a:pt x="932" y="1502"/>
                        <a:pt x="940" y="1502"/>
                        <a:pt x="940" y="1518"/>
                      </a:cubicBezTo>
                      <a:cubicBezTo>
                        <a:pt x="940" y="1534"/>
                        <a:pt x="940" y="1557"/>
                        <a:pt x="948" y="1557"/>
                      </a:cubicBezTo>
                      <a:lnTo>
                        <a:pt x="956" y="1557"/>
                      </a:lnTo>
                      <a:cubicBezTo>
                        <a:pt x="964" y="1549"/>
                        <a:pt x="972" y="1542"/>
                        <a:pt x="972" y="1534"/>
                      </a:cubicBezTo>
                      <a:cubicBezTo>
                        <a:pt x="972" y="1526"/>
                        <a:pt x="980" y="1526"/>
                        <a:pt x="980" y="1526"/>
                      </a:cubicBezTo>
                      <a:cubicBezTo>
                        <a:pt x="988" y="1526"/>
                        <a:pt x="995" y="1526"/>
                        <a:pt x="1003" y="1534"/>
                      </a:cubicBezTo>
                      <a:cubicBezTo>
                        <a:pt x="1011" y="1534"/>
                        <a:pt x="1019" y="1542"/>
                        <a:pt x="1019" y="1542"/>
                      </a:cubicBezTo>
                      <a:cubicBezTo>
                        <a:pt x="1043" y="1557"/>
                        <a:pt x="1051" y="1565"/>
                        <a:pt x="1059" y="1589"/>
                      </a:cubicBezTo>
                      <a:cubicBezTo>
                        <a:pt x="1067" y="1621"/>
                        <a:pt x="1067" y="1628"/>
                        <a:pt x="1090" y="1628"/>
                      </a:cubicBezTo>
                      <a:cubicBezTo>
                        <a:pt x="1114" y="1628"/>
                        <a:pt x="1161" y="1644"/>
                        <a:pt x="1177" y="1652"/>
                      </a:cubicBezTo>
                      <a:cubicBezTo>
                        <a:pt x="1193" y="1660"/>
                        <a:pt x="1201" y="1660"/>
                        <a:pt x="1217" y="1676"/>
                      </a:cubicBezTo>
                      <a:cubicBezTo>
                        <a:pt x="1233" y="1684"/>
                        <a:pt x="1233" y="1692"/>
                        <a:pt x="1233" y="1700"/>
                      </a:cubicBezTo>
                      <a:cubicBezTo>
                        <a:pt x="1225" y="1708"/>
                        <a:pt x="1217" y="1715"/>
                        <a:pt x="1209" y="1715"/>
                      </a:cubicBezTo>
                      <a:cubicBezTo>
                        <a:pt x="1193" y="1715"/>
                        <a:pt x="1177" y="1715"/>
                        <a:pt x="1177" y="1715"/>
                      </a:cubicBezTo>
                      <a:cubicBezTo>
                        <a:pt x="1177" y="1724"/>
                        <a:pt x="1177" y="1724"/>
                        <a:pt x="1177" y="1731"/>
                      </a:cubicBezTo>
                      <a:cubicBezTo>
                        <a:pt x="1177" y="1731"/>
                        <a:pt x="1177" y="1739"/>
                        <a:pt x="1185" y="1739"/>
                      </a:cubicBezTo>
                      <a:cubicBezTo>
                        <a:pt x="1193" y="1755"/>
                        <a:pt x="1193" y="1763"/>
                        <a:pt x="1217" y="1771"/>
                      </a:cubicBezTo>
                      <a:cubicBezTo>
                        <a:pt x="1225" y="1771"/>
                        <a:pt x="1241" y="1771"/>
                        <a:pt x="1248" y="1771"/>
                      </a:cubicBezTo>
                      <a:lnTo>
                        <a:pt x="1256" y="1763"/>
                      </a:lnTo>
                      <a:cubicBezTo>
                        <a:pt x="1264" y="1763"/>
                        <a:pt x="1272" y="1771"/>
                        <a:pt x="1288" y="1771"/>
                      </a:cubicBezTo>
                      <a:cubicBezTo>
                        <a:pt x="1304" y="1779"/>
                        <a:pt x="1304" y="1779"/>
                        <a:pt x="1312" y="1787"/>
                      </a:cubicBezTo>
                      <a:cubicBezTo>
                        <a:pt x="1312" y="1795"/>
                        <a:pt x="1320" y="1795"/>
                        <a:pt x="1343" y="1802"/>
                      </a:cubicBezTo>
                      <a:cubicBezTo>
                        <a:pt x="1359" y="1802"/>
                        <a:pt x="1391" y="1810"/>
                        <a:pt x="1414" y="1810"/>
                      </a:cubicBezTo>
                      <a:cubicBezTo>
                        <a:pt x="1438" y="1810"/>
                        <a:pt x="1454" y="1802"/>
                        <a:pt x="1454" y="1795"/>
                      </a:cubicBezTo>
                      <a:cubicBezTo>
                        <a:pt x="1462" y="1787"/>
                        <a:pt x="1462" y="1771"/>
                        <a:pt x="1454" y="1763"/>
                      </a:cubicBezTo>
                      <a:cubicBezTo>
                        <a:pt x="1454" y="1747"/>
                        <a:pt x="1454" y="1739"/>
                        <a:pt x="1462" y="1731"/>
                      </a:cubicBezTo>
                      <a:cubicBezTo>
                        <a:pt x="1478" y="1715"/>
                        <a:pt x="1501" y="1715"/>
                        <a:pt x="1517" y="1715"/>
                      </a:cubicBezTo>
                      <a:cubicBezTo>
                        <a:pt x="1533" y="1715"/>
                        <a:pt x="1557" y="1715"/>
                        <a:pt x="1565" y="1724"/>
                      </a:cubicBezTo>
                      <a:cubicBezTo>
                        <a:pt x="1565" y="1731"/>
                        <a:pt x="1573" y="1739"/>
                        <a:pt x="1581" y="1739"/>
                      </a:cubicBezTo>
                      <a:lnTo>
                        <a:pt x="1588" y="1739"/>
                      </a:lnTo>
                      <a:cubicBezTo>
                        <a:pt x="1596" y="1731"/>
                        <a:pt x="1604" y="1731"/>
                        <a:pt x="1604" y="1731"/>
                      </a:cubicBezTo>
                      <a:cubicBezTo>
                        <a:pt x="1612" y="1731"/>
                        <a:pt x="1612" y="1731"/>
                        <a:pt x="1612" y="1731"/>
                      </a:cubicBezTo>
                      <a:cubicBezTo>
                        <a:pt x="1612" y="1739"/>
                        <a:pt x="1620" y="1739"/>
                        <a:pt x="1612" y="1755"/>
                      </a:cubicBezTo>
                      <a:cubicBezTo>
                        <a:pt x="1612" y="1755"/>
                        <a:pt x="1612" y="1763"/>
                        <a:pt x="1612" y="1771"/>
                      </a:cubicBezTo>
                      <a:cubicBezTo>
                        <a:pt x="1604" y="1779"/>
                        <a:pt x="1604" y="1787"/>
                        <a:pt x="1604" y="1795"/>
                      </a:cubicBezTo>
                      <a:cubicBezTo>
                        <a:pt x="1612" y="1795"/>
                        <a:pt x="1612" y="1795"/>
                        <a:pt x="1620" y="1802"/>
                      </a:cubicBezTo>
                      <a:cubicBezTo>
                        <a:pt x="1620" y="1802"/>
                        <a:pt x="1628" y="1802"/>
                        <a:pt x="1636" y="1802"/>
                      </a:cubicBezTo>
                      <a:cubicBezTo>
                        <a:pt x="1644" y="1810"/>
                        <a:pt x="1652" y="1810"/>
                        <a:pt x="1660" y="1810"/>
                      </a:cubicBezTo>
                      <a:cubicBezTo>
                        <a:pt x="1667" y="1810"/>
                        <a:pt x="1675" y="1810"/>
                        <a:pt x="1675" y="1787"/>
                      </a:cubicBezTo>
                      <a:cubicBezTo>
                        <a:pt x="1683" y="1779"/>
                        <a:pt x="1683" y="1763"/>
                        <a:pt x="1683" y="1755"/>
                      </a:cubicBezTo>
                      <a:cubicBezTo>
                        <a:pt x="1683" y="1731"/>
                        <a:pt x="1691" y="1715"/>
                        <a:pt x="1699" y="1708"/>
                      </a:cubicBezTo>
                      <a:lnTo>
                        <a:pt x="1699" y="1708"/>
                      </a:lnTo>
                      <a:cubicBezTo>
                        <a:pt x="1707" y="1692"/>
                        <a:pt x="1707" y="1692"/>
                        <a:pt x="1699" y="1668"/>
                      </a:cubicBezTo>
                      <a:cubicBezTo>
                        <a:pt x="1691" y="1652"/>
                        <a:pt x="1691" y="1652"/>
                        <a:pt x="1675" y="1644"/>
                      </a:cubicBezTo>
                      <a:cubicBezTo>
                        <a:pt x="1675" y="1644"/>
                        <a:pt x="1667" y="1637"/>
                        <a:pt x="1660" y="1637"/>
                      </a:cubicBezTo>
                      <a:cubicBezTo>
                        <a:pt x="1636" y="1621"/>
                        <a:pt x="1612" y="1597"/>
                        <a:pt x="1620" y="1589"/>
                      </a:cubicBezTo>
                      <a:cubicBezTo>
                        <a:pt x="1620" y="1581"/>
                        <a:pt x="1620" y="1581"/>
                        <a:pt x="1628" y="1581"/>
                      </a:cubicBezTo>
                      <a:cubicBezTo>
                        <a:pt x="1628" y="1581"/>
                        <a:pt x="1628" y="1581"/>
                        <a:pt x="1636" y="1581"/>
                      </a:cubicBezTo>
                      <a:cubicBezTo>
                        <a:pt x="1652" y="1581"/>
                        <a:pt x="1652" y="1589"/>
                        <a:pt x="1667" y="1589"/>
                      </a:cubicBezTo>
                      <a:cubicBezTo>
                        <a:pt x="1675" y="1597"/>
                        <a:pt x="1683" y="1597"/>
                        <a:pt x="1691" y="1605"/>
                      </a:cubicBezTo>
                      <a:cubicBezTo>
                        <a:pt x="1715" y="1605"/>
                        <a:pt x="1731" y="1613"/>
                        <a:pt x="1739" y="1613"/>
                      </a:cubicBezTo>
                      <a:cubicBezTo>
                        <a:pt x="1754" y="1621"/>
                        <a:pt x="1770" y="1621"/>
                        <a:pt x="1778" y="1628"/>
                      </a:cubicBezTo>
                      <a:cubicBezTo>
                        <a:pt x="1794" y="1637"/>
                        <a:pt x="1810" y="1652"/>
                        <a:pt x="1810" y="1660"/>
                      </a:cubicBezTo>
                      <a:cubicBezTo>
                        <a:pt x="1810" y="1668"/>
                        <a:pt x="1810" y="1668"/>
                        <a:pt x="1802" y="1676"/>
                      </a:cubicBezTo>
                      <a:cubicBezTo>
                        <a:pt x="1786" y="1676"/>
                        <a:pt x="1786" y="1676"/>
                        <a:pt x="1786" y="1676"/>
                      </a:cubicBezTo>
                      <a:cubicBezTo>
                        <a:pt x="1786" y="1676"/>
                        <a:pt x="1786" y="1684"/>
                        <a:pt x="1794" y="1684"/>
                      </a:cubicBezTo>
                      <a:cubicBezTo>
                        <a:pt x="1802" y="1684"/>
                        <a:pt x="1818" y="1684"/>
                        <a:pt x="1826" y="1684"/>
                      </a:cubicBezTo>
                      <a:cubicBezTo>
                        <a:pt x="1834" y="1684"/>
                        <a:pt x="1834" y="1676"/>
                        <a:pt x="1841" y="1676"/>
                      </a:cubicBezTo>
                      <a:cubicBezTo>
                        <a:pt x="1841" y="1676"/>
                        <a:pt x="1849" y="1684"/>
                        <a:pt x="1857" y="1684"/>
                      </a:cubicBezTo>
                      <a:cubicBezTo>
                        <a:pt x="1857" y="1692"/>
                        <a:pt x="1857" y="1700"/>
                        <a:pt x="1857" y="1700"/>
                      </a:cubicBezTo>
                      <a:cubicBezTo>
                        <a:pt x="1857" y="1708"/>
                        <a:pt x="1857" y="1715"/>
                        <a:pt x="1873" y="1715"/>
                      </a:cubicBezTo>
                      <a:cubicBezTo>
                        <a:pt x="1881" y="1724"/>
                        <a:pt x="1905" y="1715"/>
                        <a:pt x="1913" y="1708"/>
                      </a:cubicBezTo>
                      <a:cubicBezTo>
                        <a:pt x="1920" y="1708"/>
                        <a:pt x="1928" y="1708"/>
                        <a:pt x="1936" y="1708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2" name="Freeform 508">
                  <a:extLst>
                    <a:ext uri="{FF2B5EF4-FFF2-40B4-BE49-F238E27FC236}">
                      <a16:creationId xmlns:a16="http://schemas.microsoft.com/office/drawing/2014/main" id="{E8A75305-C3B3-864C-9A11-F24B976299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46447" y="3591604"/>
                  <a:ext cx="1289534" cy="1463481"/>
                </a:xfrm>
                <a:custGeom>
                  <a:avLst/>
                  <a:gdLst>
                    <a:gd name="T0" fmla="*/ 2055 w 2451"/>
                    <a:gd name="T1" fmla="*/ 2712 h 2784"/>
                    <a:gd name="T2" fmla="*/ 2055 w 2451"/>
                    <a:gd name="T3" fmla="*/ 2712 h 2784"/>
                    <a:gd name="T4" fmla="*/ 2023 w 2451"/>
                    <a:gd name="T5" fmla="*/ 2601 h 2784"/>
                    <a:gd name="T6" fmla="*/ 1936 w 2451"/>
                    <a:gd name="T7" fmla="*/ 2475 h 2784"/>
                    <a:gd name="T8" fmla="*/ 1778 w 2451"/>
                    <a:gd name="T9" fmla="*/ 2316 h 2784"/>
                    <a:gd name="T10" fmla="*/ 1691 w 2451"/>
                    <a:gd name="T11" fmla="*/ 2293 h 2784"/>
                    <a:gd name="T12" fmla="*/ 1659 w 2451"/>
                    <a:gd name="T13" fmla="*/ 2277 h 2784"/>
                    <a:gd name="T14" fmla="*/ 1596 w 2451"/>
                    <a:gd name="T15" fmla="*/ 2229 h 2784"/>
                    <a:gd name="T16" fmla="*/ 1509 w 2451"/>
                    <a:gd name="T17" fmla="*/ 2174 h 2784"/>
                    <a:gd name="T18" fmla="*/ 1470 w 2451"/>
                    <a:gd name="T19" fmla="*/ 2071 h 2784"/>
                    <a:gd name="T20" fmla="*/ 1494 w 2451"/>
                    <a:gd name="T21" fmla="*/ 1969 h 2784"/>
                    <a:gd name="T22" fmla="*/ 1494 w 2451"/>
                    <a:gd name="T23" fmla="*/ 1889 h 2784"/>
                    <a:gd name="T24" fmla="*/ 1485 w 2451"/>
                    <a:gd name="T25" fmla="*/ 1787 h 2784"/>
                    <a:gd name="T26" fmla="*/ 1438 w 2451"/>
                    <a:gd name="T27" fmla="*/ 1724 h 2784"/>
                    <a:gd name="T28" fmla="*/ 1485 w 2451"/>
                    <a:gd name="T29" fmla="*/ 1613 h 2784"/>
                    <a:gd name="T30" fmla="*/ 1612 w 2451"/>
                    <a:gd name="T31" fmla="*/ 1542 h 2784"/>
                    <a:gd name="T32" fmla="*/ 1612 w 2451"/>
                    <a:gd name="T33" fmla="*/ 1360 h 2784"/>
                    <a:gd name="T34" fmla="*/ 1604 w 2451"/>
                    <a:gd name="T35" fmla="*/ 1249 h 2784"/>
                    <a:gd name="T36" fmla="*/ 1675 w 2451"/>
                    <a:gd name="T37" fmla="*/ 1186 h 2784"/>
                    <a:gd name="T38" fmla="*/ 1691 w 2451"/>
                    <a:gd name="T39" fmla="*/ 1154 h 2784"/>
                    <a:gd name="T40" fmla="*/ 2071 w 2451"/>
                    <a:gd name="T41" fmla="*/ 791 h 2784"/>
                    <a:gd name="T42" fmla="*/ 2268 w 2451"/>
                    <a:gd name="T43" fmla="*/ 672 h 2784"/>
                    <a:gd name="T44" fmla="*/ 2450 w 2451"/>
                    <a:gd name="T45" fmla="*/ 570 h 2784"/>
                    <a:gd name="T46" fmla="*/ 2339 w 2451"/>
                    <a:gd name="T47" fmla="*/ 577 h 2784"/>
                    <a:gd name="T48" fmla="*/ 2268 w 2451"/>
                    <a:gd name="T49" fmla="*/ 522 h 2784"/>
                    <a:gd name="T50" fmla="*/ 2110 w 2451"/>
                    <a:gd name="T51" fmla="*/ 546 h 2784"/>
                    <a:gd name="T52" fmla="*/ 2062 w 2451"/>
                    <a:gd name="T53" fmla="*/ 546 h 2784"/>
                    <a:gd name="T54" fmla="*/ 2007 w 2451"/>
                    <a:gd name="T55" fmla="*/ 475 h 2784"/>
                    <a:gd name="T56" fmla="*/ 1865 w 2451"/>
                    <a:gd name="T57" fmla="*/ 601 h 2784"/>
                    <a:gd name="T58" fmla="*/ 1731 w 2451"/>
                    <a:gd name="T59" fmla="*/ 538 h 2784"/>
                    <a:gd name="T60" fmla="*/ 1620 w 2451"/>
                    <a:gd name="T61" fmla="*/ 443 h 2784"/>
                    <a:gd name="T62" fmla="*/ 1565 w 2451"/>
                    <a:gd name="T63" fmla="*/ 506 h 2784"/>
                    <a:gd name="T64" fmla="*/ 1501 w 2451"/>
                    <a:gd name="T65" fmla="*/ 435 h 2784"/>
                    <a:gd name="T66" fmla="*/ 1351 w 2451"/>
                    <a:gd name="T67" fmla="*/ 332 h 2784"/>
                    <a:gd name="T68" fmla="*/ 1154 w 2451"/>
                    <a:gd name="T69" fmla="*/ 395 h 2784"/>
                    <a:gd name="T70" fmla="*/ 1066 w 2451"/>
                    <a:gd name="T71" fmla="*/ 388 h 2784"/>
                    <a:gd name="T72" fmla="*/ 956 w 2451"/>
                    <a:gd name="T73" fmla="*/ 356 h 2784"/>
                    <a:gd name="T74" fmla="*/ 901 w 2451"/>
                    <a:gd name="T75" fmla="*/ 332 h 2784"/>
                    <a:gd name="T76" fmla="*/ 806 w 2451"/>
                    <a:gd name="T77" fmla="*/ 301 h 2784"/>
                    <a:gd name="T78" fmla="*/ 790 w 2451"/>
                    <a:gd name="T79" fmla="*/ 166 h 2784"/>
                    <a:gd name="T80" fmla="*/ 766 w 2451"/>
                    <a:gd name="T81" fmla="*/ 48 h 2784"/>
                    <a:gd name="T82" fmla="*/ 679 w 2451"/>
                    <a:gd name="T83" fmla="*/ 0 h 2784"/>
                    <a:gd name="T84" fmla="*/ 648 w 2451"/>
                    <a:gd name="T85" fmla="*/ 119 h 2784"/>
                    <a:gd name="T86" fmla="*/ 632 w 2451"/>
                    <a:gd name="T87" fmla="*/ 151 h 2784"/>
                    <a:gd name="T88" fmla="*/ 0 w 2451"/>
                    <a:gd name="T89" fmla="*/ 182 h 2784"/>
                    <a:gd name="T90" fmla="*/ 32 w 2451"/>
                    <a:gd name="T91" fmla="*/ 293 h 2784"/>
                    <a:gd name="T92" fmla="*/ 48 w 2451"/>
                    <a:gd name="T93" fmla="*/ 372 h 2784"/>
                    <a:gd name="T94" fmla="*/ 32 w 2451"/>
                    <a:gd name="T95" fmla="*/ 585 h 2784"/>
                    <a:gd name="T96" fmla="*/ 119 w 2451"/>
                    <a:gd name="T97" fmla="*/ 830 h 2784"/>
                    <a:gd name="T98" fmla="*/ 119 w 2451"/>
                    <a:gd name="T99" fmla="*/ 1012 h 2784"/>
                    <a:gd name="T100" fmla="*/ 127 w 2451"/>
                    <a:gd name="T101" fmla="*/ 1162 h 2784"/>
                    <a:gd name="T102" fmla="*/ 158 w 2451"/>
                    <a:gd name="T103" fmla="*/ 1384 h 2784"/>
                    <a:gd name="T104" fmla="*/ 205 w 2451"/>
                    <a:gd name="T105" fmla="*/ 1439 h 2784"/>
                    <a:gd name="T106" fmla="*/ 213 w 2451"/>
                    <a:gd name="T107" fmla="*/ 1605 h 2784"/>
                    <a:gd name="T108" fmla="*/ 158 w 2451"/>
                    <a:gd name="T109" fmla="*/ 1739 h 2784"/>
                    <a:gd name="T110" fmla="*/ 135 w 2451"/>
                    <a:gd name="T111" fmla="*/ 1803 h 2784"/>
                    <a:gd name="T112" fmla="*/ 158 w 2451"/>
                    <a:gd name="T113" fmla="*/ 1858 h 2784"/>
                    <a:gd name="T114" fmla="*/ 205 w 2451"/>
                    <a:gd name="T115" fmla="*/ 1898 h 2784"/>
                    <a:gd name="T116" fmla="*/ 260 w 2451"/>
                    <a:gd name="T117" fmla="*/ 1913 h 2784"/>
                    <a:gd name="T118" fmla="*/ 260 w 2451"/>
                    <a:gd name="T119" fmla="*/ 2767 h 2784"/>
                    <a:gd name="T120" fmla="*/ 2055 w 2451"/>
                    <a:gd name="T121" fmla="*/ 2712 h 27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451" h="2784">
                      <a:moveTo>
                        <a:pt x="2055" y="2712"/>
                      </a:moveTo>
                      <a:lnTo>
                        <a:pt x="2055" y="2712"/>
                      </a:lnTo>
                      <a:cubicBezTo>
                        <a:pt x="2039" y="2680"/>
                        <a:pt x="2023" y="2641"/>
                        <a:pt x="2023" y="2601"/>
                      </a:cubicBezTo>
                      <a:cubicBezTo>
                        <a:pt x="2031" y="2538"/>
                        <a:pt x="1968" y="2475"/>
                        <a:pt x="1936" y="2475"/>
                      </a:cubicBezTo>
                      <a:cubicBezTo>
                        <a:pt x="1905" y="2467"/>
                        <a:pt x="1841" y="2380"/>
                        <a:pt x="1778" y="2316"/>
                      </a:cubicBezTo>
                      <a:cubicBezTo>
                        <a:pt x="1746" y="2285"/>
                        <a:pt x="1715" y="2293"/>
                        <a:pt x="1691" y="2293"/>
                      </a:cubicBezTo>
                      <a:cubicBezTo>
                        <a:pt x="1675" y="2293"/>
                        <a:pt x="1667" y="2293"/>
                        <a:pt x="1659" y="2277"/>
                      </a:cubicBezTo>
                      <a:cubicBezTo>
                        <a:pt x="1651" y="2238"/>
                        <a:pt x="1628" y="2253"/>
                        <a:pt x="1596" y="2229"/>
                      </a:cubicBezTo>
                      <a:cubicBezTo>
                        <a:pt x="1572" y="2214"/>
                        <a:pt x="1525" y="2214"/>
                        <a:pt x="1509" y="2174"/>
                      </a:cubicBezTo>
                      <a:cubicBezTo>
                        <a:pt x="1501" y="2143"/>
                        <a:pt x="1454" y="2143"/>
                        <a:pt x="1470" y="2071"/>
                      </a:cubicBezTo>
                      <a:cubicBezTo>
                        <a:pt x="1494" y="2008"/>
                        <a:pt x="1494" y="2016"/>
                        <a:pt x="1494" y="1969"/>
                      </a:cubicBezTo>
                      <a:cubicBezTo>
                        <a:pt x="1485" y="1929"/>
                        <a:pt x="1470" y="1921"/>
                        <a:pt x="1494" y="1889"/>
                      </a:cubicBezTo>
                      <a:cubicBezTo>
                        <a:pt x="1525" y="1866"/>
                        <a:pt x="1517" y="1811"/>
                        <a:pt x="1485" y="1787"/>
                      </a:cubicBezTo>
                      <a:cubicBezTo>
                        <a:pt x="1454" y="1771"/>
                        <a:pt x="1406" y="1771"/>
                        <a:pt x="1438" y="1724"/>
                      </a:cubicBezTo>
                      <a:cubicBezTo>
                        <a:pt x="1470" y="1668"/>
                        <a:pt x="1446" y="1652"/>
                        <a:pt x="1485" y="1613"/>
                      </a:cubicBezTo>
                      <a:cubicBezTo>
                        <a:pt x="1533" y="1581"/>
                        <a:pt x="1580" y="1597"/>
                        <a:pt x="1612" y="1542"/>
                      </a:cubicBezTo>
                      <a:cubicBezTo>
                        <a:pt x="1651" y="1487"/>
                        <a:pt x="1620" y="1399"/>
                        <a:pt x="1612" y="1360"/>
                      </a:cubicBezTo>
                      <a:cubicBezTo>
                        <a:pt x="1612" y="1321"/>
                        <a:pt x="1588" y="1257"/>
                        <a:pt x="1604" y="1249"/>
                      </a:cubicBezTo>
                      <a:cubicBezTo>
                        <a:pt x="1620" y="1249"/>
                        <a:pt x="1675" y="1186"/>
                        <a:pt x="1675" y="1186"/>
                      </a:cubicBezTo>
                      <a:cubicBezTo>
                        <a:pt x="1667" y="1178"/>
                        <a:pt x="1667" y="1178"/>
                        <a:pt x="1691" y="1154"/>
                      </a:cubicBezTo>
                      <a:cubicBezTo>
                        <a:pt x="1731" y="1131"/>
                        <a:pt x="2039" y="862"/>
                        <a:pt x="2071" y="791"/>
                      </a:cubicBezTo>
                      <a:cubicBezTo>
                        <a:pt x="2102" y="728"/>
                        <a:pt x="2205" y="696"/>
                        <a:pt x="2268" y="672"/>
                      </a:cubicBezTo>
                      <a:cubicBezTo>
                        <a:pt x="2300" y="664"/>
                        <a:pt x="2379" y="633"/>
                        <a:pt x="2450" y="570"/>
                      </a:cubicBezTo>
                      <a:cubicBezTo>
                        <a:pt x="2411" y="570"/>
                        <a:pt x="2363" y="577"/>
                        <a:pt x="2339" y="577"/>
                      </a:cubicBezTo>
                      <a:cubicBezTo>
                        <a:pt x="2316" y="577"/>
                        <a:pt x="2300" y="538"/>
                        <a:pt x="2268" y="522"/>
                      </a:cubicBezTo>
                      <a:cubicBezTo>
                        <a:pt x="2244" y="506"/>
                        <a:pt x="2142" y="538"/>
                        <a:pt x="2110" y="546"/>
                      </a:cubicBezTo>
                      <a:cubicBezTo>
                        <a:pt x="2078" y="554"/>
                        <a:pt x="2062" y="570"/>
                        <a:pt x="2062" y="546"/>
                      </a:cubicBezTo>
                      <a:cubicBezTo>
                        <a:pt x="2055" y="522"/>
                        <a:pt x="2039" y="490"/>
                        <a:pt x="2007" y="475"/>
                      </a:cubicBezTo>
                      <a:cubicBezTo>
                        <a:pt x="1976" y="451"/>
                        <a:pt x="1896" y="570"/>
                        <a:pt x="1865" y="601"/>
                      </a:cubicBezTo>
                      <a:cubicBezTo>
                        <a:pt x="1825" y="633"/>
                        <a:pt x="1754" y="577"/>
                        <a:pt x="1731" y="538"/>
                      </a:cubicBezTo>
                      <a:cubicBezTo>
                        <a:pt x="1707" y="498"/>
                        <a:pt x="1644" y="459"/>
                        <a:pt x="1620" y="443"/>
                      </a:cubicBezTo>
                      <a:cubicBezTo>
                        <a:pt x="1596" y="427"/>
                        <a:pt x="1596" y="498"/>
                        <a:pt x="1565" y="506"/>
                      </a:cubicBezTo>
                      <a:cubicBezTo>
                        <a:pt x="1533" y="514"/>
                        <a:pt x="1525" y="482"/>
                        <a:pt x="1501" y="435"/>
                      </a:cubicBezTo>
                      <a:cubicBezTo>
                        <a:pt x="1478" y="388"/>
                        <a:pt x="1422" y="364"/>
                        <a:pt x="1351" y="332"/>
                      </a:cubicBezTo>
                      <a:cubicBezTo>
                        <a:pt x="1280" y="301"/>
                        <a:pt x="1193" y="364"/>
                        <a:pt x="1154" y="395"/>
                      </a:cubicBezTo>
                      <a:cubicBezTo>
                        <a:pt x="1114" y="419"/>
                        <a:pt x="1090" y="427"/>
                        <a:pt x="1066" y="388"/>
                      </a:cubicBezTo>
                      <a:cubicBezTo>
                        <a:pt x="1043" y="356"/>
                        <a:pt x="972" y="364"/>
                        <a:pt x="956" y="356"/>
                      </a:cubicBezTo>
                      <a:cubicBezTo>
                        <a:pt x="932" y="348"/>
                        <a:pt x="956" y="309"/>
                        <a:pt x="901" y="332"/>
                      </a:cubicBezTo>
                      <a:cubicBezTo>
                        <a:pt x="845" y="356"/>
                        <a:pt x="837" y="324"/>
                        <a:pt x="806" y="301"/>
                      </a:cubicBezTo>
                      <a:cubicBezTo>
                        <a:pt x="766" y="285"/>
                        <a:pt x="806" y="182"/>
                        <a:pt x="790" y="166"/>
                      </a:cubicBezTo>
                      <a:cubicBezTo>
                        <a:pt x="782" y="151"/>
                        <a:pt x="766" y="87"/>
                        <a:pt x="766" y="48"/>
                      </a:cubicBezTo>
                      <a:cubicBezTo>
                        <a:pt x="758" y="16"/>
                        <a:pt x="719" y="0"/>
                        <a:pt x="679" y="0"/>
                      </a:cubicBezTo>
                      <a:cubicBezTo>
                        <a:pt x="640" y="0"/>
                        <a:pt x="648" y="79"/>
                        <a:pt x="648" y="119"/>
                      </a:cubicBezTo>
                      <a:cubicBezTo>
                        <a:pt x="655" y="151"/>
                        <a:pt x="632" y="151"/>
                        <a:pt x="632" y="151"/>
                      </a:cubicBezTo>
                      <a:cubicBezTo>
                        <a:pt x="426" y="166"/>
                        <a:pt x="213" y="174"/>
                        <a:pt x="0" y="182"/>
                      </a:cubicBezTo>
                      <a:cubicBezTo>
                        <a:pt x="0" y="222"/>
                        <a:pt x="16" y="277"/>
                        <a:pt x="32" y="293"/>
                      </a:cubicBezTo>
                      <a:cubicBezTo>
                        <a:pt x="56" y="324"/>
                        <a:pt x="56" y="348"/>
                        <a:pt x="48" y="372"/>
                      </a:cubicBezTo>
                      <a:cubicBezTo>
                        <a:pt x="40" y="388"/>
                        <a:pt x="0" y="490"/>
                        <a:pt x="32" y="585"/>
                      </a:cubicBezTo>
                      <a:cubicBezTo>
                        <a:pt x="63" y="680"/>
                        <a:pt x="103" y="799"/>
                        <a:pt x="119" y="830"/>
                      </a:cubicBezTo>
                      <a:cubicBezTo>
                        <a:pt x="143" y="862"/>
                        <a:pt x="127" y="941"/>
                        <a:pt x="119" y="1012"/>
                      </a:cubicBezTo>
                      <a:cubicBezTo>
                        <a:pt x="111" y="1083"/>
                        <a:pt x="127" y="1115"/>
                        <a:pt x="127" y="1162"/>
                      </a:cubicBezTo>
                      <a:cubicBezTo>
                        <a:pt x="127" y="1218"/>
                        <a:pt x="158" y="1344"/>
                        <a:pt x="158" y="1384"/>
                      </a:cubicBezTo>
                      <a:cubicBezTo>
                        <a:pt x="158" y="1415"/>
                        <a:pt x="190" y="1415"/>
                        <a:pt x="205" y="1439"/>
                      </a:cubicBezTo>
                      <a:cubicBezTo>
                        <a:pt x="221" y="1455"/>
                        <a:pt x="205" y="1558"/>
                        <a:pt x="213" y="1605"/>
                      </a:cubicBezTo>
                      <a:cubicBezTo>
                        <a:pt x="221" y="1645"/>
                        <a:pt x="182" y="1724"/>
                        <a:pt x="158" y="1739"/>
                      </a:cubicBezTo>
                      <a:cubicBezTo>
                        <a:pt x="127" y="1755"/>
                        <a:pt x="119" y="1787"/>
                        <a:pt x="135" y="1803"/>
                      </a:cubicBezTo>
                      <a:cubicBezTo>
                        <a:pt x="150" y="1818"/>
                        <a:pt x="158" y="1818"/>
                        <a:pt x="158" y="1858"/>
                      </a:cubicBezTo>
                      <a:cubicBezTo>
                        <a:pt x="158" y="1889"/>
                        <a:pt x="182" y="1898"/>
                        <a:pt x="205" y="1898"/>
                      </a:cubicBezTo>
                      <a:cubicBezTo>
                        <a:pt x="229" y="1898"/>
                        <a:pt x="260" y="1913"/>
                        <a:pt x="260" y="1913"/>
                      </a:cubicBezTo>
                      <a:cubicBezTo>
                        <a:pt x="260" y="2767"/>
                        <a:pt x="260" y="2767"/>
                        <a:pt x="260" y="2767"/>
                      </a:cubicBezTo>
                      <a:cubicBezTo>
                        <a:pt x="260" y="2767"/>
                        <a:pt x="1438" y="2783"/>
                        <a:pt x="2055" y="271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3" name="Freeform 509">
                  <a:extLst>
                    <a:ext uri="{FF2B5EF4-FFF2-40B4-BE49-F238E27FC236}">
                      <a16:creationId xmlns:a16="http://schemas.microsoft.com/office/drawing/2014/main" id="{04CC94CF-03D8-EB4A-8F87-5C39043C32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44127" y="3591604"/>
                  <a:ext cx="1296493" cy="1461163"/>
                </a:xfrm>
                <a:custGeom>
                  <a:avLst/>
                  <a:gdLst>
                    <a:gd name="T0" fmla="*/ 260 w 2467"/>
                    <a:gd name="T1" fmla="*/ 2767 h 2776"/>
                    <a:gd name="T2" fmla="*/ 151 w 2467"/>
                    <a:gd name="T3" fmla="*/ 1818 h 2776"/>
                    <a:gd name="T4" fmla="*/ 221 w 2467"/>
                    <a:gd name="T5" fmla="*/ 1605 h 2776"/>
                    <a:gd name="T6" fmla="*/ 166 w 2467"/>
                    <a:gd name="T7" fmla="*/ 1384 h 2776"/>
                    <a:gd name="T8" fmla="*/ 127 w 2467"/>
                    <a:gd name="T9" fmla="*/ 1012 h 2776"/>
                    <a:gd name="T10" fmla="*/ 40 w 2467"/>
                    <a:gd name="T11" fmla="*/ 301 h 2776"/>
                    <a:gd name="T12" fmla="*/ 640 w 2467"/>
                    <a:gd name="T13" fmla="*/ 151 h 2776"/>
                    <a:gd name="T14" fmla="*/ 687 w 2467"/>
                    <a:gd name="T15" fmla="*/ 0 h 2776"/>
                    <a:gd name="T16" fmla="*/ 814 w 2467"/>
                    <a:gd name="T17" fmla="*/ 301 h 2776"/>
                    <a:gd name="T18" fmla="*/ 932 w 2467"/>
                    <a:gd name="T19" fmla="*/ 324 h 2776"/>
                    <a:gd name="T20" fmla="*/ 1082 w 2467"/>
                    <a:gd name="T21" fmla="*/ 388 h 2776"/>
                    <a:gd name="T22" fmla="*/ 1320 w 2467"/>
                    <a:gd name="T23" fmla="*/ 317 h 2776"/>
                    <a:gd name="T24" fmla="*/ 1565 w 2467"/>
                    <a:gd name="T25" fmla="*/ 506 h 2776"/>
                    <a:gd name="T26" fmla="*/ 1628 w 2467"/>
                    <a:gd name="T27" fmla="*/ 435 h 2776"/>
                    <a:gd name="T28" fmla="*/ 1873 w 2467"/>
                    <a:gd name="T29" fmla="*/ 601 h 2776"/>
                    <a:gd name="T30" fmla="*/ 2070 w 2467"/>
                    <a:gd name="T31" fmla="*/ 546 h 2776"/>
                    <a:gd name="T32" fmla="*/ 2142 w 2467"/>
                    <a:gd name="T33" fmla="*/ 538 h 2776"/>
                    <a:gd name="T34" fmla="*/ 2347 w 2467"/>
                    <a:gd name="T35" fmla="*/ 570 h 2776"/>
                    <a:gd name="T36" fmla="*/ 2276 w 2467"/>
                    <a:gd name="T37" fmla="*/ 680 h 2776"/>
                    <a:gd name="T38" fmla="*/ 1707 w 2467"/>
                    <a:gd name="T39" fmla="*/ 1162 h 2776"/>
                    <a:gd name="T40" fmla="*/ 1683 w 2467"/>
                    <a:gd name="T41" fmla="*/ 1186 h 2776"/>
                    <a:gd name="T42" fmla="*/ 1628 w 2467"/>
                    <a:gd name="T43" fmla="*/ 1392 h 2776"/>
                    <a:gd name="T44" fmla="*/ 1470 w 2467"/>
                    <a:gd name="T45" fmla="*/ 1668 h 2776"/>
                    <a:gd name="T46" fmla="*/ 1493 w 2467"/>
                    <a:gd name="T47" fmla="*/ 1787 h 2776"/>
                    <a:gd name="T48" fmla="*/ 1502 w 2467"/>
                    <a:gd name="T49" fmla="*/ 1969 h 2776"/>
                    <a:gd name="T50" fmla="*/ 1525 w 2467"/>
                    <a:gd name="T51" fmla="*/ 2174 h 2776"/>
                    <a:gd name="T52" fmla="*/ 1675 w 2467"/>
                    <a:gd name="T53" fmla="*/ 2277 h 2776"/>
                    <a:gd name="T54" fmla="*/ 1786 w 2467"/>
                    <a:gd name="T55" fmla="*/ 2316 h 2776"/>
                    <a:gd name="T56" fmla="*/ 2063 w 2467"/>
                    <a:gd name="T57" fmla="*/ 2712 h 2776"/>
                    <a:gd name="T58" fmla="*/ 268 w 2467"/>
                    <a:gd name="T59" fmla="*/ 2759 h 2776"/>
                    <a:gd name="T60" fmla="*/ 2031 w 2467"/>
                    <a:gd name="T61" fmla="*/ 2601 h 2776"/>
                    <a:gd name="T62" fmla="*/ 1715 w 2467"/>
                    <a:gd name="T63" fmla="*/ 2293 h 2776"/>
                    <a:gd name="T64" fmla="*/ 1628 w 2467"/>
                    <a:gd name="T65" fmla="*/ 2245 h 2776"/>
                    <a:gd name="T66" fmla="*/ 1493 w 2467"/>
                    <a:gd name="T67" fmla="*/ 2151 h 2776"/>
                    <a:gd name="T68" fmla="*/ 1486 w 2467"/>
                    <a:gd name="T69" fmla="*/ 1937 h 2776"/>
                    <a:gd name="T70" fmla="*/ 1462 w 2467"/>
                    <a:gd name="T71" fmla="*/ 1779 h 2776"/>
                    <a:gd name="T72" fmla="*/ 1493 w 2467"/>
                    <a:gd name="T73" fmla="*/ 1613 h 2776"/>
                    <a:gd name="T74" fmla="*/ 1620 w 2467"/>
                    <a:gd name="T75" fmla="*/ 1360 h 2776"/>
                    <a:gd name="T76" fmla="*/ 1699 w 2467"/>
                    <a:gd name="T77" fmla="*/ 1154 h 2776"/>
                    <a:gd name="T78" fmla="*/ 2276 w 2467"/>
                    <a:gd name="T79" fmla="*/ 672 h 2776"/>
                    <a:gd name="T80" fmla="*/ 2276 w 2467"/>
                    <a:gd name="T81" fmla="*/ 530 h 2776"/>
                    <a:gd name="T82" fmla="*/ 2094 w 2467"/>
                    <a:gd name="T83" fmla="*/ 554 h 2776"/>
                    <a:gd name="T84" fmla="*/ 2007 w 2467"/>
                    <a:gd name="T85" fmla="*/ 475 h 2776"/>
                    <a:gd name="T86" fmla="*/ 1739 w 2467"/>
                    <a:gd name="T87" fmla="*/ 538 h 2776"/>
                    <a:gd name="T88" fmla="*/ 1604 w 2467"/>
                    <a:gd name="T89" fmla="*/ 467 h 2776"/>
                    <a:gd name="T90" fmla="*/ 1502 w 2467"/>
                    <a:gd name="T91" fmla="*/ 435 h 2776"/>
                    <a:gd name="T92" fmla="*/ 1162 w 2467"/>
                    <a:gd name="T93" fmla="*/ 395 h 2776"/>
                    <a:gd name="T94" fmla="*/ 964 w 2467"/>
                    <a:gd name="T95" fmla="*/ 356 h 2776"/>
                    <a:gd name="T96" fmla="*/ 877 w 2467"/>
                    <a:gd name="T97" fmla="*/ 348 h 2776"/>
                    <a:gd name="T98" fmla="*/ 798 w 2467"/>
                    <a:gd name="T99" fmla="*/ 166 h 2776"/>
                    <a:gd name="T100" fmla="*/ 663 w 2467"/>
                    <a:gd name="T101" fmla="*/ 119 h 2776"/>
                    <a:gd name="T102" fmla="*/ 40 w 2467"/>
                    <a:gd name="T103" fmla="*/ 293 h 2776"/>
                    <a:gd name="T104" fmla="*/ 135 w 2467"/>
                    <a:gd name="T105" fmla="*/ 1012 h 2776"/>
                    <a:gd name="T106" fmla="*/ 174 w 2467"/>
                    <a:gd name="T107" fmla="*/ 1384 h 2776"/>
                    <a:gd name="T108" fmla="*/ 229 w 2467"/>
                    <a:gd name="T109" fmla="*/ 1597 h 2776"/>
                    <a:gd name="T110" fmla="*/ 158 w 2467"/>
                    <a:gd name="T111" fmla="*/ 1811 h 2776"/>
                    <a:gd name="T112" fmla="*/ 268 w 2467"/>
                    <a:gd name="T113" fmla="*/ 1913 h 27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7" h="2776">
                      <a:moveTo>
                        <a:pt x="553" y="2775"/>
                      </a:moveTo>
                      <a:lnTo>
                        <a:pt x="553" y="2775"/>
                      </a:lnTo>
                      <a:cubicBezTo>
                        <a:pt x="379" y="2775"/>
                        <a:pt x="268" y="2767"/>
                        <a:pt x="268" y="2767"/>
                      </a:cubicBezTo>
                      <a:cubicBezTo>
                        <a:pt x="260" y="2767"/>
                        <a:pt x="260" y="2767"/>
                        <a:pt x="260" y="2767"/>
                      </a:cubicBezTo>
                      <a:cubicBezTo>
                        <a:pt x="260" y="1913"/>
                        <a:pt x="260" y="1913"/>
                        <a:pt x="260" y="1913"/>
                      </a:cubicBezTo>
                      <a:cubicBezTo>
                        <a:pt x="252" y="1913"/>
                        <a:pt x="229" y="1898"/>
                        <a:pt x="213" y="1898"/>
                      </a:cubicBezTo>
                      <a:cubicBezTo>
                        <a:pt x="190" y="1898"/>
                        <a:pt x="166" y="1889"/>
                        <a:pt x="166" y="1858"/>
                      </a:cubicBezTo>
                      <a:cubicBezTo>
                        <a:pt x="166" y="1834"/>
                        <a:pt x="158" y="1826"/>
                        <a:pt x="151" y="1818"/>
                      </a:cubicBezTo>
                      <a:lnTo>
                        <a:pt x="143" y="1811"/>
                      </a:lnTo>
                      <a:cubicBezTo>
                        <a:pt x="135" y="1795"/>
                        <a:pt x="135" y="1787"/>
                        <a:pt x="135" y="1771"/>
                      </a:cubicBezTo>
                      <a:cubicBezTo>
                        <a:pt x="135" y="1763"/>
                        <a:pt x="151" y="1747"/>
                        <a:pt x="158" y="1739"/>
                      </a:cubicBezTo>
                      <a:cubicBezTo>
                        <a:pt x="190" y="1724"/>
                        <a:pt x="229" y="1645"/>
                        <a:pt x="221" y="1605"/>
                      </a:cubicBezTo>
                      <a:cubicBezTo>
                        <a:pt x="213" y="1581"/>
                        <a:pt x="213" y="1550"/>
                        <a:pt x="221" y="1526"/>
                      </a:cubicBezTo>
                      <a:cubicBezTo>
                        <a:pt x="221" y="1487"/>
                        <a:pt x="221" y="1447"/>
                        <a:pt x="213" y="1439"/>
                      </a:cubicBezTo>
                      <a:cubicBezTo>
                        <a:pt x="205" y="1431"/>
                        <a:pt x="198" y="1431"/>
                        <a:pt x="198" y="1423"/>
                      </a:cubicBezTo>
                      <a:cubicBezTo>
                        <a:pt x="182" y="1415"/>
                        <a:pt x="166" y="1407"/>
                        <a:pt x="166" y="1384"/>
                      </a:cubicBezTo>
                      <a:cubicBezTo>
                        <a:pt x="166" y="1360"/>
                        <a:pt x="158" y="1328"/>
                        <a:pt x="151" y="1289"/>
                      </a:cubicBezTo>
                      <a:cubicBezTo>
                        <a:pt x="143" y="1241"/>
                        <a:pt x="135" y="1194"/>
                        <a:pt x="135" y="1162"/>
                      </a:cubicBezTo>
                      <a:cubicBezTo>
                        <a:pt x="135" y="1147"/>
                        <a:pt x="135" y="1131"/>
                        <a:pt x="127" y="1115"/>
                      </a:cubicBezTo>
                      <a:cubicBezTo>
                        <a:pt x="127" y="1083"/>
                        <a:pt x="119" y="1060"/>
                        <a:pt x="127" y="1012"/>
                      </a:cubicBezTo>
                      <a:cubicBezTo>
                        <a:pt x="135" y="949"/>
                        <a:pt x="143" y="862"/>
                        <a:pt x="127" y="830"/>
                      </a:cubicBezTo>
                      <a:cubicBezTo>
                        <a:pt x="111" y="799"/>
                        <a:pt x="64" y="672"/>
                        <a:pt x="40" y="585"/>
                      </a:cubicBezTo>
                      <a:cubicBezTo>
                        <a:pt x="0" y="482"/>
                        <a:pt x="48" y="372"/>
                        <a:pt x="48" y="364"/>
                      </a:cubicBezTo>
                      <a:cubicBezTo>
                        <a:pt x="64" y="340"/>
                        <a:pt x="56" y="317"/>
                        <a:pt x="40" y="301"/>
                      </a:cubicBezTo>
                      <a:cubicBezTo>
                        <a:pt x="24" y="277"/>
                        <a:pt x="8" y="222"/>
                        <a:pt x="8" y="182"/>
                      </a:cubicBezTo>
                      <a:cubicBezTo>
                        <a:pt x="8" y="174"/>
                        <a:pt x="8" y="174"/>
                        <a:pt x="8" y="174"/>
                      </a:cubicBezTo>
                      <a:lnTo>
                        <a:pt x="8" y="174"/>
                      </a:lnTo>
                      <a:cubicBezTo>
                        <a:pt x="229" y="174"/>
                        <a:pt x="442" y="158"/>
                        <a:pt x="640" y="151"/>
                      </a:cubicBezTo>
                      <a:cubicBezTo>
                        <a:pt x="640" y="151"/>
                        <a:pt x="648" y="151"/>
                        <a:pt x="648" y="142"/>
                      </a:cubicBezTo>
                      <a:cubicBezTo>
                        <a:pt x="656" y="142"/>
                        <a:pt x="656" y="135"/>
                        <a:pt x="656" y="119"/>
                      </a:cubicBezTo>
                      <a:cubicBezTo>
                        <a:pt x="648" y="64"/>
                        <a:pt x="648" y="24"/>
                        <a:pt x="663" y="8"/>
                      </a:cubicBezTo>
                      <a:cubicBezTo>
                        <a:pt x="671" y="0"/>
                        <a:pt x="679" y="0"/>
                        <a:pt x="687" y="0"/>
                      </a:cubicBezTo>
                      <a:cubicBezTo>
                        <a:pt x="743" y="0"/>
                        <a:pt x="774" y="16"/>
                        <a:pt x="774" y="48"/>
                      </a:cubicBezTo>
                      <a:cubicBezTo>
                        <a:pt x="782" y="95"/>
                        <a:pt x="790" y="151"/>
                        <a:pt x="806" y="166"/>
                      </a:cubicBezTo>
                      <a:cubicBezTo>
                        <a:pt x="814" y="174"/>
                        <a:pt x="806" y="190"/>
                        <a:pt x="806" y="214"/>
                      </a:cubicBezTo>
                      <a:cubicBezTo>
                        <a:pt x="798" y="245"/>
                        <a:pt x="790" y="285"/>
                        <a:pt x="814" y="301"/>
                      </a:cubicBezTo>
                      <a:cubicBezTo>
                        <a:pt x="822" y="301"/>
                        <a:pt x="829" y="309"/>
                        <a:pt x="837" y="317"/>
                      </a:cubicBezTo>
                      <a:cubicBezTo>
                        <a:pt x="853" y="324"/>
                        <a:pt x="861" y="340"/>
                        <a:pt x="877" y="340"/>
                      </a:cubicBezTo>
                      <a:cubicBezTo>
                        <a:pt x="885" y="340"/>
                        <a:pt x="893" y="332"/>
                        <a:pt x="909" y="332"/>
                      </a:cubicBezTo>
                      <a:cubicBezTo>
                        <a:pt x="916" y="324"/>
                        <a:pt x="924" y="324"/>
                        <a:pt x="932" y="324"/>
                      </a:cubicBezTo>
                      <a:cubicBezTo>
                        <a:pt x="948" y="324"/>
                        <a:pt x="956" y="332"/>
                        <a:pt x="956" y="340"/>
                      </a:cubicBezTo>
                      <a:cubicBezTo>
                        <a:pt x="956" y="348"/>
                        <a:pt x="956" y="348"/>
                        <a:pt x="964" y="348"/>
                      </a:cubicBezTo>
                      <a:cubicBezTo>
                        <a:pt x="972" y="356"/>
                        <a:pt x="980" y="356"/>
                        <a:pt x="987" y="356"/>
                      </a:cubicBezTo>
                      <a:cubicBezTo>
                        <a:pt x="1019" y="356"/>
                        <a:pt x="1067" y="356"/>
                        <a:pt x="1082" y="388"/>
                      </a:cubicBezTo>
                      <a:cubicBezTo>
                        <a:pt x="1090" y="404"/>
                        <a:pt x="1098" y="411"/>
                        <a:pt x="1114" y="411"/>
                      </a:cubicBezTo>
                      <a:cubicBezTo>
                        <a:pt x="1122" y="411"/>
                        <a:pt x="1138" y="404"/>
                        <a:pt x="1162" y="388"/>
                      </a:cubicBezTo>
                      <a:cubicBezTo>
                        <a:pt x="1169" y="388"/>
                        <a:pt x="1177" y="380"/>
                        <a:pt x="1185" y="372"/>
                      </a:cubicBezTo>
                      <a:cubicBezTo>
                        <a:pt x="1217" y="348"/>
                        <a:pt x="1264" y="317"/>
                        <a:pt x="1320" y="317"/>
                      </a:cubicBezTo>
                      <a:cubicBezTo>
                        <a:pt x="1335" y="317"/>
                        <a:pt x="1351" y="317"/>
                        <a:pt x="1359" y="324"/>
                      </a:cubicBezTo>
                      <a:cubicBezTo>
                        <a:pt x="1430" y="356"/>
                        <a:pt x="1486" y="388"/>
                        <a:pt x="1509" y="435"/>
                      </a:cubicBezTo>
                      <a:cubicBezTo>
                        <a:pt x="1517" y="443"/>
                        <a:pt x="1517" y="443"/>
                        <a:pt x="1517" y="451"/>
                      </a:cubicBezTo>
                      <a:cubicBezTo>
                        <a:pt x="1533" y="482"/>
                        <a:pt x="1541" y="506"/>
                        <a:pt x="1565" y="506"/>
                      </a:cubicBezTo>
                      <a:cubicBezTo>
                        <a:pt x="1565" y="506"/>
                        <a:pt x="1573" y="506"/>
                        <a:pt x="1573" y="498"/>
                      </a:cubicBezTo>
                      <a:cubicBezTo>
                        <a:pt x="1588" y="498"/>
                        <a:pt x="1596" y="482"/>
                        <a:pt x="1604" y="459"/>
                      </a:cubicBezTo>
                      <a:cubicBezTo>
                        <a:pt x="1604" y="451"/>
                        <a:pt x="1612" y="435"/>
                        <a:pt x="1620" y="435"/>
                      </a:cubicBezTo>
                      <a:cubicBezTo>
                        <a:pt x="1628" y="435"/>
                        <a:pt x="1628" y="435"/>
                        <a:pt x="1628" y="435"/>
                      </a:cubicBezTo>
                      <a:cubicBezTo>
                        <a:pt x="1636" y="443"/>
                        <a:pt x="1636" y="443"/>
                        <a:pt x="1644" y="443"/>
                      </a:cubicBezTo>
                      <a:cubicBezTo>
                        <a:pt x="1667" y="467"/>
                        <a:pt x="1723" y="498"/>
                        <a:pt x="1746" y="538"/>
                      </a:cubicBezTo>
                      <a:cubicBezTo>
                        <a:pt x="1762" y="562"/>
                        <a:pt x="1810" y="609"/>
                        <a:pt x="1849" y="609"/>
                      </a:cubicBezTo>
                      <a:cubicBezTo>
                        <a:pt x="1857" y="609"/>
                        <a:pt x="1865" y="601"/>
                        <a:pt x="1873" y="601"/>
                      </a:cubicBezTo>
                      <a:cubicBezTo>
                        <a:pt x="1881" y="593"/>
                        <a:pt x="1897" y="570"/>
                        <a:pt x="1913" y="546"/>
                      </a:cubicBezTo>
                      <a:cubicBezTo>
                        <a:pt x="1952" y="506"/>
                        <a:pt x="1984" y="467"/>
                        <a:pt x="2007" y="467"/>
                      </a:cubicBezTo>
                      <a:cubicBezTo>
                        <a:pt x="2015" y="467"/>
                        <a:pt x="2015" y="467"/>
                        <a:pt x="2015" y="467"/>
                      </a:cubicBezTo>
                      <a:cubicBezTo>
                        <a:pt x="2055" y="490"/>
                        <a:pt x="2070" y="522"/>
                        <a:pt x="2070" y="546"/>
                      </a:cubicBezTo>
                      <a:cubicBezTo>
                        <a:pt x="2070" y="554"/>
                        <a:pt x="2079" y="554"/>
                        <a:pt x="2079" y="554"/>
                      </a:cubicBezTo>
                      <a:cubicBezTo>
                        <a:pt x="2079" y="554"/>
                        <a:pt x="2086" y="554"/>
                        <a:pt x="2094" y="546"/>
                      </a:cubicBezTo>
                      <a:cubicBezTo>
                        <a:pt x="2102" y="546"/>
                        <a:pt x="2110" y="546"/>
                        <a:pt x="2118" y="546"/>
                      </a:cubicBezTo>
                      <a:cubicBezTo>
                        <a:pt x="2118" y="538"/>
                        <a:pt x="2126" y="538"/>
                        <a:pt x="2142" y="538"/>
                      </a:cubicBezTo>
                      <a:cubicBezTo>
                        <a:pt x="2173" y="530"/>
                        <a:pt x="2221" y="514"/>
                        <a:pt x="2252" y="514"/>
                      </a:cubicBezTo>
                      <a:cubicBezTo>
                        <a:pt x="2260" y="514"/>
                        <a:pt x="2268" y="514"/>
                        <a:pt x="2276" y="522"/>
                      </a:cubicBezTo>
                      <a:cubicBezTo>
                        <a:pt x="2292" y="530"/>
                        <a:pt x="2300" y="538"/>
                        <a:pt x="2308" y="546"/>
                      </a:cubicBezTo>
                      <a:cubicBezTo>
                        <a:pt x="2324" y="562"/>
                        <a:pt x="2332" y="570"/>
                        <a:pt x="2347" y="570"/>
                      </a:cubicBezTo>
                      <a:cubicBezTo>
                        <a:pt x="2371" y="570"/>
                        <a:pt x="2419" y="570"/>
                        <a:pt x="2450" y="570"/>
                      </a:cubicBezTo>
                      <a:cubicBezTo>
                        <a:pt x="2466" y="570"/>
                        <a:pt x="2466" y="570"/>
                        <a:pt x="2466" y="570"/>
                      </a:cubicBezTo>
                      <a:cubicBezTo>
                        <a:pt x="2458" y="570"/>
                        <a:pt x="2458" y="570"/>
                        <a:pt x="2458" y="570"/>
                      </a:cubicBezTo>
                      <a:cubicBezTo>
                        <a:pt x="2387" y="641"/>
                        <a:pt x="2308" y="664"/>
                        <a:pt x="2276" y="680"/>
                      </a:cubicBezTo>
                      <a:cubicBezTo>
                        <a:pt x="2260" y="680"/>
                        <a:pt x="2260" y="680"/>
                        <a:pt x="2260" y="680"/>
                      </a:cubicBezTo>
                      <a:cubicBezTo>
                        <a:pt x="2205" y="704"/>
                        <a:pt x="2110" y="735"/>
                        <a:pt x="2079" y="799"/>
                      </a:cubicBezTo>
                      <a:cubicBezTo>
                        <a:pt x="2055" y="854"/>
                        <a:pt x="1841" y="1044"/>
                        <a:pt x="1707" y="1154"/>
                      </a:cubicBezTo>
                      <a:cubicBezTo>
                        <a:pt x="1707" y="1162"/>
                        <a:pt x="1707" y="1162"/>
                        <a:pt x="1707" y="1162"/>
                      </a:cubicBezTo>
                      <a:cubicBezTo>
                        <a:pt x="1699" y="1170"/>
                        <a:pt x="1683" y="1178"/>
                        <a:pt x="1683" y="1178"/>
                      </a:cubicBezTo>
                      <a:lnTo>
                        <a:pt x="1683" y="1178"/>
                      </a:lnTo>
                      <a:cubicBezTo>
                        <a:pt x="1683" y="1186"/>
                        <a:pt x="1683" y="1186"/>
                        <a:pt x="1683" y="1186"/>
                      </a:cubicBezTo>
                      <a:lnTo>
                        <a:pt x="1683" y="1186"/>
                      </a:lnTo>
                      <a:cubicBezTo>
                        <a:pt x="1675" y="1194"/>
                        <a:pt x="1628" y="1249"/>
                        <a:pt x="1612" y="1257"/>
                      </a:cubicBezTo>
                      <a:cubicBezTo>
                        <a:pt x="1604" y="1257"/>
                        <a:pt x="1612" y="1297"/>
                        <a:pt x="1620" y="1321"/>
                      </a:cubicBezTo>
                      <a:cubicBezTo>
                        <a:pt x="1620" y="1336"/>
                        <a:pt x="1620" y="1344"/>
                        <a:pt x="1628" y="1360"/>
                      </a:cubicBezTo>
                      <a:cubicBezTo>
                        <a:pt x="1628" y="1368"/>
                        <a:pt x="1628" y="1376"/>
                        <a:pt x="1628" y="1392"/>
                      </a:cubicBezTo>
                      <a:cubicBezTo>
                        <a:pt x="1636" y="1431"/>
                        <a:pt x="1652" y="1502"/>
                        <a:pt x="1620" y="1542"/>
                      </a:cubicBezTo>
                      <a:cubicBezTo>
                        <a:pt x="1604" y="1574"/>
                        <a:pt x="1580" y="1581"/>
                        <a:pt x="1557" y="1589"/>
                      </a:cubicBezTo>
                      <a:cubicBezTo>
                        <a:pt x="1533" y="1597"/>
                        <a:pt x="1517" y="1605"/>
                        <a:pt x="1502" y="1621"/>
                      </a:cubicBezTo>
                      <a:cubicBezTo>
                        <a:pt x="1478" y="1637"/>
                        <a:pt x="1470" y="1652"/>
                        <a:pt x="1470" y="1668"/>
                      </a:cubicBezTo>
                      <a:cubicBezTo>
                        <a:pt x="1470" y="1684"/>
                        <a:pt x="1462" y="1700"/>
                        <a:pt x="1446" y="1724"/>
                      </a:cubicBezTo>
                      <a:cubicBezTo>
                        <a:pt x="1438" y="1739"/>
                        <a:pt x="1438" y="1747"/>
                        <a:pt x="1438" y="1755"/>
                      </a:cubicBezTo>
                      <a:cubicBezTo>
                        <a:pt x="1446" y="1763"/>
                        <a:pt x="1454" y="1771"/>
                        <a:pt x="1470" y="1771"/>
                      </a:cubicBezTo>
                      <a:cubicBezTo>
                        <a:pt x="1478" y="1779"/>
                        <a:pt x="1486" y="1779"/>
                        <a:pt x="1493" y="1787"/>
                      </a:cubicBezTo>
                      <a:cubicBezTo>
                        <a:pt x="1517" y="1795"/>
                        <a:pt x="1525" y="1818"/>
                        <a:pt x="1525" y="1842"/>
                      </a:cubicBezTo>
                      <a:cubicBezTo>
                        <a:pt x="1525" y="1866"/>
                        <a:pt x="1517" y="1882"/>
                        <a:pt x="1509" y="1898"/>
                      </a:cubicBezTo>
                      <a:cubicBezTo>
                        <a:pt x="1486" y="1913"/>
                        <a:pt x="1493" y="1921"/>
                        <a:pt x="1493" y="1937"/>
                      </a:cubicBezTo>
                      <a:cubicBezTo>
                        <a:pt x="1502" y="1945"/>
                        <a:pt x="1502" y="1961"/>
                        <a:pt x="1502" y="1969"/>
                      </a:cubicBezTo>
                      <a:cubicBezTo>
                        <a:pt x="1509" y="2008"/>
                        <a:pt x="1509" y="2008"/>
                        <a:pt x="1493" y="2048"/>
                      </a:cubicBezTo>
                      <a:cubicBezTo>
                        <a:pt x="1493" y="2056"/>
                        <a:pt x="1486" y="2064"/>
                        <a:pt x="1486" y="2071"/>
                      </a:cubicBezTo>
                      <a:cubicBezTo>
                        <a:pt x="1470" y="2119"/>
                        <a:pt x="1486" y="2127"/>
                        <a:pt x="1502" y="2143"/>
                      </a:cubicBezTo>
                      <a:cubicBezTo>
                        <a:pt x="1509" y="2151"/>
                        <a:pt x="1517" y="2166"/>
                        <a:pt x="1525" y="2174"/>
                      </a:cubicBezTo>
                      <a:cubicBezTo>
                        <a:pt x="1533" y="2198"/>
                        <a:pt x="1557" y="2206"/>
                        <a:pt x="1580" y="2214"/>
                      </a:cubicBezTo>
                      <a:cubicBezTo>
                        <a:pt x="1588" y="2222"/>
                        <a:pt x="1596" y="2222"/>
                        <a:pt x="1604" y="2229"/>
                      </a:cubicBezTo>
                      <a:cubicBezTo>
                        <a:pt x="1620" y="2238"/>
                        <a:pt x="1628" y="2238"/>
                        <a:pt x="1636" y="2238"/>
                      </a:cubicBezTo>
                      <a:cubicBezTo>
                        <a:pt x="1652" y="2245"/>
                        <a:pt x="1667" y="2245"/>
                        <a:pt x="1675" y="2277"/>
                      </a:cubicBezTo>
                      <a:cubicBezTo>
                        <a:pt x="1675" y="2285"/>
                        <a:pt x="1683" y="2285"/>
                        <a:pt x="1691" y="2285"/>
                      </a:cubicBezTo>
                      <a:lnTo>
                        <a:pt x="1699" y="2285"/>
                      </a:lnTo>
                      <a:cubicBezTo>
                        <a:pt x="1707" y="2285"/>
                        <a:pt x="1715" y="2285"/>
                        <a:pt x="1715" y="2285"/>
                      </a:cubicBezTo>
                      <a:cubicBezTo>
                        <a:pt x="1731" y="2285"/>
                        <a:pt x="1762" y="2293"/>
                        <a:pt x="1786" y="2316"/>
                      </a:cubicBezTo>
                      <a:cubicBezTo>
                        <a:pt x="1810" y="2340"/>
                        <a:pt x="1833" y="2364"/>
                        <a:pt x="1857" y="2388"/>
                      </a:cubicBezTo>
                      <a:cubicBezTo>
                        <a:pt x="1897" y="2427"/>
                        <a:pt x="1928" y="2467"/>
                        <a:pt x="1944" y="2467"/>
                      </a:cubicBezTo>
                      <a:cubicBezTo>
                        <a:pt x="1984" y="2475"/>
                        <a:pt x="2039" y="2538"/>
                        <a:pt x="2039" y="2601"/>
                      </a:cubicBezTo>
                      <a:cubicBezTo>
                        <a:pt x="2031" y="2641"/>
                        <a:pt x="2047" y="2680"/>
                        <a:pt x="2063" y="2712"/>
                      </a:cubicBezTo>
                      <a:lnTo>
                        <a:pt x="2063" y="2712"/>
                      </a:lnTo>
                      <a:cubicBezTo>
                        <a:pt x="2063" y="2720"/>
                        <a:pt x="2063" y="2720"/>
                        <a:pt x="2063" y="2720"/>
                      </a:cubicBezTo>
                      <a:cubicBezTo>
                        <a:pt x="1636" y="2767"/>
                        <a:pt x="932" y="2775"/>
                        <a:pt x="553" y="2775"/>
                      </a:cubicBezTo>
                      <a:lnTo>
                        <a:pt x="268" y="2759"/>
                      </a:lnTo>
                      <a:lnTo>
                        <a:pt x="268" y="2759"/>
                      </a:lnTo>
                      <a:cubicBezTo>
                        <a:pt x="292" y="2767"/>
                        <a:pt x="394" y="2767"/>
                        <a:pt x="553" y="2767"/>
                      </a:cubicBezTo>
                      <a:cubicBezTo>
                        <a:pt x="932" y="2767"/>
                        <a:pt x="1628" y="2759"/>
                        <a:pt x="2055" y="2712"/>
                      </a:cubicBezTo>
                      <a:cubicBezTo>
                        <a:pt x="2039" y="2672"/>
                        <a:pt x="2023" y="2641"/>
                        <a:pt x="2031" y="2601"/>
                      </a:cubicBezTo>
                      <a:cubicBezTo>
                        <a:pt x="2031" y="2546"/>
                        <a:pt x="1976" y="2482"/>
                        <a:pt x="1944" y="2475"/>
                      </a:cubicBezTo>
                      <a:cubicBezTo>
                        <a:pt x="1928" y="2475"/>
                        <a:pt x="1889" y="2435"/>
                        <a:pt x="1849" y="2396"/>
                      </a:cubicBezTo>
                      <a:cubicBezTo>
                        <a:pt x="1826" y="2372"/>
                        <a:pt x="1802" y="2340"/>
                        <a:pt x="1786" y="2324"/>
                      </a:cubicBezTo>
                      <a:cubicBezTo>
                        <a:pt x="1754" y="2301"/>
                        <a:pt x="1731" y="2293"/>
                        <a:pt x="1715" y="2293"/>
                      </a:cubicBezTo>
                      <a:cubicBezTo>
                        <a:pt x="1715" y="2293"/>
                        <a:pt x="1707" y="2293"/>
                        <a:pt x="1699" y="2293"/>
                      </a:cubicBezTo>
                      <a:lnTo>
                        <a:pt x="1691" y="2293"/>
                      </a:lnTo>
                      <a:cubicBezTo>
                        <a:pt x="1683" y="2293"/>
                        <a:pt x="1667" y="2293"/>
                        <a:pt x="1667" y="2277"/>
                      </a:cubicBezTo>
                      <a:cubicBezTo>
                        <a:pt x="1659" y="2253"/>
                        <a:pt x="1652" y="2253"/>
                        <a:pt x="1628" y="2245"/>
                      </a:cubicBezTo>
                      <a:cubicBezTo>
                        <a:pt x="1620" y="2245"/>
                        <a:pt x="1612" y="2245"/>
                        <a:pt x="1604" y="2238"/>
                      </a:cubicBezTo>
                      <a:cubicBezTo>
                        <a:pt x="1596" y="2229"/>
                        <a:pt x="1588" y="2229"/>
                        <a:pt x="1573" y="2222"/>
                      </a:cubicBezTo>
                      <a:cubicBezTo>
                        <a:pt x="1549" y="2214"/>
                        <a:pt x="1525" y="2206"/>
                        <a:pt x="1517" y="2182"/>
                      </a:cubicBezTo>
                      <a:cubicBezTo>
                        <a:pt x="1509" y="2166"/>
                        <a:pt x="1502" y="2158"/>
                        <a:pt x="1493" y="2151"/>
                      </a:cubicBezTo>
                      <a:cubicBezTo>
                        <a:pt x="1478" y="2135"/>
                        <a:pt x="1462" y="2119"/>
                        <a:pt x="1478" y="2071"/>
                      </a:cubicBezTo>
                      <a:cubicBezTo>
                        <a:pt x="1478" y="2064"/>
                        <a:pt x="1486" y="2048"/>
                        <a:pt x="1486" y="2040"/>
                      </a:cubicBezTo>
                      <a:cubicBezTo>
                        <a:pt x="1502" y="2008"/>
                        <a:pt x="1502" y="2008"/>
                        <a:pt x="1493" y="1969"/>
                      </a:cubicBezTo>
                      <a:cubicBezTo>
                        <a:pt x="1493" y="1961"/>
                        <a:pt x="1493" y="1953"/>
                        <a:pt x="1486" y="1937"/>
                      </a:cubicBezTo>
                      <a:cubicBezTo>
                        <a:pt x="1486" y="1921"/>
                        <a:pt x="1478" y="1905"/>
                        <a:pt x="1502" y="1889"/>
                      </a:cubicBezTo>
                      <a:cubicBezTo>
                        <a:pt x="1517" y="1874"/>
                        <a:pt x="1517" y="1858"/>
                        <a:pt x="1517" y="1842"/>
                      </a:cubicBezTo>
                      <a:cubicBezTo>
                        <a:pt x="1517" y="1818"/>
                        <a:pt x="1509" y="1803"/>
                        <a:pt x="1493" y="1795"/>
                      </a:cubicBezTo>
                      <a:cubicBezTo>
                        <a:pt x="1486" y="1787"/>
                        <a:pt x="1478" y="1787"/>
                        <a:pt x="1462" y="1779"/>
                      </a:cubicBezTo>
                      <a:cubicBezTo>
                        <a:pt x="1454" y="1771"/>
                        <a:pt x="1438" y="1771"/>
                        <a:pt x="1430" y="1755"/>
                      </a:cubicBezTo>
                      <a:cubicBezTo>
                        <a:pt x="1430" y="1747"/>
                        <a:pt x="1430" y="1739"/>
                        <a:pt x="1446" y="1724"/>
                      </a:cubicBezTo>
                      <a:cubicBezTo>
                        <a:pt x="1454" y="1700"/>
                        <a:pt x="1462" y="1684"/>
                        <a:pt x="1462" y="1668"/>
                      </a:cubicBezTo>
                      <a:cubicBezTo>
                        <a:pt x="1462" y="1652"/>
                        <a:pt x="1470" y="1637"/>
                        <a:pt x="1493" y="1613"/>
                      </a:cubicBezTo>
                      <a:cubicBezTo>
                        <a:pt x="1517" y="1597"/>
                        <a:pt x="1533" y="1589"/>
                        <a:pt x="1549" y="1589"/>
                      </a:cubicBezTo>
                      <a:cubicBezTo>
                        <a:pt x="1573" y="1574"/>
                        <a:pt x="1596" y="1574"/>
                        <a:pt x="1620" y="1542"/>
                      </a:cubicBezTo>
                      <a:cubicBezTo>
                        <a:pt x="1644" y="1502"/>
                        <a:pt x="1628" y="1431"/>
                        <a:pt x="1620" y="1392"/>
                      </a:cubicBezTo>
                      <a:cubicBezTo>
                        <a:pt x="1620" y="1376"/>
                        <a:pt x="1620" y="1368"/>
                        <a:pt x="1620" y="1360"/>
                      </a:cubicBezTo>
                      <a:cubicBezTo>
                        <a:pt x="1612" y="1352"/>
                        <a:pt x="1612" y="1336"/>
                        <a:pt x="1612" y="1321"/>
                      </a:cubicBezTo>
                      <a:cubicBezTo>
                        <a:pt x="1604" y="1281"/>
                        <a:pt x="1596" y="1257"/>
                        <a:pt x="1612" y="1249"/>
                      </a:cubicBezTo>
                      <a:cubicBezTo>
                        <a:pt x="1620" y="1241"/>
                        <a:pt x="1659" y="1210"/>
                        <a:pt x="1675" y="1186"/>
                      </a:cubicBezTo>
                      <a:cubicBezTo>
                        <a:pt x="1675" y="1178"/>
                        <a:pt x="1683" y="1170"/>
                        <a:pt x="1699" y="1154"/>
                      </a:cubicBezTo>
                      <a:cubicBezTo>
                        <a:pt x="1707" y="1147"/>
                        <a:pt x="1707" y="1147"/>
                        <a:pt x="1707" y="1147"/>
                      </a:cubicBezTo>
                      <a:cubicBezTo>
                        <a:pt x="1920" y="957"/>
                        <a:pt x="2055" y="830"/>
                        <a:pt x="2070" y="791"/>
                      </a:cubicBezTo>
                      <a:cubicBezTo>
                        <a:pt x="2102" y="728"/>
                        <a:pt x="2197" y="696"/>
                        <a:pt x="2260" y="672"/>
                      </a:cubicBezTo>
                      <a:cubicBezTo>
                        <a:pt x="2276" y="672"/>
                        <a:pt x="2276" y="672"/>
                        <a:pt x="2276" y="672"/>
                      </a:cubicBezTo>
                      <a:cubicBezTo>
                        <a:pt x="2300" y="664"/>
                        <a:pt x="2379" y="633"/>
                        <a:pt x="2442" y="577"/>
                      </a:cubicBezTo>
                      <a:cubicBezTo>
                        <a:pt x="2410" y="577"/>
                        <a:pt x="2371" y="577"/>
                        <a:pt x="2347" y="577"/>
                      </a:cubicBezTo>
                      <a:cubicBezTo>
                        <a:pt x="2332" y="577"/>
                        <a:pt x="2316" y="562"/>
                        <a:pt x="2300" y="554"/>
                      </a:cubicBezTo>
                      <a:cubicBezTo>
                        <a:pt x="2292" y="546"/>
                        <a:pt x="2284" y="530"/>
                        <a:pt x="2276" y="530"/>
                      </a:cubicBezTo>
                      <a:cubicBezTo>
                        <a:pt x="2268" y="522"/>
                        <a:pt x="2260" y="522"/>
                        <a:pt x="2252" y="522"/>
                      </a:cubicBezTo>
                      <a:cubicBezTo>
                        <a:pt x="2221" y="522"/>
                        <a:pt x="2173" y="538"/>
                        <a:pt x="2142" y="546"/>
                      </a:cubicBezTo>
                      <a:cubicBezTo>
                        <a:pt x="2134" y="546"/>
                        <a:pt x="2126" y="546"/>
                        <a:pt x="2118" y="546"/>
                      </a:cubicBezTo>
                      <a:cubicBezTo>
                        <a:pt x="2110" y="554"/>
                        <a:pt x="2102" y="554"/>
                        <a:pt x="2094" y="554"/>
                      </a:cubicBezTo>
                      <a:cubicBezTo>
                        <a:pt x="2086" y="554"/>
                        <a:pt x="2086" y="562"/>
                        <a:pt x="2079" y="562"/>
                      </a:cubicBezTo>
                      <a:cubicBezTo>
                        <a:pt x="2070" y="562"/>
                        <a:pt x="2063" y="554"/>
                        <a:pt x="2063" y="546"/>
                      </a:cubicBezTo>
                      <a:cubicBezTo>
                        <a:pt x="2063" y="530"/>
                        <a:pt x="2055" y="498"/>
                        <a:pt x="2015" y="475"/>
                      </a:cubicBezTo>
                      <a:lnTo>
                        <a:pt x="2007" y="475"/>
                      </a:lnTo>
                      <a:cubicBezTo>
                        <a:pt x="1984" y="475"/>
                        <a:pt x="1952" y="514"/>
                        <a:pt x="1920" y="554"/>
                      </a:cubicBezTo>
                      <a:cubicBezTo>
                        <a:pt x="1904" y="577"/>
                        <a:pt x="1889" y="593"/>
                        <a:pt x="1873" y="609"/>
                      </a:cubicBezTo>
                      <a:cubicBezTo>
                        <a:pt x="1865" y="609"/>
                        <a:pt x="1857" y="617"/>
                        <a:pt x="1849" y="617"/>
                      </a:cubicBezTo>
                      <a:cubicBezTo>
                        <a:pt x="1810" y="617"/>
                        <a:pt x="1754" y="570"/>
                        <a:pt x="1739" y="538"/>
                      </a:cubicBezTo>
                      <a:cubicBezTo>
                        <a:pt x="1715" y="506"/>
                        <a:pt x="1667" y="475"/>
                        <a:pt x="1636" y="451"/>
                      </a:cubicBezTo>
                      <a:lnTo>
                        <a:pt x="1628" y="443"/>
                      </a:lnTo>
                      <a:cubicBezTo>
                        <a:pt x="1620" y="443"/>
                        <a:pt x="1620" y="443"/>
                        <a:pt x="1620" y="443"/>
                      </a:cubicBezTo>
                      <a:cubicBezTo>
                        <a:pt x="1620" y="443"/>
                        <a:pt x="1612" y="459"/>
                        <a:pt x="1604" y="467"/>
                      </a:cubicBezTo>
                      <a:cubicBezTo>
                        <a:pt x="1604" y="482"/>
                        <a:pt x="1596" y="506"/>
                        <a:pt x="1573" y="506"/>
                      </a:cubicBezTo>
                      <a:lnTo>
                        <a:pt x="1565" y="514"/>
                      </a:lnTo>
                      <a:cubicBezTo>
                        <a:pt x="1541" y="514"/>
                        <a:pt x="1525" y="490"/>
                        <a:pt x="1509" y="451"/>
                      </a:cubicBezTo>
                      <a:cubicBezTo>
                        <a:pt x="1509" y="451"/>
                        <a:pt x="1509" y="443"/>
                        <a:pt x="1502" y="435"/>
                      </a:cubicBezTo>
                      <a:cubicBezTo>
                        <a:pt x="1478" y="395"/>
                        <a:pt x="1430" y="364"/>
                        <a:pt x="1359" y="332"/>
                      </a:cubicBezTo>
                      <a:cubicBezTo>
                        <a:pt x="1343" y="324"/>
                        <a:pt x="1335" y="324"/>
                        <a:pt x="1320" y="324"/>
                      </a:cubicBezTo>
                      <a:cubicBezTo>
                        <a:pt x="1272" y="324"/>
                        <a:pt x="1225" y="356"/>
                        <a:pt x="1185" y="380"/>
                      </a:cubicBezTo>
                      <a:cubicBezTo>
                        <a:pt x="1177" y="388"/>
                        <a:pt x="1169" y="395"/>
                        <a:pt x="1162" y="395"/>
                      </a:cubicBezTo>
                      <a:cubicBezTo>
                        <a:pt x="1146" y="411"/>
                        <a:pt x="1130" y="419"/>
                        <a:pt x="1114" y="419"/>
                      </a:cubicBezTo>
                      <a:cubicBezTo>
                        <a:pt x="1098" y="419"/>
                        <a:pt x="1090" y="411"/>
                        <a:pt x="1074" y="388"/>
                      </a:cubicBezTo>
                      <a:cubicBezTo>
                        <a:pt x="1059" y="364"/>
                        <a:pt x="1019" y="364"/>
                        <a:pt x="987" y="364"/>
                      </a:cubicBezTo>
                      <a:cubicBezTo>
                        <a:pt x="980" y="364"/>
                        <a:pt x="964" y="364"/>
                        <a:pt x="964" y="356"/>
                      </a:cubicBezTo>
                      <a:cubicBezTo>
                        <a:pt x="956" y="356"/>
                        <a:pt x="948" y="348"/>
                        <a:pt x="948" y="340"/>
                      </a:cubicBezTo>
                      <a:cubicBezTo>
                        <a:pt x="948" y="332"/>
                        <a:pt x="940" y="332"/>
                        <a:pt x="932" y="332"/>
                      </a:cubicBezTo>
                      <a:cubicBezTo>
                        <a:pt x="932" y="332"/>
                        <a:pt x="916" y="332"/>
                        <a:pt x="909" y="340"/>
                      </a:cubicBezTo>
                      <a:cubicBezTo>
                        <a:pt x="901" y="340"/>
                        <a:pt x="885" y="348"/>
                        <a:pt x="877" y="348"/>
                      </a:cubicBezTo>
                      <a:cubicBezTo>
                        <a:pt x="861" y="348"/>
                        <a:pt x="845" y="332"/>
                        <a:pt x="829" y="324"/>
                      </a:cubicBezTo>
                      <a:cubicBezTo>
                        <a:pt x="822" y="317"/>
                        <a:pt x="814" y="309"/>
                        <a:pt x="806" y="309"/>
                      </a:cubicBezTo>
                      <a:cubicBezTo>
                        <a:pt x="782" y="293"/>
                        <a:pt x="790" y="253"/>
                        <a:pt x="798" y="214"/>
                      </a:cubicBezTo>
                      <a:cubicBezTo>
                        <a:pt x="798" y="198"/>
                        <a:pt x="806" y="174"/>
                        <a:pt x="798" y="166"/>
                      </a:cubicBezTo>
                      <a:cubicBezTo>
                        <a:pt x="782" y="151"/>
                        <a:pt x="774" y="87"/>
                        <a:pt x="774" y="48"/>
                      </a:cubicBezTo>
                      <a:cubicBezTo>
                        <a:pt x="766" y="8"/>
                        <a:pt x="703" y="8"/>
                        <a:pt x="687" y="8"/>
                      </a:cubicBezTo>
                      <a:cubicBezTo>
                        <a:pt x="679" y="8"/>
                        <a:pt x="671" y="8"/>
                        <a:pt x="671" y="8"/>
                      </a:cubicBezTo>
                      <a:cubicBezTo>
                        <a:pt x="663" y="24"/>
                        <a:pt x="656" y="48"/>
                        <a:pt x="663" y="119"/>
                      </a:cubicBezTo>
                      <a:cubicBezTo>
                        <a:pt x="663" y="135"/>
                        <a:pt x="663" y="142"/>
                        <a:pt x="656" y="151"/>
                      </a:cubicBezTo>
                      <a:cubicBezTo>
                        <a:pt x="648" y="158"/>
                        <a:pt x="640" y="158"/>
                        <a:pt x="640" y="158"/>
                      </a:cubicBezTo>
                      <a:cubicBezTo>
                        <a:pt x="442" y="166"/>
                        <a:pt x="229" y="174"/>
                        <a:pt x="16" y="182"/>
                      </a:cubicBezTo>
                      <a:cubicBezTo>
                        <a:pt x="16" y="222"/>
                        <a:pt x="24" y="277"/>
                        <a:pt x="40" y="293"/>
                      </a:cubicBezTo>
                      <a:cubicBezTo>
                        <a:pt x="71" y="324"/>
                        <a:pt x="64" y="348"/>
                        <a:pt x="56" y="372"/>
                      </a:cubicBezTo>
                      <a:cubicBezTo>
                        <a:pt x="56" y="372"/>
                        <a:pt x="8" y="482"/>
                        <a:pt x="48" y="585"/>
                      </a:cubicBezTo>
                      <a:cubicBezTo>
                        <a:pt x="71" y="672"/>
                        <a:pt x="119" y="791"/>
                        <a:pt x="135" y="830"/>
                      </a:cubicBezTo>
                      <a:cubicBezTo>
                        <a:pt x="151" y="862"/>
                        <a:pt x="143" y="941"/>
                        <a:pt x="135" y="1012"/>
                      </a:cubicBezTo>
                      <a:cubicBezTo>
                        <a:pt x="127" y="1060"/>
                        <a:pt x="135" y="1083"/>
                        <a:pt x="135" y="1107"/>
                      </a:cubicBezTo>
                      <a:cubicBezTo>
                        <a:pt x="143" y="1131"/>
                        <a:pt x="143" y="1147"/>
                        <a:pt x="143" y="1162"/>
                      </a:cubicBezTo>
                      <a:cubicBezTo>
                        <a:pt x="143" y="1194"/>
                        <a:pt x="151" y="1241"/>
                        <a:pt x="158" y="1289"/>
                      </a:cubicBezTo>
                      <a:cubicBezTo>
                        <a:pt x="166" y="1328"/>
                        <a:pt x="174" y="1360"/>
                        <a:pt x="174" y="1384"/>
                      </a:cubicBezTo>
                      <a:cubicBezTo>
                        <a:pt x="174" y="1407"/>
                        <a:pt x="182" y="1415"/>
                        <a:pt x="198" y="1423"/>
                      </a:cubicBezTo>
                      <a:cubicBezTo>
                        <a:pt x="206" y="1423"/>
                        <a:pt x="213" y="1431"/>
                        <a:pt x="213" y="1431"/>
                      </a:cubicBezTo>
                      <a:cubicBezTo>
                        <a:pt x="229" y="1447"/>
                        <a:pt x="229" y="1478"/>
                        <a:pt x="229" y="1526"/>
                      </a:cubicBezTo>
                      <a:cubicBezTo>
                        <a:pt x="221" y="1550"/>
                        <a:pt x="221" y="1581"/>
                        <a:pt x="229" y="1597"/>
                      </a:cubicBezTo>
                      <a:cubicBezTo>
                        <a:pt x="237" y="1645"/>
                        <a:pt x="198" y="1724"/>
                        <a:pt x="166" y="1747"/>
                      </a:cubicBezTo>
                      <a:cubicBezTo>
                        <a:pt x="151" y="1755"/>
                        <a:pt x="143" y="1763"/>
                        <a:pt x="143" y="1779"/>
                      </a:cubicBezTo>
                      <a:cubicBezTo>
                        <a:pt x="135" y="1787"/>
                        <a:pt x="143" y="1795"/>
                        <a:pt x="143" y="1803"/>
                      </a:cubicBezTo>
                      <a:cubicBezTo>
                        <a:pt x="151" y="1811"/>
                        <a:pt x="151" y="1811"/>
                        <a:pt x="158" y="1811"/>
                      </a:cubicBezTo>
                      <a:cubicBezTo>
                        <a:pt x="166" y="1818"/>
                        <a:pt x="174" y="1826"/>
                        <a:pt x="174" y="1858"/>
                      </a:cubicBezTo>
                      <a:cubicBezTo>
                        <a:pt x="174" y="1889"/>
                        <a:pt x="190" y="1889"/>
                        <a:pt x="213" y="1889"/>
                      </a:cubicBezTo>
                      <a:cubicBezTo>
                        <a:pt x="237" y="1889"/>
                        <a:pt x="268" y="1913"/>
                        <a:pt x="268" y="1913"/>
                      </a:cubicBezTo>
                      <a:lnTo>
                        <a:pt x="268" y="1913"/>
                      </a:lnTo>
                      <a:cubicBezTo>
                        <a:pt x="268" y="2759"/>
                        <a:pt x="268" y="2759"/>
                        <a:pt x="268" y="2759"/>
                      </a:cubicBezTo>
                      <a:lnTo>
                        <a:pt x="553" y="2775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4" name="Freeform 510">
                  <a:extLst>
                    <a:ext uri="{FF2B5EF4-FFF2-40B4-BE49-F238E27FC236}">
                      <a16:creationId xmlns:a16="http://schemas.microsoft.com/office/drawing/2014/main" id="{64A3BCF7-A19C-0D43-99E3-6494DFED38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39219" y="5017977"/>
                  <a:ext cx="1215316" cy="786245"/>
                </a:xfrm>
                <a:custGeom>
                  <a:avLst/>
                  <a:gdLst>
                    <a:gd name="T0" fmla="*/ 1794 w 2309"/>
                    <a:gd name="T1" fmla="*/ 1391 h 1495"/>
                    <a:gd name="T2" fmla="*/ 1794 w 2309"/>
                    <a:gd name="T3" fmla="*/ 1391 h 1495"/>
                    <a:gd name="T4" fmla="*/ 1888 w 2309"/>
                    <a:gd name="T5" fmla="*/ 1494 h 1495"/>
                    <a:gd name="T6" fmla="*/ 1888 w 2309"/>
                    <a:gd name="T7" fmla="*/ 1486 h 1495"/>
                    <a:gd name="T8" fmla="*/ 1904 w 2309"/>
                    <a:gd name="T9" fmla="*/ 1423 h 1495"/>
                    <a:gd name="T10" fmla="*/ 1897 w 2309"/>
                    <a:gd name="T11" fmla="*/ 1391 h 1495"/>
                    <a:gd name="T12" fmla="*/ 1999 w 2309"/>
                    <a:gd name="T13" fmla="*/ 1312 h 1495"/>
                    <a:gd name="T14" fmla="*/ 2007 w 2309"/>
                    <a:gd name="T15" fmla="*/ 1249 h 1495"/>
                    <a:gd name="T16" fmla="*/ 2047 w 2309"/>
                    <a:gd name="T17" fmla="*/ 1138 h 1495"/>
                    <a:gd name="T18" fmla="*/ 1999 w 2309"/>
                    <a:gd name="T19" fmla="*/ 1083 h 1495"/>
                    <a:gd name="T20" fmla="*/ 1999 w 2309"/>
                    <a:gd name="T21" fmla="*/ 988 h 1495"/>
                    <a:gd name="T22" fmla="*/ 2055 w 2309"/>
                    <a:gd name="T23" fmla="*/ 988 h 1495"/>
                    <a:gd name="T24" fmla="*/ 2110 w 2309"/>
                    <a:gd name="T25" fmla="*/ 980 h 1495"/>
                    <a:gd name="T26" fmla="*/ 2181 w 2309"/>
                    <a:gd name="T27" fmla="*/ 933 h 1495"/>
                    <a:gd name="T28" fmla="*/ 2244 w 2309"/>
                    <a:gd name="T29" fmla="*/ 869 h 1495"/>
                    <a:gd name="T30" fmla="*/ 2292 w 2309"/>
                    <a:gd name="T31" fmla="*/ 782 h 1495"/>
                    <a:gd name="T32" fmla="*/ 2284 w 2309"/>
                    <a:gd name="T33" fmla="*/ 648 h 1495"/>
                    <a:gd name="T34" fmla="*/ 2213 w 2309"/>
                    <a:gd name="T35" fmla="*/ 585 h 1495"/>
                    <a:gd name="T36" fmla="*/ 2118 w 2309"/>
                    <a:gd name="T37" fmla="*/ 482 h 1495"/>
                    <a:gd name="T38" fmla="*/ 1991 w 2309"/>
                    <a:gd name="T39" fmla="*/ 387 h 1495"/>
                    <a:gd name="T40" fmla="*/ 1952 w 2309"/>
                    <a:gd name="T41" fmla="*/ 308 h 1495"/>
                    <a:gd name="T42" fmla="*/ 1912 w 2309"/>
                    <a:gd name="T43" fmla="*/ 245 h 1495"/>
                    <a:gd name="T44" fmla="*/ 1936 w 2309"/>
                    <a:gd name="T45" fmla="*/ 126 h 1495"/>
                    <a:gd name="T46" fmla="*/ 1897 w 2309"/>
                    <a:gd name="T47" fmla="*/ 55 h 1495"/>
                    <a:gd name="T48" fmla="*/ 1881 w 2309"/>
                    <a:gd name="T49" fmla="*/ 0 h 1495"/>
                    <a:gd name="T50" fmla="*/ 86 w 2309"/>
                    <a:gd name="T51" fmla="*/ 55 h 1495"/>
                    <a:gd name="T52" fmla="*/ 47 w 2309"/>
                    <a:gd name="T53" fmla="*/ 71 h 1495"/>
                    <a:gd name="T54" fmla="*/ 47 w 2309"/>
                    <a:gd name="T55" fmla="*/ 150 h 1495"/>
                    <a:gd name="T56" fmla="*/ 62 w 2309"/>
                    <a:gd name="T57" fmla="*/ 197 h 1495"/>
                    <a:gd name="T58" fmla="*/ 94 w 2309"/>
                    <a:gd name="T59" fmla="*/ 245 h 1495"/>
                    <a:gd name="T60" fmla="*/ 78 w 2309"/>
                    <a:gd name="T61" fmla="*/ 316 h 1495"/>
                    <a:gd name="T62" fmla="*/ 24 w 2309"/>
                    <a:gd name="T63" fmla="*/ 395 h 1495"/>
                    <a:gd name="T64" fmla="*/ 78 w 2309"/>
                    <a:gd name="T65" fmla="*/ 482 h 1495"/>
                    <a:gd name="T66" fmla="*/ 118 w 2309"/>
                    <a:gd name="T67" fmla="*/ 585 h 1495"/>
                    <a:gd name="T68" fmla="*/ 134 w 2309"/>
                    <a:gd name="T69" fmla="*/ 664 h 1495"/>
                    <a:gd name="T70" fmla="*/ 165 w 2309"/>
                    <a:gd name="T71" fmla="*/ 735 h 1495"/>
                    <a:gd name="T72" fmla="*/ 205 w 2309"/>
                    <a:gd name="T73" fmla="*/ 822 h 1495"/>
                    <a:gd name="T74" fmla="*/ 221 w 2309"/>
                    <a:gd name="T75" fmla="*/ 972 h 1495"/>
                    <a:gd name="T76" fmla="*/ 236 w 2309"/>
                    <a:gd name="T77" fmla="*/ 988 h 1495"/>
                    <a:gd name="T78" fmla="*/ 268 w 2309"/>
                    <a:gd name="T79" fmla="*/ 1012 h 1495"/>
                    <a:gd name="T80" fmla="*/ 268 w 2309"/>
                    <a:gd name="T81" fmla="*/ 1051 h 1495"/>
                    <a:gd name="T82" fmla="*/ 292 w 2309"/>
                    <a:gd name="T83" fmla="*/ 1083 h 1495"/>
                    <a:gd name="T84" fmla="*/ 300 w 2309"/>
                    <a:gd name="T85" fmla="*/ 1130 h 1495"/>
                    <a:gd name="T86" fmla="*/ 300 w 2309"/>
                    <a:gd name="T87" fmla="*/ 1193 h 1495"/>
                    <a:gd name="T88" fmla="*/ 315 w 2309"/>
                    <a:gd name="T89" fmla="*/ 1249 h 1495"/>
                    <a:gd name="T90" fmla="*/ 300 w 2309"/>
                    <a:gd name="T91" fmla="*/ 1391 h 1495"/>
                    <a:gd name="T92" fmla="*/ 331 w 2309"/>
                    <a:gd name="T93" fmla="*/ 1399 h 1495"/>
                    <a:gd name="T94" fmla="*/ 347 w 2309"/>
                    <a:gd name="T95" fmla="*/ 1439 h 1495"/>
                    <a:gd name="T96" fmla="*/ 1762 w 2309"/>
                    <a:gd name="T97" fmla="*/ 1375 h 1495"/>
                    <a:gd name="T98" fmla="*/ 1794 w 2309"/>
                    <a:gd name="T99" fmla="*/ 1391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09" h="1495">
                      <a:moveTo>
                        <a:pt x="1794" y="1391"/>
                      </a:moveTo>
                      <a:lnTo>
                        <a:pt x="1794" y="1391"/>
                      </a:lnTo>
                      <a:cubicBezTo>
                        <a:pt x="1802" y="1407"/>
                        <a:pt x="1857" y="1454"/>
                        <a:pt x="1888" y="1494"/>
                      </a:cubicBezTo>
                      <a:cubicBezTo>
                        <a:pt x="1888" y="1486"/>
                        <a:pt x="1888" y="1486"/>
                        <a:pt x="1888" y="1486"/>
                      </a:cubicBezTo>
                      <a:cubicBezTo>
                        <a:pt x="1912" y="1462"/>
                        <a:pt x="1912" y="1446"/>
                        <a:pt x="1904" y="1423"/>
                      </a:cubicBezTo>
                      <a:cubicBezTo>
                        <a:pt x="1897" y="1407"/>
                        <a:pt x="1865" y="1399"/>
                        <a:pt x="1897" y="1391"/>
                      </a:cubicBezTo>
                      <a:cubicBezTo>
                        <a:pt x="1920" y="1375"/>
                        <a:pt x="1999" y="1351"/>
                        <a:pt x="1999" y="1312"/>
                      </a:cubicBezTo>
                      <a:cubicBezTo>
                        <a:pt x="1999" y="1265"/>
                        <a:pt x="1991" y="1257"/>
                        <a:pt x="2007" y="1249"/>
                      </a:cubicBezTo>
                      <a:cubicBezTo>
                        <a:pt x="2031" y="1233"/>
                        <a:pt x="2055" y="1170"/>
                        <a:pt x="2047" y="1138"/>
                      </a:cubicBezTo>
                      <a:cubicBezTo>
                        <a:pt x="2039" y="1114"/>
                        <a:pt x="1999" y="1114"/>
                        <a:pt x="1999" y="1083"/>
                      </a:cubicBezTo>
                      <a:cubicBezTo>
                        <a:pt x="1999" y="1051"/>
                        <a:pt x="1960" y="996"/>
                        <a:pt x="1999" y="988"/>
                      </a:cubicBezTo>
                      <a:cubicBezTo>
                        <a:pt x="2015" y="988"/>
                        <a:pt x="2039" y="988"/>
                        <a:pt x="2055" y="988"/>
                      </a:cubicBezTo>
                      <a:cubicBezTo>
                        <a:pt x="2078" y="988"/>
                        <a:pt x="2102" y="988"/>
                        <a:pt x="2110" y="980"/>
                      </a:cubicBezTo>
                      <a:cubicBezTo>
                        <a:pt x="2134" y="956"/>
                        <a:pt x="2150" y="956"/>
                        <a:pt x="2181" y="933"/>
                      </a:cubicBezTo>
                      <a:cubicBezTo>
                        <a:pt x="2213" y="917"/>
                        <a:pt x="2244" y="925"/>
                        <a:pt x="2244" y="869"/>
                      </a:cubicBezTo>
                      <a:cubicBezTo>
                        <a:pt x="2244" y="814"/>
                        <a:pt x="2276" y="814"/>
                        <a:pt x="2292" y="782"/>
                      </a:cubicBezTo>
                      <a:cubicBezTo>
                        <a:pt x="2308" y="743"/>
                        <a:pt x="2308" y="664"/>
                        <a:pt x="2284" y="648"/>
                      </a:cubicBezTo>
                      <a:cubicBezTo>
                        <a:pt x="2268" y="632"/>
                        <a:pt x="2213" y="624"/>
                        <a:pt x="2213" y="585"/>
                      </a:cubicBezTo>
                      <a:cubicBezTo>
                        <a:pt x="2205" y="553"/>
                        <a:pt x="2126" y="498"/>
                        <a:pt x="2118" y="482"/>
                      </a:cubicBezTo>
                      <a:cubicBezTo>
                        <a:pt x="2110" y="458"/>
                        <a:pt x="2102" y="387"/>
                        <a:pt x="1991" y="387"/>
                      </a:cubicBezTo>
                      <a:cubicBezTo>
                        <a:pt x="1873" y="379"/>
                        <a:pt x="1960" y="348"/>
                        <a:pt x="1952" y="308"/>
                      </a:cubicBezTo>
                      <a:cubicBezTo>
                        <a:pt x="1944" y="276"/>
                        <a:pt x="1904" y="316"/>
                        <a:pt x="1912" y="245"/>
                      </a:cubicBezTo>
                      <a:cubicBezTo>
                        <a:pt x="1920" y="174"/>
                        <a:pt x="1912" y="182"/>
                        <a:pt x="1936" y="126"/>
                      </a:cubicBezTo>
                      <a:cubicBezTo>
                        <a:pt x="1952" y="71"/>
                        <a:pt x="1904" y="87"/>
                        <a:pt x="1897" y="55"/>
                      </a:cubicBezTo>
                      <a:cubicBezTo>
                        <a:pt x="1897" y="39"/>
                        <a:pt x="1888" y="23"/>
                        <a:pt x="1881" y="0"/>
                      </a:cubicBezTo>
                      <a:cubicBezTo>
                        <a:pt x="1264" y="71"/>
                        <a:pt x="86" y="55"/>
                        <a:pt x="86" y="55"/>
                      </a:cubicBezTo>
                      <a:cubicBezTo>
                        <a:pt x="86" y="55"/>
                        <a:pt x="62" y="47"/>
                        <a:pt x="47" y="71"/>
                      </a:cubicBezTo>
                      <a:cubicBezTo>
                        <a:pt x="31" y="95"/>
                        <a:pt x="78" y="134"/>
                        <a:pt x="47" y="150"/>
                      </a:cubicBezTo>
                      <a:cubicBezTo>
                        <a:pt x="16" y="166"/>
                        <a:pt x="39" y="182"/>
                        <a:pt x="62" y="197"/>
                      </a:cubicBezTo>
                      <a:cubicBezTo>
                        <a:pt x="94" y="213"/>
                        <a:pt x="110" y="221"/>
                        <a:pt x="94" y="245"/>
                      </a:cubicBezTo>
                      <a:cubicBezTo>
                        <a:pt x="78" y="269"/>
                        <a:pt x="86" y="269"/>
                        <a:pt x="78" y="316"/>
                      </a:cubicBezTo>
                      <a:cubicBezTo>
                        <a:pt x="70" y="371"/>
                        <a:pt x="39" y="356"/>
                        <a:pt x="24" y="395"/>
                      </a:cubicBezTo>
                      <a:cubicBezTo>
                        <a:pt x="0" y="443"/>
                        <a:pt x="47" y="427"/>
                        <a:pt x="78" y="482"/>
                      </a:cubicBezTo>
                      <a:cubicBezTo>
                        <a:pt x="102" y="537"/>
                        <a:pt x="110" y="569"/>
                        <a:pt x="118" y="585"/>
                      </a:cubicBezTo>
                      <a:cubicBezTo>
                        <a:pt x="126" y="601"/>
                        <a:pt x="118" y="632"/>
                        <a:pt x="134" y="664"/>
                      </a:cubicBezTo>
                      <a:cubicBezTo>
                        <a:pt x="149" y="696"/>
                        <a:pt x="141" y="703"/>
                        <a:pt x="165" y="735"/>
                      </a:cubicBezTo>
                      <a:cubicBezTo>
                        <a:pt x="181" y="759"/>
                        <a:pt x="173" y="790"/>
                        <a:pt x="205" y="822"/>
                      </a:cubicBezTo>
                      <a:cubicBezTo>
                        <a:pt x="228" y="854"/>
                        <a:pt x="221" y="949"/>
                        <a:pt x="221" y="972"/>
                      </a:cubicBezTo>
                      <a:cubicBezTo>
                        <a:pt x="221" y="988"/>
                        <a:pt x="221" y="988"/>
                        <a:pt x="236" y="988"/>
                      </a:cubicBezTo>
                      <a:cubicBezTo>
                        <a:pt x="260" y="980"/>
                        <a:pt x="268" y="1012"/>
                        <a:pt x="268" y="1012"/>
                      </a:cubicBezTo>
                      <a:cubicBezTo>
                        <a:pt x="268" y="1012"/>
                        <a:pt x="276" y="1035"/>
                        <a:pt x="268" y="1051"/>
                      </a:cubicBezTo>
                      <a:cubicBezTo>
                        <a:pt x="268" y="1075"/>
                        <a:pt x="300" y="1067"/>
                        <a:pt x="292" y="1083"/>
                      </a:cubicBezTo>
                      <a:cubicBezTo>
                        <a:pt x="292" y="1107"/>
                        <a:pt x="292" y="1122"/>
                        <a:pt x="300" y="1130"/>
                      </a:cubicBezTo>
                      <a:cubicBezTo>
                        <a:pt x="315" y="1138"/>
                        <a:pt x="315" y="1170"/>
                        <a:pt x="300" y="1193"/>
                      </a:cubicBezTo>
                      <a:cubicBezTo>
                        <a:pt x="284" y="1217"/>
                        <a:pt x="292" y="1217"/>
                        <a:pt x="315" y="1249"/>
                      </a:cubicBezTo>
                      <a:cubicBezTo>
                        <a:pt x="347" y="1288"/>
                        <a:pt x="300" y="1367"/>
                        <a:pt x="300" y="1391"/>
                      </a:cubicBezTo>
                      <a:cubicBezTo>
                        <a:pt x="300" y="1415"/>
                        <a:pt x="315" y="1399"/>
                        <a:pt x="331" y="1399"/>
                      </a:cubicBezTo>
                      <a:cubicBezTo>
                        <a:pt x="339" y="1399"/>
                        <a:pt x="339" y="1423"/>
                        <a:pt x="347" y="1439"/>
                      </a:cubicBezTo>
                      <a:cubicBezTo>
                        <a:pt x="466" y="1439"/>
                        <a:pt x="1438" y="1423"/>
                        <a:pt x="1762" y="1375"/>
                      </a:cubicBezTo>
                      <a:cubicBezTo>
                        <a:pt x="1762" y="1375"/>
                        <a:pt x="1770" y="1360"/>
                        <a:pt x="1794" y="139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5" name="Freeform 511">
                  <a:extLst>
                    <a:ext uri="{FF2B5EF4-FFF2-40B4-BE49-F238E27FC236}">
                      <a16:creationId xmlns:a16="http://schemas.microsoft.com/office/drawing/2014/main" id="{9457137A-3097-7842-98A4-6F8F9E2560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243858" y="5017977"/>
                  <a:ext cx="1212996" cy="786245"/>
                </a:xfrm>
                <a:custGeom>
                  <a:avLst/>
                  <a:gdLst>
                    <a:gd name="T0" fmla="*/ 1778 w 2308"/>
                    <a:gd name="T1" fmla="*/ 1391 h 1495"/>
                    <a:gd name="T2" fmla="*/ 1754 w 2308"/>
                    <a:gd name="T3" fmla="*/ 1375 h 1495"/>
                    <a:gd name="T4" fmla="*/ 331 w 2308"/>
                    <a:gd name="T5" fmla="*/ 1423 h 1495"/>
                    <a:gd name="T6" fmla="*/ 292 w 2308"/>
                    <a:gd name="T7" fmla="*/ 1391 h 1495"/>
                    <a:gd name="T8" fmla="*/ 292 w 2308"/>
                    <a:gd name="T9" fmla="*/ 1193 h 1495"/>
                    <a:gd name="T10" fmla="*/ 260 w 2308"/>
                    <a:gd name="T11" fmla="*/ 1051 h 1495"/>
                    <a:gd name="T12" fmla="*/ 220 w 2308"/>
                    <a:gd name="T13" fmla="*/ 988 h 1495"/>
                    <a:gd name="T14" fmla="*/ 165 w 2308"/>
                    <a:gd name="T15" fmla="*/ 767 h 1495"/>
                    <a:gd name="T16" fmla="*/ 110 w 2308"/>
                    <a:gd name="T17" fmla="*/ 616 h 1495"/>
                    <a:gd name="T18" fmla="*/ 23 w 2308"/>
                    <a:gd name="T19" fmla="*/ 434 h 1495"/>
                    <a:gd name="T20" fmla="*/ 70 w 2308"/>
                    <a:gd name="T21" fmla="*/ 276 h 1495"/>
                    <a:gd name="T22" fmla="*/ 54 w 2308"/>
                    <a:gd name="T23" fmla="*/ 205 h 1495"/>
                    <a:gd name="T24" fmla="*/ 39 w 2308"/>
                    <a:gd name="T25" fmla="*/ 110 h 1495"/>
                    <a:gd name="T26" fmla="*/ 1865 w 2308"/>
                    <a:gd name="T27" fmla="*/ 0 h 1495"/>
                    <a:gd name="T28" fmla="*/ 1912 w 2308"/>
                    <a:gd name="T29" fmla="*/ 79 h 1495"/>
                    <a:gd name="T30" fmla="*/ 1928 w 2308"/>
                    <a:gd name="T31" fmla="*/ 284 h 1495"/>
                    <a:gd name="T32" fmla="*/ 1983 w 2308"/>
                    <a:gd name="T33" fmla="*/ 379 h 1495"/>
                    <a:gd name="T34" fmla="*/ 2205 w 2308"/>
                    <a:gd name="T35" fmla="*/ 585 h 1495"/>
                    <a:gd name="T36" fmla="*/ 2260 w 2308"/>
                    <a:gd name="T37" fmla="*/ 814 h 1495"/>
                    <a:gd name="T38" fmla="*/ 2149 w 2308"/>
                    <a:gd name="T39" fmla="*/ 949 h 1495"/>
                    <a:gd name="T40" fmla="*/ 2023 w 2308"/>
                    <a:gd name="T41" fmla="*/ 988 h 1495"/>
                    <a:gd name="T42" fmla="*/ 1991 w 2308"/>
                    <a:gd name="T43" fmla="*/ 1083 h 1495"/>
                    <a:gd name="T44" fmla="*/ 1991 w 2308"/>
                    <a:gd name="T45" fmla="*/ 1273 h 1495"/>
                    <a:gd name="T46" fmla="*/ 1880 w 2308"/>
                    <a:gd name="T47" fmla="*/ 1399 h 1495"/>
                    <a:gd name="T48" fmla="*/ 1880 w 2308"/>
                    <a:gd name="T49" fmla="*/ 1494 h 1495"/>
                    <a:gd name="T50" fmla="*/ 1786 w 2308"/>
                    <a:gd name="T51" fmla="*/ 1391 h 1495"/>
                    <a:gd name="T52" fmla="*/ 1873 w 2308"/>
                    <a:gd name="T53" fmla="*/ 1399 h 1495"/>
                    <a:gd name="T54" fmla="*/ 1983 w 2308"/>
                    <a:gd name="T55" fmla="*/ 1280 h 1495"/>
                    <a:gd name="T56" fmla="*/ 1983 w 2308"/>
                    <a:gd name="T57" fmla="*/ 1083 h 1495"/>
                    <a:gd name="T58" fmla="*/ 2023 w 2308"/>
                    <a:gd name="T59" fmla="*/ 980 h 1495"/>
                    <a:gd name="T60" fmla="*/ 2149 w 2308"/>
                    <a:gd name="T61" fmla="*/ 949 h 1495"/>
                    <a:gd name="T62" fmla="*/ 2260 w 2308"/>
                    <a:gd name="T63" fmla="*/ 806 h 1495"/>
                    <a:gd name="T64" fmla="*/ 2197 w 2308"/>
                    <a:gd name="T65" fmla="*/ 585 h 1495"/>
                    <a:gd name="T66" fmla="*/ 1983 w 2308"/>
                    <a:gd name="T67" fmla="*/ 387 h 1495"/>
                    <a:gd name="T68" fmla="*/ 1920 w 2308"/>
                    <a:gd name="T69" fmla="*/ 292 h 1495"/>
                    <a:gd name="T70" fmla="*/ 1912 w 2308"/>
                    <a:gd name="T71" fmla="*/ 87 h 1495"/>
                    <a:gd name="T72" fmla="*/ 363 w 2308"/>
                    <a:gd name="T73" fmla="*/ 63 h 1495"/>
                    <a:gd name="T74" fmla="*/ 47 w 2308"/>
                    <a:gd name="T75" fmla="*/ 71 h 1495"/>
                    <a:gd name="T76" fmla="*/ 54 w 2308"/>
                    <a:gd name="T77" fmla="*/ 190 h 1495"/>
                    <a:gd name="T78" fmla="*/ 86 w 2308"/>
                    <a:gd name="T79" fmla="*/ 245 h 1495"/>
                    <a:gd name="T80" fmla="*/ 16 w 2308"/>
                    <a:gd name="T81" fmla="*/ 403 h 1495"/>
                    <a:gd name="T82" fmla="*/ 110 w 2308"/>
                    <a:gd name="T83" fmla="*/ 585 h 1495"/>
                    <a:gd name="T84" fmla="*/ 157 w 2308"/>
                    <a:gd name="T85" fmla="*/ 727 h 1495"/>
                    <a:gd name="T86" fmla="*/ 213 w 2308"/>
                    <a:gd name="T87" fmla="*/ 972 h 1495"/>
                    <a:gd name="T88" fmla="*/ 268 w 2308"/>
                    <a:gd name="T89" fmla="*/ 1012 h 1495"/>
                    <a:gd name="T90" fmla="*/ 292 w 2308"/>
                    <a:gd name="T91" fmla="*/ 1083 h 1495"/>
                    <a:gd name="T92" fmla="*/ 315 w 2308"/>
                    <a:gd name="T93" fmla="*/ 1249 h 1495"/>
                    <a:gd name="T94" fmla="*/ 307 w 2308"/>
                    <a:gd name="T95" fmla="*/ 1399 h 1495"/>
                    <a:gd name="T96" fmla="*/ 1754 w 2308"/>
                    <a:gd name="T97" fmla="*/ 1367 h 1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2308" h="1495">
                      <a:moveTo>
                        <a:pt x="1880" y="1494"/>
                      </a:moveTo>
                      <a:lnTo>
                        <a:pt x="1880" y="1494"/>
                      </a:lnTo>
                      <a:lnTo>
                        <a:pt x="1880" y="1494"/>
                      </a:lnTo>
                      <a:cubicBezTo>
                        <a:pt x="1841" y="1454"/>
                        <a:pt x="1794" y="1407"/>
                        <a:pt x="1778" y="1391"/>
                      </a:cubicBezTo>
                      <a:cubicBezTo>
                        <a:pt x="1770" y="1375"/>
                        <a:pt x="1762" y="1375"/>
                        <a:pt x="1762" y="1375"/>
                      </a:cubicBezTo>
                      <a:lnTo>
                        <a:pt x="1762" y="1375"/>
                      </a:lnTo>
                      <a:lnTo>
                        <a:pt x="1762" y="1375"/>
                      </a:lnTo>
                      <a:cubicBezTo>
                        <a:pt x="1754" y="1375"/>
                        <a:pt x="1754" y="1375"/>
                        <a:pt x="1754" y="1375"/>
                      </a:cubicBezTo>
                      <a:cubicBezTo>
                        <a:pt x="1430" y="1431"/>
                        <a:pt x="450" y="1446"/>
                        <a:pt x="339" y="1446"/>
                      </a:cubicBezTo>
                      <a:cubicBezTo>
                        <a:pt x="331" y="1446"/>
                        <a:pt x="331" y="1446"/>
                        <a:pt x="331" y="1446"/>
                      </a:cubicBezTo>
                      <a:cubicBezTo>
                        <a:pt x="331" y="1439"/>
                        <a:pt x="331" y="1439"/>
                        <a:pt x="331" y="1439"/>
                      </a:cubicBezTo>
                      <a:cubicBezTo>
                        <a:pt x="331" y="1439"/>
                        <a:pt x="331" y="1431"/>
                        <a:pt x="331" y="1423"/>
                      </a:cubicBezTo>
                      <a:cubicBezTo>
                        <a:pt x="331" y="1415"/>
                        <a:pt x="331" y="1407"/>
                        <a:pt x="323" y="1407"/>
                      </a:cubicBezTo>
                      <a:lnTo>
                        <a:pt x="315" y="1407"/>
                      </a:lnTo>
                      <a:cubicBezTo>
                        <a:pt x="307" y="1407"/>
                        <a:pt x="307" y="1407"/>
                        <a:pt x="300" y="1407"/>
                      </a:cubicBezTo>
                      <a:cubicBezTo>
                        <a:pt x="292" y="1407"/>
                        <a:pt x="292" y="1391"/>
                        <a:pt x="292" y="1391"/>
                      </a:cubicBezTo>
                      <a:cubicBezTo>
                        <a:pt x="292" y="1383"/>
                        <a:pt x="300" y="1367"/>
                        <a:pt x="300" y="1351"/>
                      </a:cubicBezTo>
                      <a:cubicBezTo>
                        <a:pt x="307" y="1320"/>
                        <a:pt x="323" y="1280"/>
                        <a:pt x="307" y="1257"/>
                      </a:cubicBezTo>
                      <a:cubicBezTo>
                        <a:pt x="300" y="1249"/>
                        <a:pt x="300" y="1241"/>
                        <a:pt x="300" y="1241"/>
                      </a:cubicBezTo>
                      <a:cubicBezTo>
                        <a:pt x="276" y="1217"/>
                        <a:pt x="276" y="1217"/>
                        <a:pt x="292" y="1193"/>
                      </a:cubicBezTo>
                      <a:cubicBezTo>
                        <a:pt x="300" y="1170"/>
                        <a:pt x="300" y="1146"/>
                        <a:pt x="292" y="1138"/>
                      </a:cubicBezTo>
                      <a:cubicBezTo>
                        <a:pt x="276" y="1130"/>
                        <a:pt x="276" y="1107"/>
                        <a:pt x="284" y="1083"/>
                      </a:cubicBezTo>
                      <a:cubicBezTo>
                        <a:pt x="284" y="1075"/>
                        <a:pt x="284" y="1075"/>
                        <a:pt x="276" y="1075"/>
                      </a:cubicBezTo>
                      <a:cubicBezTo>
                        <a:pt x="268" y="1067"/>
                        <a:pt x="252" y="1067"/>
                        <a:pt x="260" y="1051"/>
                      </a:cubicBezTo>
                      <a:cubicBezTo>
                        <a:pt x="260" y="1035"/>
                        <a:pt x="260" y="1012"/>
                        <a:pt x="260" y="1012"/>
                      </a:cubicBezTo>
                      <a:cubicBezTo>
                        <a:pt x="252" y="1004"/>
                        <a:pt x="244" y="988"/>
                        <a:pt x="236" y="988"/>
                      </a:cubicBezTo>
                      <a:lnTo>
                        <a:pt x="228" y="988"/>
                      </a:lnTo>
                      <a:cubicBezTo>
                        <a:pt x="220" y="988"/>
                        <a:pt x="220" y="988"/>
                        <a:pt x="220" y="988"/>
                      </a:cubicBezTo>
                      <a:cubicBezTo>
                        <a:pt x="204" y="988"/>
                        <a:pt x="204" y="980"/>
                        <a:pt x="204" y="972"/>
                      </a:cubicBezTo>
                      <a:cubicBezTo>
                        <a:pt x="204" y="964"/>
                        <a:pt x="204" y="956"/>
                        <a:pt x="204" y="956"/>
                      </a:cubicBezTo>
                      <a:cubicBezTo>
                        <a:pt x="213" y="917"/>
                        <a:pt x="213" y="854"/>
                        <a:pt x="189" y="822"/>
                      </a:cubicBezTo>
                      <a:cubicBezTo>
                        <a:pt x="173" y="806"/>
                        <a:pt x="173" y="790"/>
                        <a:pt x="165" y="767"/>
                      </a:cubicBezTo>
                      <a:cubicBezTo>
                        <a:pt x="165" y="759"/>
                        <a:pt x="165" y="743"/>
                        <a:pt x="149" y="735"/>
                      </a:cubicBezTo>
                      <a:cubicBezTo>
                        <a:pt x="141" y="711"/>
                        <a:pt x="133" y="703"/>
                        <a:pt x="133" y="687"/>
                      </a:cubicBezTo>
                      <a:cubicBezTo>
                        <a:pt x="126" y="687"/>
                        <a:pt x="126" y="680"/>
                        <a:pt x="118" y="664"/>
                      </a:cubicBezTo>
                      <a:cubicBezTo>
                        <a:pt x="110" y="648"/>
                        <a:pt x="110" y="632"/>
                        <a:pt x="110" y="616"/>
                      </a:cubicBezTo>
                      <a:cubicBezTo>
                        <a:pt x="110" y="609"/>
                        <a:pt x="110" y="593"/>
                        <a:pt x="102" y="593"/>
                      </a:cubicBezTo>
                      <a:cubicBezTo>
                        <a:pt x="102" y="585"/>
                        <a:pt x="102" y="569"/>
                        <a:pt x="94" y="561"/>
                      </a:cubicBezTo>
                      <a:cubicBezTo>
                        <a:pt x="86" y="537"/>
                        <a:pt x="78" y="514"/>
                        <a:pt x="62" y="482"/>
                      </a:cubicBezTo>
                      <a:cubicBezTo>
                        <a:pt x="54" y="458"/>
                        <a:pt x="39" y="443"/>
                        <a:pt x="23" y="434"/>
                      </a:cubicBezTo>
                      <a:cubicBezTo>
                        <a:pt x="8" y="427"/>
                        <a:pt x="0" y="419"/>
                        <a:pt x="8" y="395"/>
                      </a:cubicBezTo>
                      <a:cubicBezTo>
                        <a:pt x="16" y="379"/>
                        <a:pt x="31" y="371"/>
                        <a:pt x="39" y="363"/>
                      </a:cubicBezTo>
                      <a:cubicBezTo>
                        <a:pt x="54" y="348"/>
                        <a:pt x="62" y="340"/>
                        <a:pt x="70" y="316"/>
                      </a:cubicBezTo>
                      <a:cubicBezTo>
                        <a:pt x="70" y="292"/>
                        <a:pt x="70" y="284"/>
                        <a:pt x="70" y="276"/>
                      </a:cubicBezTo>
                      <a:cubicBezTo>
                        <a:pt x="70" y="261"/>
                        <a:pt x="70" y="253"/>
                        <a:pt x="78" y="245"/>
                      </a:cubicBezTo>
                      <a:cubicBezTo>
                        <a:pt x="86" y="237"/>
                        <a:pt x="86" y="229"/>
                        <a:pt x="86" y="229"/>
                      </a:cubicBezTo>
                      <a:cubicBezTo>
                        <a:pt x="86" y="221"/>
                        <a:pt x="78" y="213"/>
                        <a:pt x="62" y="205"/>
                      </a:cubicBezTo>
                      <a:cubicBezTo>
                        <a:pt x="54" y="205"/>
                        <a:pt x="54" y="205"/>
                        <a:pt x="54" y="205"/>
                      </a:cubicBezTo>
                      <a:cubicBezTo>
                        <a:pt x="54" y="197"/>
                        <a:pt x="54" y="197"/>
                        <a:pt x="47" y="197"/>
                      </a:cubicBezTo>
                      <a:cubicBezTo>
                        <a:pt x="31" y="190"/>
                        <a:pt x="23" y="182"/>
                        <a:pt x="23" y="166"/>
                      </a:cubicBezTo>
                      <a:cubicBezTo>
                        <a:pt x="23" y="158"/>
                        <a:pt x="23" y="158"/>
                        <a:pt x="39" y="150"/>
                      </a:cubicBezTo>
                      <a:cubicBezTo>
                        <a:pt x="47" y="142"/>
                        <a:pt x="47" y="134"/>
                        <a:pt x="39" y="110"/>
                      </a:cubicBezTo>
                      <a:cubicBezTo>
                        <a:pt x="31" y="95"/>
                        <a:pt x="31" y="79"/>
                        <a:pt x="39" y="71"/>
                      </a:cubicBezTo>
                      <a:cubicBezTo>
                        <a:pt x="54" y="47"/>
                        <a:pt x="70" y="47"/>
                        <a:pt x="78" y="47"/>
                      </a:cubicBezTo>
                      <a:cubicBezTo>
                        <a:pt x="86" y="47"/>
                        <a:pt x="197" y="55"/>
                        <a:pt x="363" y="55"/>
                      </a:cubicBezTo>
                      <a:cubicBezTo>
                        <a:pt x="742" y="55"/>
                        <a:pt x="1446" y="47"/>
                        <a:pt x="1865" y="0"/>
                      </a:cubicBezTo>
                      <a:cubicBezTo>
                        <a:pt x="1873" y="0"/>
                        <a:pt x="1873" y="0"/>
                        <a:pt x="1873" y="0"/>
                      </a:cubicBezTo>
                      <a:cubicBezTo>
                        <a:pt x="1873" y="8"/>
                        <a:pt x="1873" y="8"/>
                        <a:pt x="1873" y="8"/>
                      </a:cubicBezTo>
                      <a:cubicBezTo>
                        <a:pt x="1880" y="23"/>
                        <a:pt x="1889" y="39"/>
                        <a:pt x="1896" y="55"/>
                      </a:cubicBezTo>
                      <a:cubicBezTo>
                        <a:pt x="1896" y="71"/>
                        <a:pt x="1904" y="71"/>
                        <a:pt x="1912" y="79"/>
                      </a:cubicBezTo>
                      <a:cubicBezTo>
                        <a:pt x="1928" y="87"/>
                        <a:pt x="1944" y="95"/>
                        <a:pt x="1928" y="126"/>
                      </a:cubicBezTo>
                      <a:cubicBezTo>
                        <a:pt x="1920" y="166"/>
                        <a:pt x="1920" y="174"/>
                        <a:pt x="1912" y="190"/>
                      </a:cubicBezTo>
                      <a:cubicBezTo>
                        <a:pt x="1912" y="205"/>
                        <a:pt x="1912" y="221"/>
                        <a:pt x="1912" y="245"/>
                      </a:cubicBezTo>
                      <a:cubicBezTo>
                        <a:pt x="1904" y="284"/>
                        <a:pt x="1912" y="284"/>
                        <a:pt x="1928" y="284"/>
                      </a:cubicBezTo>
                      <a:cubicBezTo>
                        <a:pt x="1936" y="292"/>
                        <a:pt x="1944" y="292"/>
                        <a:pt x="1952" y="308"/>
                      </a:cubicBezTo>
                      <a:cubicBezTo>
                        <a:pt x="1952" y="324"/>
                        <a:pt x="1944" y="340"/>
                        <a:pt x="1936" y="348"/>
                      </a:cubicBezTo>
                      <a:cubicBezTo>
                        <a:pt x="1928" y="356"/>
                        <a:pt x="1920" y="363"/>
                        <a:pt x="1928" y="371"/>
                      </a:cubicBezTo>
                      <a:cubicBezTo>
                        <a:pt x="1928" y="379"/>
                        <a:pt x="1952" y="379"/>
                        <a:pt x="1983" y="379"/>
                      </a:cubicBezTo>
                      <a:cubicBezTo>
                        <a:pt x="2086" y="387"/>
                        <a:pt x="2102" y="443"/>
                        <a:pt x="2110" y="474"/>
                      </a:cubicBezTo>
                      <a:lnTo>
                        <a:pt x="2110" y="474"/>
                      </a:lnTo>
                      <a:cubicBezTo>
                        <a:pt x="2118" y="482"/>
                        <a:pt x="2134" y="498"/>
                        <a:pt x="2149" y="514"/>
                      </a:cubicBezTo>
                      <a:cubicBezTo>
                        <a:pt x="2173" y="537"/>
                        <a:pt x="2205" y="561"/>
                        <a:pt x="2205" y="585"/>
                      </a:cubicBezTo>
                      <a:cubicBezTo>
                        <a:pt x="2205" y="609"/>
                        <a:pt x="2229" y="616"/>
                        <a:pt x="2252" y="632"/>
                      </a:cubicBezTo>
                      <a:cubicBezTo>
                        <a:pt x="2260" y="632"/>
                        <a:pt x="2276" y="640"/>
                        <a:pt x="2284" y="648"/>
                      </a:cubicBezTo>
                      <a:cubicBezTo>
                        <a:pt x="2300" y="664"/>
                        <a:pt x="2307" y="743"/>
                        <a:pt x="2284" y="782"/>
                      </a:cubicBezTo>
                      <a:cubicBezTo>
                        <a:pt x="2284" y="798"/>
                        <a:pt x="2268" y="806"/>
                        <a:pt x="2260" y="814"/>
                      </a:cubicBezTo>
                      <a:cubicBezTo>
                        <a:pt x="2252" y="822"/>
                        <a:pt x="2236" y="830"/>
                        <a:pt x="2236" y="869"/>
                      </a:cubicBezTo>
                      <a:cubicBezTo>
                        <a:pt x="2236" y="909"/>
                        <a:pt x="2220" y="925"/>
                        <a:pt x="2197" y="933"/>
                      </a:cubicBezTo>
                      <a:cubicBezTo>
                        <a:pt x="2189" y="933"/>
                        <a:pt x="2181" y="933"/>
                        <a:pt x="2181" y="940"/>
                      </a:cubicBezTo>
                      <a:cubicBezTo>
                        <a:pt x="2165" y="949"/>
                        <a:pt x="2157" y="949"/>
                        <a:pt x="2149" y="949"/>
                      </a:cubicBezTo>
                      <a:cubicBezTo>
                        <a:pt x="2134" y="956"/>
                        <a:pt x="2126" y="964"/>
                        <a:pt x="2110" y="980"/>
                      </a:cubicBezTo>
                      <a:cubicBezTo>
                        <a:pt x="2094" y="988"/>
                        <a:pt x="2078" y="996"/>
                        <a:pt x="2062" y="996"/>
                      </a:cubicBezTo>
                      <a:cubicBezTo>
                        <a:pt x="2062" y="996"/>
                        <a:pt x="2054" y="988"/>
                        <a:pt x="2047" y="988"/>
                      </a:cubicBezTo>
                      <a:cubicBezTo>
                        <a:pt x="2039" y="988"/>
                        <a:pt x="2031" y="988"/>
                        <a:pt x="2023" y="988"/>
                      </a:cubicBezTo>
                      <a:cubicBezTo>
                        <a:pt x="2007" y="988"/>
                        <a:pt x="1999" y="988"/>
                        <a:pt x="1999" y="996"/>
                      </a:cubicBezTo>
                      <a:cubicBezTo>
                        <a:pt x="1991" y="996"/>
                        <a:pt x="1983" y="996"/>
                        <a:pt x="1983" y="1004"/>
                      </a:cubicBezTo>
                      <a:cubicBezTo>
                        <a:pt x="1976" y="1012"/>
                        <a:pt x="1983" y="1027"/>
                        <a:pt x="1983" y="1051"/>
                      </a:cubicBezTo>
                      <a:cubicBezTo>
                        <a:pt x="1991" y="1059"/>
                        <a:pt x="1991" y="1075"/>
                        <a:pt x="1991" y="1083"/>
                      </a:cubicBezTo>
                      <a:cubicBezTo>
                        <a:pt x="1991" y="1099"/>
                        <a:pt x="1999" y="1107"/>
                        <a:pt x="2015" y="1114"/>
                      </a:cubicBezTo>
                      <a:cubicBezTo>
                        <a:pt x="2023" y="1122"/>
                        <a:pt x="2039" y="1130"/>
                        <a:pt x="2039" y="1138"/>
                      </a:cubicBezTo>
                      <a:cubicBezTo>
                        <a:pt x="2047" y="1170"/>
                        <a:pt x="2023" y="1233"/>
                        <a:pt x="1999" y="1249"/>
                      </a:cubicBezTo>
                      <a:cubicBezTo>
                        <a:pt x="1991" y="1257"/>
                        <a:pt x="1991" y="1265"/>
                        <a:pt x="1991" y="1273"/>
                      </a:cubicBezTo>
                      <a:cubicBezTo>
                        <a:pt x="1991" y="1280"/>
                        <a:pt x="1999" y="1296"/>
                        <a:pt x="1999" y="1312"/>
                      </a:cubicBezTo>
                      <a:cubicBezTo>
                        <a:pt x="1999" y="1344"/>
                        <a:pt x="1944" y="1367"/>
                        <a:pt x="1912" y="1383"/>
                      </a:cubicBezTo>
                      <a:cubicBezTo>
                        <a:pt x="1904" y="1383"/>
                        <a:pt x="1896" y="1391"/>
                        <a:pt x="1889" y="1391"/>
                      </a:cubicBezTo>
                      <a:cubicBezTo>
                        <a:pt x="1880" y="1399"/>
                        <a:pt x="1880" y="1399"/>
                        <a:pt x="1880" y="1399"/>
                      </a:cubicBezTo>
                      <a:cubicBezTo>
                        <a:pt x="1880" y="1399"/>
                        <a:pt x="1880" y="1407"/>
                        <a:pt x="1889" y="1407"/>
                      </a:cubicBezTo>
                      <a:cubicBezTo>
                        <a:pt x="1889" y="1415"/>
                        <a:pt x="1896" y="1415"/>
                        <a:pt x="1896" y="1423"/>
                      </a:cubicBezTo>
                      <a:cubicBezTo>
                        <a:pt x="1904" y="1439"/>
                        <a:pt x="1912" y="1462"/>
                        <a:pt x="1880" y="1486"/>
                      </a:cubicBezTo>
                      <a:cubicBezTo>
                        <a:pt x="1880" y="1494"/>
                        <a:pt x="1880" y="1494"/>
                        <a:pt x="1880" y="1494"/>
                      </a:cubicBezTo>
                      <a:lnTo>
                        <a:pt x="1880" y="1494"/>
                      </a:lnTo>
                      <a:lnTo>
                        <a:pt x="1762" y="1367"/>
                      </a:lnTo>
                      <a:lnTo>
                        <a:pt x="1762" y="1367"/>
                      </a:lnTo>
                      <a:cubicBezTo>
                        <a:pt x="1770" y="1367"/>
                        <a:pt x="1778" y="1375"/>
                        <a:pt x="1786" y="1391"/>
                      </a:cubicBezTo>
                      <a:cubicBezTo>
                        <a:pt x="1802" y="1407"/>
                        <a:pt x="1849" y="1454"/>
                        <a:pt x="1880" y="1486"/>
                      </a:cubicBezTo>
                      <a:cubicBezTo>
                        <a:pt x="1896" y="1462"/>
                        <a:pt x="1904" y="1446"/>
                        <a:pt x="1896" y="1431"/>
                      </a:cubicBezTo>
                      <a:cubicBezTo>
                        <a:pt x="1889" y="1423"/>
                        <a:pt x="1889" y="1415"/>
                        <a:pt x="1880" y="1415"/>
                      </a:cubicBezTo>
                      <a:cubicBezTo>
                        <a:pt x="1873" y="1407"/>
                        <a:pt x="1873" y="1407"/>
                        <a:pt x="1873" y="1399"/>
                      </a:cubicBezTo>
                      <a:cubicBezTo>
                        <a:pt x="1873" y="1391"/>
                        <a:pt x="1873" y="1391"/>
                        <a:pt x="1880" y="1383"/>
                      </a:cubicBezTo>
                      <a:cubicBezTo>
                        <a:pt x="1889" y="1383"/>
                        <a:pt x="1896" y="1375"/>
                        <a:pt x="1904" y="1375"/>
                      </a:cubicBezTo>
                      <a:cubicBezTo>
                        <a:pt x="1944" y="1360"/>
                        <a:pt x="1991" y="1344"/>
                        <a:pt x="1991" y="1312"/>
                      </a:cubicBezTo>
                      <a:cubicBezTo>
                        <a:pt x="1991" y="1296"/>
                        <a:pt x="1991" y="1288"/>
                        <a:pt x="1983" y="1280"/>
                      </a:cubicBezTo>
                      <a:cubicBezTo>
                        <a:pt x="1983" y="1265"/>
                        <a:pt x="1983" y="1257"/>
                        <a:pt x="1999" y="1241"/>
                      </a:cubicBezTo>
                      <a:cubicBezTo>
                        <a:pt x="2015" y="1233"/>
                        <a:pt x="2039" y="1170"/>
                        <a:pt x="2031" y="1146"/>
                      </a:cubicBezTo>
                      <a:cubicBezTo>
                        <a:pt x="2031" y="1130"/>
                        <a:pt x="2023" y="1122"/>
                        <a:pt x="2007" y="1114"/>
                      </a:cubicBezTo>
                      <a:cubicBezTo>
                        <a:pt x="1999" y="1107"/>
                        <a:pt x="1983" y="1099"/>
                        <a:pt x="1983" y="1083"/>
                      </a:cubicBezTo>
                      <a:cubicBezTo>
                        <a:pt x="1983" y="1075"/>
                        <a:pt x="1983" y="1059"/>
                        <a:pt x="1976" y="1051"/>
                      </a:cubicBezTo>
                      <a:cubicBezTo>
                        <a:pt x="1976" y="1027"/>
                        <a:pt x="1967" y="1012"/>
                        <a:pt x="1976" y="996"/>
                      </a:cubicBezTo>
                      <a:cubicBezTo>
                        <a:pt x="1976" y="988"/>
                        <a:pt x="1983" y="988"/>
                        <a:pt x="1991" y="988"/>
                      </a:cubicBezTo>
                      <a:cubicBezTo>
                        <a:pt x="1999" y="980"/>
                        <a:pt x="2007" y="980"/>
                        <a:pt x="2023" y="980"/>
                      </a:cubicBezTo>
                      <a:cubicBezTo>
                        <a:pt x="2031" y="980"/>
                        <a:pt x="2039" y="980"/>
                        <a:pt x="2047" y="988"/>
                      </a:cubicBezTo>
                      <a:cubicBezTo>
                        <a:pt x="2054" y="988"/>
                        <a:pt x="2062" y="988"/>
                        <a:pt x="2062" y="988"/>
                      </a:cubicBezTo>
                      <a:cubicBezTo>
                        <a:pt x="2086" y="988"/>
                        <a:pt x="2094" y="980"/>
                        <a:pt x="2102" y="972"/>
                      </a:cubicBezTo>
                      <a:cubicBezTo>
                        <a:pt x="2118" y="956"/>
                        <a:pt x="2134" y="949"/>
                        <a:pt x="2149" y="949"/>
                      </a:cubicBezTo>
                      <a:cubicBezTo>
                        <a:pt x="2157" y="940"/>
                        <a:pt x="2165" y="940"/>
                        <a:pt x="2173" y="933"/>
                      </a:cubicBezTo>
                      <a:cubicBezTo>
                        <a:pt x="2181" y="933"/>
                        <a:pt x="2189" y="925"/>
                        <a:pt x="2189" y="925"/>
                      </a:cubicBezTo>
                      <a:cubicBezTo>
                        <a:pt x="2213" y="917"/>
                        <a:pt x="2229" y="909"/>
                        <a:pt x="2229" y="869"/>
                      </a:cubicBezTo>
                      <a:cubicBezTo>
                        <a:pt x="2229" y="830"/>
                        <a:pt x="2244" y="822"/>
                        <a:pt x="2260" y="806"/>
                      </a:cubicBezTo>
                      <a:cubicBezTo>
                        <a:pt x="2268" y="798"/>
                        <a:pt x="2276" y="790"/>
                        <a:pt x="2284" y="782"/>
                      </a:cubicBezTo>
                      <a:cubicBezTo>
                        <a:pt x="2300" y="743"/>
                        <a:pt x="2292" y="664"/>
                        <a:pt x="2276" y="648"/>
                      </a:cubicBezTo>
                      <a:cubicBezTo>
                        <a:pt x="2268" y="648"/>
                        <a:pt x="2260" y="640"/>
                        <a:pt x="2252" y="640"/>
                      </a:cubicBezTo>
                      <a:cubicBezTo>
                        <a:pt x="2229" y="624"/>
                        <a:pt x="2197" y="609"/>
                        <a:pt x="2197" y="585"/>
                      </a:cubicBezTo>
                      <a:cubicBezTo>
                        <a:pt x="2197" y="569"/>
                        <a:pt x="2165" y="537"/>
                        <a:pt x="2142" y="514"/>
                      </a:cubicBezTo>
                      <a:cubicBezTo>
                        <a:pt x="2126" y="498"/>
                        <a:pt x="2110" y="490"/>
                        <a:pt x="2110" y="482"/>
                      </a:cubicBezTo>
                      <a:cubicBezTo>
                        <a:pt x="2102" y="474"/>
                        <a:pt x="2102" y="474"/>
                        <a:pt x="2102" y="474"/>
                      </a:cubicBezTo>
                      <a:cubicBezTo>
                        <a:pt x="2094" y="450"/>
                        <a:pt x="2086" y="387"/>
                        <a:pt x="1983" y="387"/>
                      </a:cubicBezTo>
                      <a:cubicBezTo>
                        <a:pt x="1944" y="387"/>
                        <a:pt x="1928" y="387"/>
                        <a:pt x="1920" y="371"/>
                      </a:cubicBezTo>
                      <a:cubicBezTo>
                        <a:pt x="1912" y="363"/>
                        <a:pt x="1920" y="356"/>
                        <a:pt x="1928" y="348"/>
                      </a:cubicBezTo>
                      <a:cubicBezTo>
                        <a:pt x="1936" y="340"/>
                        <a:pt x="1944" y="324"/>
                        <a:pt x="1944" y="308"/>
                      </a:cubicBezTo>
                      <a:cubicBezTo>
                        <a:pt x="1936" y="300"/>
                        <a:pt x="1936" y="300"/>
                        <a:pt x="1920" y="292"/>
                      </a:cubicBezTo>
                      <a:cubicBezTo>
                        <a:pt x="1904" y="292"/>
                        <a:pt x="1896" y="284"/>
                        <a:pt x="1904" y="245"/>
                      </a:cubicBezTo>
                      <a:cubicBezTo>
                        <a:pt x="1904" y="221"/>
                        <a:pt x="1904" y="205"/>
                        <a:pt x="1904" y="190"/>
                      </a:cubicBezTo>
                      <a:cubicBezTo>
                        <a:pt x="1912" y="174"/>
                        <a:pt x="1912" y="166"/>
                        <a:pt x="1920" y="126"/>
                      </a:cubicBezTo>
                      <a:cubicBezTo>
                        <a:pt x="1936" y="95"/>
                        <a:pt x="1920" y="95"/>
                        <a:pt x="1912" y="87"/>
                      </a:cubicBezTo>
                      <a:cubicBezTo>
                        <a:pt x="1904" y="79"/>
                        <a:pt x="1889" y="71"/>
                        <a:pt x="1889" y="55"/>
                      </a:cubicBezTo>
                      <a:cubicBezTo>
                        <a:pt x="1889" y="39"/>
                        <a:pt x="1880" y="32"/>
                        <a:pt x="1873" y="8"/>
                      </a:cubicBezTo>
                      <a:cubicBezTo>
                        <a:pt x="1865" y="8"/>
                        <a:pt x="1865" y="8"/>
                        <a:pt x="1865" y="8"/>
                      </a:cubicBezTo>
                      <a:cubicBezTo>
                        <a:pt x="1446" y="55"/>
                        <a:pt x="742" y="63"/>
                        <a:pt x="363" y="63"/>
                      </a:cubicBezTo>
                      <a:cubicBezTo>
                        <a:pt x="189" y="63"/>
                        <a:pt x="78" y="55"/>
                        <a:pt x="78" y="55"/>
                      </a:cubicBezTo>
                      <a:cubicBezTo>
                        <a:pt x="70" y="55"/>
                        <a:pt x="70" y="55"/>
                        <a:pt x="70" y="55"/>
                      </a:cubicBezTo>
                      <a:lnTo>
                        <a:pt x="70" y="55"/>
                      </a:lnTo>
                      <a:cubicBezTo>
                        <a:pt x="62" y="55"/>
                        <a:pt x="54" y="63"/>
                        <a:pt x="47" y="71"/>
                      </a:cubicBezTo>
                      <a:cubicBezTo>
                        <a:pt x="39" y="87"/>
                        <a:pt x="39" y="95"/>
                        <a:pt x="47" y="110"/>
                      </a:cubicBezTo>
                      <a:cubicBezTo>
                        <a:pt x="54" y="126"/>
                        <a:pt x="54" y="142"/>
                        <a:pt x="39" y="158"/>
                      </a:cubicBezTo>
                      <a:cubicBezTo>
                        <a:pt x="31" y="158"/>
                        <a:pt x="31" y="166"/>
                        <a:pt x="31" y="166"/>
                      </a:cubicBezTo>
                      <a:cubicBezTo>
                        <a:pt x="31" y="174"/>
                        <a:pt x="39" y="182"/>
                        <a:pt x="54" y="190"/>
                      </a:cubicBezTo>
                      <a:cubicBezTo>
                        <a:pt x="54" y="190"/>
                        <a:pt x="54" y="197"/>
                        <a:pt x="62" y="197"/>
                      </a:cubicBezTo>
                      <a:lnTo>
                        <a:pt x="62" y="197"/>
                      </a:lnTo>
                      <a:cubicBezTo>
                        <a:pt x="78" y="213"/>
                        <a:pt x="94" y="213"/>
                        <a:pt x="94" y="229"/>
                      </a:cubicBezTo>
                      <a:cubicBezTo>
                        <a:pt x="94" y="237"/>
                        <a:pt x="94" y="237"/>
                        <a:pt x="86" y="245"/>
                      </a:cubicBezTo>
                      <a:cubicBezTo>
                        <a:pt x="78" y="261"/>
                        <a:pt x="78" y="261"/>
                        <a:pt x="78" y="276"/>
                      </a:cubicBezTo>
                      <a:cubicBezTo>
                        <a:pt x="78" y="284"/>
                        <a:pt x="78" y="292"/>
                        <a:pt x="78" y="316"/>
                      </a:cubicBezTo>
                      <a:cubicBezTo>
                        <a:pt x="70" y="348"/>
                        <a:pt x="54" y="356"/>
                        <a:pt x="47" y="363"/>
                      </a:cubicBezTo>
                      <a:cubicBezTo>
                        <a:pt x="31" y="371"/>
                        <a:pt x="23" y="379"/>
                        <a:pt x="16" y="403"/>
                      </a:cubicBezTo>
                      <a:cubicBezTo>
                        <a:pt x="8" y="419"/>
                        <a:pt x="16" y="427"/>
                        <a:pt x="31" y="434"/>
                      </a:cubicBezTo>
                      <a:cubicBezTo>
                        <a:pt x="39" y="443"/>
                        <a:pt x="54" y="450"/>
                        <a:pt x="70" y="474"/>
                      </a:cubicBezTo>
                      <a:cubicBezTo>
                        <a:pt x="86" y="514"/>
                        <a:pt x="94" y="537"/>
                        <a:pt x="102" y="561"/>
                      </a:cubicBezTo>
                      <a:cubicBezTo>
                        <a:pt x="102" y="569"/>
                        <a:pt x="110" y="577"/>
                        <a:pt x="110" y="585"/>
                      </a:cubicBezTo>
                      <a:cubicBezTo>
                        <a:pt x="118" y="593"/>
                        <a:pt x="118" y="601"/>
                        <a:pt x="118" y="616"/>
                      </a:cubicBezTo>
                      <a:cubicBezTo>
                        <a:pt x="118" y="624"/>
                        <a:pt x="118" y="640"/>
                        <a:pt x="126" y="664"/>
                      </a:cubicBezTo>
                      <a:cubicBezTo>
                        <a:pt x="133" y="672"/>
                        <a:pt x="133" y="680"/>
                        <a:pt x="141" y="687"/>
                      </a:cubicBezTo>
                      <a:cubicBezTo>
                        <a:pt x="141" y="703"/>
                        <a:pt x="149" y="711"/>
                        <a:pt x="157" y="727"/>
                      </a:cubicBezTo>
                      <a:cubicBezTo>
                        <a:pt x="165" y="743"/>
                        <a:pt x="173" y="759"/>
                        <a:pt x="173" y="767"/>
                      </a:cubicBezTo>
                      <a:cubicBezTo>
                        <a:pt x="181" y="782"/>
                        <a:pt x="181" y="798"/>
                        <a:pt x="197" y="822"/>
                      </a:cubicBezTo>
                      <a:cubicBezTo>
                        <a:pt x="220" y="846"/>
                        <a:pt x="213" y="917"/>
                        <a:pt x="213" y="956"/>
                      </a:cubicBezTo>
                      <a:cubicBezTo>
                        <a:pt x="213" y="964"/>
                        <a:pt x="213" y="964"/>
                        <a:pt x="213" y="972"/>
                      </a:cubicBezTo>
                      <a:cubicBezTo>
                        <a:pt x="213" y="980"/>
                        <a:pt x="213" y="988"/>
                        <a:pt x="220" y="988"/>
                      </a:cubicBezTo>
                      <a:lnTo>
                        <a:pt x="228" y="980"/>
                      </a:lnTo>
                      <a:lnTo>
                        <a:pt x="236" y="980"/>
                      </a:lnTo>
                      <a:cubicBezTo>
                        <a:pt x="252" y="980"/>
                        <a:pt x="268" y="1012"/>
                        <a:pt x="268" y="1012"/>
                      </a:cubicBezTo>
                      <a:lnTo>
                        <a:pt x="268" y="1012"/>
                      </a:lnTo>
                      <a:cubicBezTo>
                        <a:pt x="268" y="1012"/>
                        <a:pt x="268" y="1035"/>
                        <a:pt x="268" y="1051"/>
                      </a:cubicBezTo>
                      <a:cubicBezTo>
                        <a:pt x="260" y="1059"/>
                        <a:pt x="268" y="1059"/>
                        <a:pt x="276" y="1067"/>
                      </a:cubicBezTo>
                      <a:cubicBezTo>
                        <a:pt x="284" y="1067"/>
                        <a:pt x="292" y="1075"/>
                        <a:pt x="292" y="1083"/>
                      </a:cubicBezTo>
                      <a:cubicBezTo>
                        <a:pt x="284" y="1107"/>
                        <a:pt x="284" y="1122"/>
                        <a:pt x="292" y="1130"/>
                      </a:cubicBezTo>
                      <a:cubicBezTo>
                        <a:pt x="307" y="1138"/>
                        <a:pt x="307" y="1170"/>
                        <a:pt x="292" y="1193"/>
                      </a:cubicBezTo>
                      <a:cubicBezTo>
                        <a:pt x="284" y="1217"/>
                        <a:pt x="284" y="1217"/>
                        <a:pt x="300" y="1233"/>
                      </a:cubicBezTo>
                      <a:cubicBezTo>
                        <a:pt x="307" y="1241"/>
                        <a:pt x="307" y="1241"/>
                        <a:pt x="315" y="1249"/>
                      </a:cubicBezTo>
                      <a:cubicBezTo>
                        <a:pt x="331" y="1273"/>
                        <a:pt x="315" y="1320"/>
                        <a:pt x="307" y="1351"/>
                      </a:cubicBezTo>
                      <a:cubicBezTo>
                        <a:pt x="300" y="1367"/>
                        <a:pt x="300" y="1383"/>
                        <a:pt x="300" y="1391"/>
                      </a:cubicBezTo>
                      <a:cubicBezTo>
                        <a:pt x="300" y="1399"/>
                        <a:pt x="300" y="1399"/>
                        <a:pt x="300" y="1399"/>
                      </a:cubicBezTo>
                      <a:cubicBezTo>
                        <a:pt x="307" y="1399"/>
                        <a:pt x="307" y="1399"/>
                        <a:pt x="307" y="1399"/>
                      </a:cubicBezTo>
                      <a:cubicBezTo>
                        <a:pt x="315" y="1399"/>
                        <a:pt x="315" y="1399"/>
                        <a:pt x="323" y="1399"/>
                      </a:cubicBezTo>
                      <a:cubicBezTo>
                        <a:pt x="331" y="1399"/>
                        <a:pt x="339" y="1407"/>
                        <a:pt x="339" y="1423"/>
                      </a:cubicBezTo>
                      <a:cubicBezTo>
                        <a:pt x="339" y="1431"/>
                        <a:pt x="339" y="1431"/>
                        <a:pt x="339" y="1439"/>
                      </a:cubicBezTo>
                      <a:cubicBezTo>
                        <a:pt x="466" y="1439"/>
                        <a:pt x="1430" y="1423"/>
                        <a:pt x="1754" y="1367"/>
                      </a:cubicBezTo>
                      <a:lnTo>
                        <a:pt x="1762" y="1367"/>
                      </a:lnTo>
                      <a:lnTo>
                        <a:pt x="1880" y="1494"/>
                      </a:ln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6" name="Freeform 512">
                  <a:extLst>
                    <a:ext uri="{FF2B5EF4-FFF2-40B4-BE49-F238E27FC236}">
                      <a16:creationId xmlns:a16="http://schemas.microsoft.com/office/drawing/2014/main" id="{5AB92532-680C-0645-8B62-3BC78C0279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59013" y="6755138"/>
                  <a:ext cx="985706" cy="902209"/>
                </a:xfrm>
                <a:custGeom>
                  <a:avLst/>
                  <a:gdLst>
                    <a:gd name="T0" fmla="*/ 1644 w 1874"/>
                    <a:gd name="T1" fmla="*/ 198 h 1717"/>
                    <a:gd name="T2" fmla="*/ 1644 w 1874"/>
                    <a:gd name="T3" fmla="*/ 198 h 1717"/>
                    <a:gd name="T4" fmla="*/ 1715 w 1874"/>
                    <a:gd name="T5" fmla="*/ 79 h 1717"/>
                    <a:gd name="T6" fmla="*/ 1644 w 1874"/>
                    <a:gd name="T7" fmla="*/ 0 h 1717"/>
                    <a:gd name="T8" fmla="*/ 0 w 1874"/>
                    <a:gd name="T9" fmla="*/ 79 h 1717"/>
                    <a:gd name="T10" fmla="*/ 79 w 1874"/>
                    <a:gd name="T11" fmla="*/ 514 h 1717"/>
                    <a:gd name="T12" fmla="*/ 87 w 1874"/>
                    <a:gd name="T13" fmla="*/ 1399 h 1717"/>
                    <a:gd name="T14" fmla="*/ 94 w 1874"/>
                    <a:gd name="T15" fmla="*/ 1399 h 1717"/>
                    <a:gd name="T16" fmla="*/ 134 w 1874"/>
                    <a:gd name="T17" fmla="*/ 1463 h 1717"/>
                    <a:gd name="T18" fmla="*/ 166 w 1874"/>
                    <a:gd name="T19" fmla="*/ 1431 h 1717"/>
                    <a:gd name="T20" fmla="*/ 229 w 1874"/>
                    <a:gd name="T21" fmla="*/ 1439 h 1717"/>
                    <a:gd name="T22" fmla="*/ 269 w 1874"/>
                    <a:gd name="T23" fmla="*/ 1463 h 1717"/>
                    <a:gd name="T24" fmla="*/ 269 w 1874"/>
                    <a:gd name="T25" fmla="*/ 1716 h 1717"/>
                    <a:gd name="T26" fmla="*/ 1407 w 1874"/>
                    <a:gd name="T27" fmla="*/ 1684 h 1717"/>
                    <a:gd name="T28" fmla="*/ 1407 w 1874"/>
                    <a:gd name="T29" fmla="*/ 1668 h 1717"/>
                    <a:gd name="T30" fmla="*/ 1407 w 1874"/>
                    <a:gd name="T31" fmla="*/ 1613 h 1717"/>
                    <a:gd name="T32" fmla="*/ 1415 w 1874"/>
                    <a:gd name="T33" fmla="*/ 1557 h 1717"/>
                    <a:gd name="T34" fmla="*/ 1391 w 1874"/>
                    <a:gd name="T35" fmla="*/ 1494 h 1717"/>
                    <a:gd name="T36" fmla="*/ 1375 w 1874"/>
                    <a:gd name="T37" fmla="*/ 1431 h 1717"/>
                    <a:gd name="T38" fmla="*/ 1375 w 1874"/>
                    <a:gd name="T39" fmla="*/ 1360 h 1717"/>
                    <a:gd name="T40" fmla="*/ 1399 w 1874"/>
                    <a:gd name="T41" fmla="*/ 1297 h 1717"/>
                    <a:gd name="T42" fmla="*/ 1399 w 1874"/>
                    <a:gd name="T43" fmla="*/ 1218 h 1717"/>
                    <a:gd name="T44" fmla="*/ 1439 w 1874"/>
                    <a:gd name="T45" fmla="*/ 1186 h 1717"/>
                    <a:gd name="T46" fmla="*/ 1462 w 1874"/>
                    <a:gd name="T47" fmla="*/ 1154 h 1717"/>
                    <a:gd name="T48" fmla="*/ 1462 w 1874"/>
                    <a:gd name="T49" fmla="*/ 1123 h 1717"/>
                    <a:gd name="T50" fmla="*/ 1462 w 1874"/>
                    <a:gd name="T51" fmla="*/ 1083 h 1717"/>
                    <a:gd name="T52" fmla="*/ 1533 w 1874"/>
                    <a:gd name="T53" fmla="*/ 1020 h 1717"/>
                    <a:gd name="T54" fmla="*/ 1573 w 1874"/>
                    <a:gd name="T55" fmla="*/ 973 h 1717"/>
                    <a:gd name="T56" fmla="*/ 1589 w 1874"/>
                    <a:gd name="T57" fmla="*/ 901 h 1717"/>
                    <a:gd name="T58" fmla="*/ 1612 w 1874"/>
                    <a:gd name="T59" fmla="*/ 799 h 1717"/>
                    <a:gd name="T60" fmla="*/ 1660 w 1874"/>
                    <a:gd name="T61" fmla="*/ 767 h 1717"/>
                    <a:gd name="T62" fmla="*/ 1676 w 1874"/>
                    <a:gd name="T63" fmla="*/ 735 h 1717"/>
                    <a:gd name="T64" fmla="*/ 1699 w 1874"/>
                    <a:gd name="T65" fmla="*/ 688 h 1717"/>
                    <a:gd name="T66" fmla="*/ 1739 w 1874"/>
                    <a:gd name="T67" fmla="*/ 640 h 1717"/>
                    <a:gd name="T68" fmla="*/ 1778 w 1874"/>
                    <a:gd name="T69" fmla="*/ 585 h 1717"/>
                    <a:gd name="T70" fmla="*/ 1723 w 1874"/>
                    <a:gd name="T71" fmla="*/ 530 h 1717"/>
                    <a:gd name="T72" fmla="*/ 1747 w 1874"/>
                    <a:gd name="T73" fmla="*/ 474 h 1717"/>
                    <a:gd name="T74" fmla="*/ 1778 w 1874"/>
                    <a:gd name="T75" fmla="*/ 419 h 1717"/>
                    <a:gd name="T76" fmla="*/ 1802 w 1874"/>
                    <a:gd name="T77" fmla="*/ 396 h 1717"/>
                    <a:gd name="T78" fmla="*/ 1810 w 1874"/>
                    <a:gd name="T79" fmla="*/ 340 h 1717"/>
                    <a:gd name="T80" fmla="*/ 1873 w 1874"/>
                    <a:gd name="T81" fmla="*/ 229 h 1717"/>
                    <a:gd name="T82" fmla="*/ 1676 w 1874"/>
                    <a:gd name="T83" fmla="*/ 245 h 1717"/>
                    <a:gd name="T84" fmla="*/ 1644 w 1874"/>
                    <a:gd name="T85" fmla="*/ 198 h 17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74" h="1717">
                      <a:moveTo>
                        <a:pt x="1644" y="198"/>
                      </a:moveTo>
                      <a:lnTo>
                        <a:pt x="1644" y="198"/>
                      </a:lnTo>
                      <a:cubicBezTo>
                        <a:pt x="1668" y="166"/>
                        <a:pt x="1699" y="150"/>
                        <a:pt x="1715" y="79"/>
                      </a:cubicBezTo>
                      <a:cubicBezTo>
                        <a:pt x="1739" y="16"/>
                        <a:pt x="1644" y="0"/>
                        <a:pt x="1644" y="0"/>
                      </a:cubicBezTo>
                      <a:cubicBezTo>
                        <a:pt x="1383" y="32"/>
                        <a:pt x="213" y="71"/>
                        <a:pt x="0" y="79"/>
                      </a:cubicBezTo>
                      <a:cubicBezTo>
                        <a:pt x="16" y="198"/>
                        <a:pt x="39" y="348"/>
                        <a:pt x="79" y="514"/>
                      </a:cubicBezTo>
                      <a:cubicBezTo>
                        <a:pt x="87" y="1399"/>
                        <a:pt x="87" y="1399"/>
                        <a:pt x="87" y="1399"/>
                      </a:cubicBezTo>
                      <a:cubicBezTo>
                        <a:pt x="87" y="1399"/>
                        <a:pt x="87" y="1399"/>
                        <a:pt x="94" y="1399"/>
                      </a:cubicBezTo>
                      <a:cubicBezTo>
                        <a:pt x="126" y="1407"/>
                        <a:pt x="110" y="1447"/>
                        <a:pt x="134" y="1463"/>
                      </a:cubicBezTo>
                      <a:cubicBezTo>
                        <a:pt x="158" y="1486"/>
                        <a:pt x="150" y="1439"/>
                        <a:pt x="166" y="1431"/>
                      </a:cubicBezTo>
                      <a:cubicBezTo>
                        <a:pt x="174" y="1431"/>
                        <a:pt x="197" y="1439"/>
                        <a:pt x="229" y="1439"/>
                      </a:cubicBezTo>
                      <a:cubicBezTo>
                        <a:pt x="253" y="1439"/>
                        <a:pt x="269" y="1463"/>
                        <a:pt x="269" y="1463"/>
                      </a:cubicBezTo>
                      <a:cubicBezTo>
                        <a:pt x="269" y="1716"/>
                        <a:pt x="269" y="1716"/>
                        <a:pt x="269" y="1716"/>
                      </a:cubicBezTo>
                      <a:cubicBezTo>
                        <a:pt x="1407" y="1684"/>
                        <a:pt x="1407" y="1684"/>
                        <a:pt x="1407" y="1684"/>
                      </a:cubicBezTo>
                      <a:cubicBezTo>
                        <a:pt x="1407" y="1676"/>
                        <a:pt x="1407" y="1676"/>
                        <a:pt x="1407" y="1668"/>
                      </a:cubicBezTo>
                      <a:cubicBezTo>
                        <a:pt x="1391" y="1621"/>
                        <a:pt x="1423" y="1637"/>
                        <a:pt x="1407" y="1613"/>
                      </a:cubicBezTo>
                      <a:cubicBezTo>
                        <a:pt x="1399" y="1597"/>
                        <a:pt x="1407" y="1581"/>
                        <a:pt x="1415" y="1557"/>
                      </a:cubicBezTo>
                      <a:cubicBezTo>
                        <a:pt x="1423" y="1534"/>
                        <a:pt x="1415" y="1526"/>
                        <a:pt x="1391" y="1494"/>
                      </a:cubicBezTo>
                      <a:cubicBezTo>
                        <a:pt x="1367" y="1471"/>
                        <a:pt x="1359" y="1447"/>
                        <a:pt x="1375" y="1431"/>
                      </a:cubicBezTo>
                      <a:cubicBezTo>
                        <a:pt x="1391" y="1415"/>
                        <a:pt x="1375" y="1384"/>
                        <a:pt x="1375" y="1360"/>
                      </a:cubicBezTo>
                      <a:cubicBezTo>
                        <a:pt x="1375" y="1344"/>
                        <a:pt x="1375" y="1313"/>
                        <a:pt x="1399" y="1297"/>
                      </a:cubicBezTo>
                      <a:cubicBezTo>
                        <a:pt x="1430" y="1289"/>
                        <a:pt x="1407" y="1249"/>
                        <a:pt x="1399" y="1218"/>
                      </a:cubicBezTo>
                      <a:cubicBezTo>
                        <a:pt x="1399" y="1186"/>
                        <a:pt x="1415" y="1186"/>
                        <a:pt x="1439" y="1186"/>
                      </a:cubicBezTo>
                      <a:cubicBezTo>
                        <a:pt x="1462" y="1186"/>
                        <a:pt x="1470" y="1170"/>
                        <a:pt x="1462" y="1154"/>
                      </a:cubicBezTo>
                      <a:cubicBezTo>
                        <a:pt x="1454" y="1146"/>
                        <a:pt x="1454" y="1139"/>
                        <a:pt x="1462" y="1123"/>
                      </a:cubicBezTo>
                      <a:cubicBezTo>
                        <a:pt x="1478" y="1115"/>
                        <a:pt x="1470" y="1107"/>
                        <a:pt x="1462" y="1083"/>
                      </a:cubicBezTo>
                      <a:cubicBezTo>
                        <a:pt x="1462" y="1051"/>
                        <a:pt x="1502" y="1028"/>
                        <a:pt x="1533" y="1020"/>
                      </a:cubicBezTo>
                      <a:cubicBezTo>
                        <a:pt x="1565" y="1012"/>
                        <a:pt x="1573" y="996"/>
                        <a:pt x="1573" y="973"/>
                      </a:cubicBezTo>
                      <a:cubicBezTo>
                        <a:pt x="1573" y="941"/>
                        <a:pt x="1573" y="917"/>
                        <a:pt x="1589" y="901"/>
                      </a:cubicBezTo>
                      <a:cubicBezTo>
                        <a:pt x="1604" y="886"/>
                        <a:pt x="1612" y="830"/>
                        <a:pt x="1612" y="799"/>
                      </a:cubicBezTo>
                      <a:cubicBezTo>
                        <a:pt x="1620" y="767"/>
                        <a:pt x="1644" y="767"/>
                        <a:pt x="1660" y="767"/>
                      </a:cubicBezTo>
                      <a:cubicBezTo>
                        <a:pt x="1676" y="759"/>
                        <a:pt x="1676" y="767"/>
                        <a:pt x="1676" y="735"/>
                      </a:cubicBezTo>
                      <a:cubicBezTo>
                        <a:pt x="1676" y="696"/>
                        <a:pt x="1699" y="688"/>
                        <a:pt x="1699" y="688"/>
                      </a:cubicBezTo>
                      <a:cubicBezTo>
                        <a:pt x="1699" y="688"/>
                        <a:pt x="1707" y="656"/>
                        <a:pt x="1739" y="640"/>
                      </a:cubicBezTo>
                      <a:cubicBezTo>
                        <a:pt x="1763" y="625"/>
                        <a:pt x="1786" y="633"/>
                        <a:pt x="1778" y="585"/>
                      </a:cubicBezTo>
                      <a:cubicBezTo>
                        <a:pt x="1763" y="538"/>
                        <a:pt x="1723" y="554"/>
                        <a:pt x="1723" y="530"/>
                      </a:cubicBezTo>
                      <a:cubicBezTo>
                        <a:pt x="1723" y="506"/>
                        <a:pt x="1715" y="490"/>
                        <a:pt x="1747" y="474"/>
                      </a:cubicBezTo>
                      <a:cubicBezTo>
                        <a:pt x="1770" y="467"/>
                        <a:pt x="1770" y="443"/>
                        <a:pt x="1778" y="419"/>
                      </a:cubicBezTo>
                      <a:cubicBezTo>
                        <a:pt x="1778" y="396"/>
                        <a:pt x="1786" y="411"/>
                        <a:pt x="1802" y="396"/>
                      </a:cubicBezTo>
                      <a:cubicBezTo>
                        <a:pt x="1818" y="380"/>
                        <a:pt x="1778" y="348"/>
                        <a:pt x="1810" y="340"/>
                      </a:cubicBezTo>
                      <a:cubicBezTo>
                        <a:pt x="1842" y="332"/>
                        <a:pt x="1873" y="261"/>
                        <a:pt x="1873" y="229"/>
                      </a:cubicBezTo>
                      <a:cubicBezTo>
                        <a:pt x="1810" y="229"/>
                        <a:pt x="1707" y="237"/>
                        <a:pt x="1676" y="245"/>
                      </a:cubicBezTo>
                      <a:cubicBezTo>
                        <a:pt x="1628" y="253"/>
                        <a:pt x="1628" y="229"/>
                        <a:pt x="1644" y="19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7" name="Freeform 513">
                  <a:extLst>
                    <a:ext uri="{FF2B5EF4-FFF2-40B4-BE49-F238E27FC236}">
                      <a16:creationId xmlns:a16="http://schemas.microsoft.com/office/drawing/2014/main" id="{93F3C980-5A8A-9549-BA0E-58F25E598C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59013" y="6750499"/>
                  <a:ext cx="985706" cy="906848"/>
                </a:xfrm>
                <a:custGeom>
                  <a:avLst/>
                  <a:gdLst>
                    <a:gd name="T0" fmla="*/ 260 w 1874"/>
                    <a:gd name="T1" fmla="*/ 1471 h 1725"/>
                    <a:gd name="T2" fmla="*/ 166 w 1874"/>
                    <a:gd name="T3" fmla="*/ 1447 h 1725"/>
                    <a:gd name="T4" fmla="*/ 126 w 1874"/>
                    <a:gd name="T5" fmla="*/ 1479 h 1725"/>
                    <a:gd name="T6" fmla="*/ 87 w 1874"/>
                    <a:gd name="T7" fmla="*/ 1415 h 1725"/>
                    <a:gd name="T8" fmla="*/ 79 w 1874"/>
                    <a:gd name="T9" fmla="*/ 522 h 1725"/>
                    <a:gd name="T10" fmla="*/ 0 w 1874"/>
                    <a:gd name="T11" fmla="*/ 87 h 1725"/>
                    <a:gd name="T12" fmla="*/ 1644 w 1874"/>
                    <a:gd name="T13" fmla="*/ 0 h 1725"/>
                    <a:gd name="T14" fmla="*/ 1668 w 1874"/>
                    <a:gd name="T15" fmla="*/ 182 h 1725"/>
                    <a:gd name="T16" fmla="*/ 1676 w 1874"/>
                    <a:gd name="T17" fmla="*/ 245 h 1725"/>
                    <a:gd name="T18" fmla="*/ 1873 w 1874"/>
                    <a:gd name="T19" fmla="*/ 237 h 1725"/>
                    <a:gd name="T20" fmla="*/ 1802 w 1874"/>
                    <a:gd name="T21" fmla="*/ 372 h 1725"/>
                    <a:gd name="T22" fmla="*/ 1778 w 1874"/>
                    <a:gd name="T23" fmla="*/ 427 h 1725"/>
                    <a:gd name="T24" fmla="*/ 1731 w 1874"/>
                    <a:gd name="T25" fmla="*/ 522 h 1725"/>
                    <a:gd name="T26" fmla="*/ 1778 w 1874"/>
                    <a:gd name="T27" fmla="*/ 593 h 1725"/>
                    <a:gd name="T28" fmla="*/ 1699 w 1874"/>
                    <a:gd name="T29" fmla="*/ 696 h 1725"/>
                    <a:gd name="T30" fmla="*/ 1683 w 1874"/>
                    <a:gd name="T31" fmla="*/ 743 h 1725"/>
                    <a:gd name="T32" fmla="*/ 1652 w 1874"/>
                    <a:gd name="T33" fmla="*/ 775 h 1725"/>
                    <a:gd name="T34" fmla="*/ 1589 w 1874"/>
                    <a:gd name="T35" fmla="*/ 909 h 1725"/>
                    <a:gd name="T36" fmla="*/ 1470 w 1874"/>
                    <a:gd name="T37" fmla="*/ 1083 h 1725"/>
                    <a:gd name="T38" fmla="*/ 1462 w 1874"/>
                    <a:gd name="T39" fmla="*/ 1154 h 1725"/>
                    <a:gd name="T40" fmla="*/ 1439 w 1874"/>
                    <a:gd name="T41" fmla="*/ 1202 h 1725"/>
                    <a:gd name="T42" fmla="*/ 1407 w 1874"/>
                    <a:gd name="T43" fmla="*/ 1226 h 1725"/>
                    <a:gd name="T44" fmla="*/ 1375 w 1874"/>
                    <a:gd name="T45" fmla="*/ 1368 h 1725"/>
                    <a:gd name="T46" fmla="*/ 1391 w 1874"/>
                    <a:gd name="T47" fmla="*/ 1502 h 1725"/>
                    <a:gd name="T48" fmla="*/ 1415 w 1874"/>
                    <a:gd name="T49" fmla="*/ 1581 h 1725"/>
                    <a:gd name="T50" fmla="*/ 1407 w 1874"/>
                    <a:gd name="T51" fmla="*/ 1676 h 1725"/>
                    <a:gd name="T52" fmla="*/ 1407 w 1874"/>
                    <a:gd name="T53" fmla="*/ 1692 h 1725"/>
                    <a:gd name="T54" fmla="*/ 166 w 1874"/>
                    <a:gd name="T55" fmla="*/ 1439 h 1725"/>
                    <a:gd name="T56" fmla="*/ 269 w 1874"/>
                    <a:gd name="T57" fmla="*/ 1463 h 1725"/>
                    <a:gd name="T58" fmla="*/ 276 w 1874"/>
                    <a:gd name="T59" fmla="*/ 1716 h 1725"/>
                    <a:gd name="T60" fmla="*/ 1407 w 1874"/>
                    <a:gd name="T61" fmla="*/ 1637 h 1725"/>
                    <a:gd name="T62" fmla="*/ 1415 w 1874"/>
                    <a:gd name="T63" fmla="*/ 1565 h 1725"/>
                    <a:gd name="T64" fmla="*/ 1375 w 1874"/>
                    <a:gd name="T65" fmla="*/ 1439 h 1725"/>
                    <a:gd name="T66" fmla="*/ 1399 w 1874"/>
                    <a:gd name="T67" fmla="*/ 1305 h 1725"/>
                    <a:gd name="T68" fmla="*/ 1399 w 1874"/>
                    <a:gd name="T69" fmla="*/ 1202 h 1725"/>
                    <a:gd name="T70" fmla="*/ 1462 w 1874"/>
                    <a:gd name="T71" fmla="*/ 1178 h 1725"/>
                    <a:gd name="T72" fmla="*/ 1462 w 1874"/>
                    <a:gd name="T73" fmla="*/ 1131 h 1725"/>
                    <a:gd name="T74" fmla="*/ 1533 w 1874"/>
                    <a:gd name="T75" fmla="*/ 1028 h 1725"/>
                    <a:gd name="T76" fmla="*/ 1612 w 1874"/>
                    <a:gd name="T77" fmla="*/ 822 h 1725"/>
                    <a:gd name="T78" fmla="*/ 1660 w 1874"/>
                    <a:gd name="T79" fmla="*/ 767 h 1725"/>
                    <a:gd name="T80" fmla="*/ 1699 w 1874"/>
                    <a:gd name="T81" fmla="*/ 696 h 1725"/>
                    <a:gd name="T82" fmla="*/ 1770 w 1874"/>
                    <a:gd name="T83" fmla="*/ 593 h 1725"/>
                    <a:gd name="T84" fmla="*/ 1723 w 1874"/>
                    <a:gd name="T85" fmla="*/ 522 h 1725"/>
                    <a:gd name="T86" fmla="*/ 1770 w 1874"/>
                    <a:gd name="T87" fmla="*/ 427 h 1725"/>
                    <a:gd name="T88" fmla="*/ 1794 w 1874"/>
                    <a:gd name="T89" fmla="*/ 380 h 1725"/>
                    <a:gd name="T90" fmla="*/ 1865 w 1874"/>
                    <a:gd name="T91" fmla="*/ 237 h 1725"/>
                    <a:gd name="T92" fmla="*/ 1644 w 1874"/>
                    <a:gd name="T93" fmla="*/ 206 h 1725"/>
                    <a:gd name="T94" fmla="*/ 1707 w 1874"/>
                    <a:gd name="T95" fmla="*/ 48 h 1725"/>
                    <a:gd name="T96" fmla="*/ 87 w 1874"/>
                    <a:gd name="T97" fmla="*/ 522 h 1725"/>
                    <a:gd name="T98" fmla="*/ 94 w 1874"/>
                    <a:gd name="T99" fmla="*/ 1407 h 1725"/>
                    <a:gd name="T100" fmla="*/ 142 w 1874"/>
                    <a:gd name="T101" fmla="*/ 1471 h 17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874" h="1725">
                      <a:moveTo>
                        <a:pt x="269" y="1724"/>
                      </a:moveTo>
                      <a:lnTo>
                        <a:pt x="269" y="1724"/>
                      </a:lnTo>
                      <a:cubicBezTo>
                        <a:pt x="260" y="1471"/>
                        <a:pt x="260" y="1471"/>
                        <a:pt x="260" y="1471"/>
                      </a:cubicBezTo>
                      <a:cubicBezTo>
                        <a:pt x="260" y="1463"/>
                        <a:pt x="253" y="1447"/>
                        <a:pt x="229" y="1447"/>
                      </a:cubicBezTo>
                      <a:cubicBezTo>
                        <a:pt x="213" y="1447"/>
                        <a:pt x="197" y="1447"/>
                        <a:pt x="189" y="1447"/>
                      </a:cubicBezTo>
                      <a:cubicBezTo>
                        <a:pt x="174" y="1447"/>
                        <a:pt x="166" y="1447"/>
                        <a:pt x="166" y="1447"/>
                      </a:cubicBezTo>
                      <a:cubicBezTo>
                        <a:pt x="166" y="1447"/>
                        <a:pt x="158" y="1455"/>
                        <a:pt x="158" y="1463"/>
                      </a:cubicBezTo>
                      <a:cubicBezTo>
                        <a:pt x="158" y="1471"/>
                        <a:pt x="150" y="1479"/>
                        <a:pt x="142" y="1479"/>
                      </a:cubicBezTo>
                      <a:cubicBezTo>
                        <a:pt x="142" y="1479"/>
                        <a:pt x="134" y="1479"/>
                        <a:pt x="126" y="1479"/>
                      </a:cubicBezTo>
                      <a:cubicBezTo>
                        <a:pt x="118" y="1463"/>
                        <a:pt x="118" y="1455"/>
                        <a:pt x="110" y="1439"/>
                      </a:cubicBezTo>
                      <a:cubicBezTo>
                        <a:pt x="110" y="1423"/>
                        <a:pt x="110" y="1415"/>
                        <a:pt x="94" y="1415"/>
                      </a:cubicBezTo>
                      <a:cubicBezTo>
                        <a:pt x="87" y="1415"/>
                        <a:pt x="87" y="1415"/>
                        <a:pt x="87" y="1415"/>
                      </a:cubicBezTo>
                      <a:cubicBezTo>
                        <a:pt x="79" y="1415"/>
                        <a:pt x="79" y="1415"/>
                        <a:pt x="79" y="1415"/>
                      </a:cubicBezTo>
                      <a:cubicBezTo>
                        <a:pt x="79" y="1407"/>
                        <a:pt x="79" y="1407"/>
                        <a:pt x="79" y="1407"/>
                      </a:cubicBezTo>
                      <a:cubicBezTo>
                        <a:pt x="79" y="522"/>
                        <a:pt x="79" y="522"/>
                        <a:pt x="79" y="522"/>
                      </a:cubicBezTo>
                      <a:cubicBezTo>
                        <a:pt x="39" y="380"/>
                        <a:pt x="16" y="237"/>
                        <a:pt x="0" y="87"/>
                      </a:cubicBezTo>
                      <a:lnTo>
                        <a:pt x="0" y="87"/>
                      </a:lnTo>
                      <a:lnTo>
                        <a:pt x="0" y="87"/>
                      </a:lnTo>
                      <a:cubicBezTo>
                        <a:pt x="229" y="79"/>
                        <a:pt x="1391" y="40"/>
                        <a:pt x="1644" y="0"/>
                      </a:cubicBezTo>
                      <a:lnTo>
                        <a:pt x="1644" y="0"/>
                      </a:lnTo>
                      <a:lnTo>
                        <a:pt x="1644" y="0"/>
                      </a:lnTo>
                      <a:cubicBezTo>
                        <a:pt x="1644" y="0"/>
                        <a:pt x="1692" y="8"/>
                        <a:pt x="1715" y="40"/>
                      </a:cubicBezTo>
                      <a:cubicBezTo>
                        <a:pt x="1723" y="56"/>
                        <a:pt x="1723" y="71"/>
                        <a:pt x="1715" y="95"/>
                      </a:cubicBezTo>
                      <a:cubicBezTo>
                        <a:pt x="1707" y="142"/>
                        <a:pt x="1683" y="166"/>
                        <a:pt x="1668" y="182"/>
                      </a:cubicBezTo>
                      <a:cubicBezTo>
                        <a:pt x="1660" y="190"/>
                        <a:pt x="1652" y="198"/>
                        <a:pt x="1644" y="206"/>
                      </a:cubicBezTo>
                      <a:cubicBezTo>
                        <a:pt x="1636" y="222"/>
                        <a:pt x="1636" y="237"/>
                        <a:pt x="1636" y="245"/>
                      </a:cubicBezTo>
                      <a:cubicBezTo>
                        <a:pt x="1644" y="245"/>
                        <a:pt x="1652" y="253"/>
                        <a:pt x="1676" y="245"/>
                      </a:cubicBezTo>
                      <a:cubicBezTo>
                        <a:pt x="1715" y="245"/>
                        <a:pt x="1826" y="237"/>
                        <a:pt x="1873" y="229"/>
                      </a:cubicBezTo>
                      <a:lnTo>
                        <a:pt x="1873" y="229"/>
                      </a:lnTo>
                      <a:cubicBezTo>
                        <a:pt x="1873" y="237"/>
                        <a:pt x="1873" y="237"/>
                        <a:pt x="1873" y="237"/>
                      </a:cubicBezTo>
                      <a:cubicBezTo>
                        <a:pt x="1873" y="269"/>
                        <a:pt x="1842" y="340"/>
                        <a:pt x="1810" y="348"/>
                      </a:cubicBezTo>
                      <a:cubicBezTo>
                        <a:pt x="1810" y="356"/>
                        <a:pt x="1802" y="356"/>
                        <a:pt x="1802" y="356"/>
                      </a:cubicBezTo>
                      <a:cubicBezTo>
                        <a:pt x="1802" y="364"/>
                        <a:pt x="1802" y="372"/>
                        <a:pt x="1802" y="372"/>
                      </a:cubicBezTo>
                      <a:cubicBezTo>
                        <a:pt x="1810" y="388"/>
                        <a:pt x="1810" y="395"/>
                        <a:pt x="1802" y="404"/>
                      </a:cubicBezTo>
                      <a:cubicBezTo>
                        <a:pt x="1794" y="411"/>
                        <a:pt x="1794" y="411"/>
                        <a:pt x="1786" y="419"/>
                      </a:cubicBezTo>
                      <a:cubicBezTo>
                        <a:pt x="1786" y="419"/>
                        <a:pt x="1786" y="419"/>
                        <a:pt x="1778" y="427"/>
                      </a:cubicBezTo>
                      <a:cubicBezTo>
                        <a:pt x="1778" y="435"/>
                        <a:pt x="1778" y="435"/>
                        <a:pt x="1778" y="435"/>
                      </a:cubicBezTo>
                      <a:cubicBezTo>
                        <a:pt x="1778" y="459"/>
                        <a:pt x="1770" y="475"/>
                        <a:pt x="1747" y="490"/>
                      </a:cubicBezTo>
                      <a:cubicBezTo>
                        <a:pt x="1723" y="498"/>
                        <a:pt x="1723" y="506"/>
                        <a:pt x="1731" y="522"/>
                      </a:cubicBezTo>
                      <a:cubicBezTo>
                        <a:pt x="1731" y="530"/>
                        <a:pt x="1731" y="530"/>
                        <a:pt x="1731" y="538"/>
                      </a:cubicBezTo>
                      <a:cubicBezTo>
                        <a:pt x="1731" y="538"/>
                        <a:pt x="1731" y="546"/>
                        <a:pt x="1739" y="546"/>
                      </a:cubicBezTo>
                      <a:cubicBezTo>
                        <a:pt x="1755" y="554"/>
                        <a:pt x="1770" y="562"/>
                        <a:pt x="1778" y="593"/>
                      </a:cubicBezTo>
                      <a:cubicBezTo>
                        <a:pt x="1786" y="633"/>
                        <a:pt x="1778" y="633"/>
                        <a:pt x="1755" y="641"/>
                      </a:cubicBezTo>
                      <a:cubicBezTo>
                        <a:pt x="1755" y="641"/>
                        <a:pt x="1747" y="648"/>
                        <a:pt x="1739" y="648"/>
                      </a:cubicBezTo>
                      <a:cubicBezTo>
                        <a:pt x="1715" y="672"/>
                        <a:pt x="1699" y="696"/>
                        <a:pt x="1699" y="696"/>
                      </a:cubicBezTo>
                      <a:lnTo>
                        <a:pt x="1699" y="696"/>
                      </a:lnTo>
                      <a:lnTo>
                        <a:pt x="1699" y="696"/>
                      </a:lnTo>
                      <a:cubicBezTo>
                        <a:pt x="1699" y="696"/>
                        <a:pt x="1683" y="704"/>
                        <a:pt x="1683" y="743"/>
                      </a:cubicBezTo>
                      <a:cubicBezTo>
                        <a:pt x="1683" y="767"/>
                        <a:pt x="1683" y="775"/>
                        <a:pt x="1668" y="775"/>
                      </a:cubicBezTo>
                      <a:cubicBezTo>
                        <a:pt x="1660" y="775"/>
                        <a:pt x="1660" y="775"/>
                        <a:pt x="1660" y="775"/>
                      </a:cubicBezTo>
                      <a:lnTo>
                        <a:pt x="1652" y="775"/>
                      </a:lnTo>
                      <a:cubicBezTo>
                        <a:pt x="1636" y="775"/>
                        <a:pt x="1620" y="775"/>
                        <a:pt x="1620" y="807"/>
                      </a:cubicBezTo>
                      <a:cubicBezTo>
                        <a:pt x="1620" y="807"/>
                        <a:pt x="1620" y="815"/>
                        <a:pt x="1620" y="822"/>
                      </a:cubicBezTo>
                      <a:cubicBezTo>
                        <a:pt x="1612" y="854"/>
                        <a:pt x="1604" y="901"/>
                        <a:pt x="1589" y="909"/>
                      </a:cubicBezTo>
                      <a:cubicBezTo>
                        <a:pt x="1573" y="925"/>
                        <a:pt x="1573" y="949"/>
                        <a:pt x="1573" y="981"/>
                      </a:cubicBezTo>
                      <a:cubicBezTo>
                        <a:pt x="1573" y="1004"/>
                        <a:pt x="1565" y="1028"/>
                        <a:pt x="1533" y="1036"/>
                      </a:cubicBezTo>
                      <a:cubicBezTo>
                        <a:pt x="1510" y="1044"/>
                        <a:pt x="1462" y="1059"/>
                        <a:pt x="1470" y="1083"/>
                      </a:cubicBezTo>
                      <a:cubicBezTo>
                        <a:pt x="1470" y="1091"/>
                        <a:pt x="1470" y="1099"/>
                        <a:pt x="1470" y="1107"/>
                      </a:cubicBezTo>
                      <a:cubicBezTo>
                        <a:pt x="1478" y="1115"/>
                        <a:pt x="1478" y="1123"/>
                        <a:pt x="1470" y="1139"/>
                      </a:cubicBezTo>
                      <a:cubicBezTo>
                        <a:pt x="1462" y="1139"/>
                        <a:pt x="1462" y="1147"/>
                        <a:pt x="1462" y="1154"/>
                      </a:cubicBezTo>
                      <a:lnTo>
                        <a:pt x="1462" y="1162"/>
                      </a:lnTo>
                      <a:cubicBezTo>
                        <a:pt x="1470" y="1170"/>
                        <a:pt x="1470" y="1178"/>
                        <a:pt x="1470" y="1186"/>
                      </a:cubicBezTo>
                      <a:cubicBezTo>
                        <a:pt x="1462" y="1194"/>
                        <a:pt x="1454" y="1202"/>
                        <a:pt x="1439" y="1202"/>
                      </a:cubicBezTo>
                      <a:cubicBezTo>
                        <a:pt x="1430" y="1202"/>
                        <a:pt x="1430" y="1202"/>
                        <a:pt x="1430" y="1202"/>
                      </a:cubicBezTo>
                      <a:cubicBezTo>
                        <a:pt x="1423" y="1202"/>
                        <a:pt x="1415" y="1202"/>
                        <a:pt x="1407" y="1202"/>
                      </a:cubicBezTo>
                      <a:cubicBezTo>
                        <a:pt x="1407" y="1210"/>
                        <a:pt x="1399" y="1218"/>
                        <a:pt x="1407" y="1226"/>
                      </a:cubicBezTo>
                      <a:cubicBezTo>
                        <a:pt x="1407" y="1234"/>
                        <a:pt x="1407" y="1241"/>
                        <a:pt x="1415" y="1249"/>
                      </a:cubicBezTo>
                      <a:cubicBezTo>
                        <a:pt x="1423" y="1273"/>
                        <a:pt x="1423" y="1297"/>
                        <a:pt x="1407" y="1312"/>
                      </a:cubicBezTo>
                      <a:cubicBezTo>
                        <a:pt x="1383" y="1321"/>
                        <a:pt x="1375" y="1344"/>
                        <a:pt x="1375" y="1368"/>
                      </a:cubicBezTo>
                      <a:cubicBezTo>
                        <a:pt x="1375" y="1376"/>
                        <a:pt x="1375" y="1384"/>
                        <a:pt x="1383" y="1392"/>
                      </a:cubicBezTo>
                      <a:cubicBezTo>
                        <a:pt x="1383" y="1407"/>
                        <a:pt x="1391" y="1431"/>
                        <a:pt x="1375" y="1439"/>
                      </a:cubicBezTo>
                      <a:cubicBezTo>
                        <a:pt x="1359" y="1455"/>
                        <a:pt x="1375" y="1486"/>
                        <a:pt x="1391" y="1502"/>
                      </a:cubicBezTo>
                      <a:cubicBezTo>
                        <a:pt x="1399" y="1510"/>
                        <a:pt x="1399" y="1518"/>
                        <a:pt x="1407" y="1518"/>
                      </a:cubicBezTo>
                      <a:cubicBezTo>
                        <a:pt x="1423" y="1534"/>
                        <a:pt x="1430" y="1550"/>
                        <a:pt x="1423" y="1565"/>
                      </a:cubicBezTo>
                      <a:cubicBezTo>
                        <a:pt x="1423" y="1574"/>
                        <a:pt x="1415" y="1581"/>
                        <a:pt x="1415" y="1581"/>
                      </a:cubicBezTo>
                      <a:cubicBezTo>
                        <a:pt x="1407" y="1597"/>
                        <a:pt x="1407" y="1605"/>
                        <a:pt x="1415" y="1621"/>
                      </a:cubicBezTo>
                      <a:cubicBezTo>
                        <a:pt x="1415" y="1629"/>
                        <a:pt x="1415" y="1637"/>
                        <a:pt x="1415" y="1645"/>
                      </a:cubicBezTo>
                      <a:cubicBezTo>
                        <a:pt x="1407" y="1645"/>
                        <a:pt x="1399" y="1652"/>
                        <a:pt x="1407" y="1676"/>
                      </a:cubicBezTo>
                      <a:cubicBezTo>
                        <a:pt x="1407" y="1684"/>
                        <a:pt x="1407" y="1684"/>
                        <a:pt x="1407" y="1684"/>
                      </a:cubicBezTo>
                      <a:cubicBezTo>
                        <a:pt x="1415" y="1692"/>
                        <a:pt x="1415" y="1692"/>
                        <a:pt x="1415" y="1692"/>
                      </a:cubicBezTo>
                      <a:cubicBezTo>
                        <a:pt x="1407" y="1692"/>
                        <a:pt x="1407" y="1692"/>
                        <a:pt x="1407" y="1692"/>
                      </a:cubicBezTo>
                      <a:lnTo>
                        <a:pt x="269" y="1724"/>
                      </a:lnTo>
                      <a:close/>
                      <a:moveTo>
                        <a:pt x="166" y="1439"/>
                      </a:moveTo>
                      <a:lnTo>
                        <a:pt x="166" y="1439"/>
                      </a:lnTo>
                      <a:cubicBezTo>
                        <a:pt x="174" y="1439"/>
                        <a:pt x="182" y="1439"/>
                        <a:pt x="189" y="1439"/>
                      </a:cubicBezTo>
                      <a:cubicBezTo>
                        <a:pt x="197" y="1439"/>
                        <a:pt x="213" y="1447"/>
                        <a:pt x="229" y="1447"/>
                      </a:cubicBezTo>
                      <a:cubicBezTo>
                        <a:pt x="253" y="1447"/>
                        <a:pt x="269" y="1463"/>
                        <a:pt x="269" y="1463"/>
                      </a:cubicBezTo>
                      <a:lnTo>
                        <a:pt x="269" y="1463"/>
                      </a:lnTo>
                      <a:lnTo>
                        <a:pt x="269" y="1463"/>
                      </a:lnTo>
                      <a:cubicBezTo>
                        <a:pt x="276" y="1716"/>
                        <a:pt x="276" y="1716"/>
                        <a:pt x="276" y="1716"/>
                      </a:cubicBezTo>
                      <a:cubicBezTo>
                        <a:pt x="1399" y="1684"/>
                        <a:pt x="1399" y="1684"/>
                        <a:pt x="1399" y="1684"/>
                      </a:cubicBezTo>
                      <a:cubicBezTo>
                        <a:pt x="1399" y="1684"/>
                        <a:pt x="1399" y="1684"/>
                        <a:pt x="1399" y="1676"/>
                      </a:cubicBezTo>
                      <a:cubicBezTo>
                        <a:pt x="1391" y="1652"/>
                        <a:pt x="1399" y="1645"/>
                        <a:pt x="1407" y="1637"/>
                      </a:cubicBezTo>
                      <a:lnTo>
                        <a:pt x="1407" y="1629"/>
                      </a:lnTo>
                      <a:cubicBezTo>
                        <a:pt x="1399" y="1605"/>
                        <a:pt x="1399" y="1597"/>
                        <a:pt x="1407" y="1581"/>
                      </a:cubicBezTo>
                      <a:cubicBezTo>
                        <a:pt x="1407" y="1574"/>
                        <a:pt x="1415" y="1574"/>
                        <a:pt x="1415" y="1565"/>
                      </a:cubicBezTo>
                      <a:cubicBezTo>
                        <a:pt x="1423" y="1550"/>
                        <a:pt x="1415" y="1542"/>
                        <a:pt x="1399" y="1526"/>
                      </a:cubicBezTo>
                      <a:cubicBezTo>
                        <a:pt x="1399" y="1518"/>
                        <a:pt x="1391" y="1510"/>
                        <a:pt x="1383" y="1510"/>
                      </a:cubicBezTo>
                      <a:cubicBezTo>
                        <a:pt x="1352" y="1463"/>
                        <a:pt x="1359" y="1447"/>
                        <a:pt x="1375" y="1439"/>
                      </a:cubicBezTo>
                      <a:cubicBezTo>
                        <a:pt x="1383" y="1431"/>
                        <a:pt x="1375" y="1407"/>
                        <a:pt x="1375" y="1392"/>
                      </a:cubicBezTo>
                      <a:cubicBezTo>
                        <a:pt x="1367" y="1384"/>
                        <a:pt x="1367" y="1376"/>
                        <a:pt x="1367" y="1368"/>
                      </a:cubicBezTo>
                      <a:cubicBezTo>
                        <a:pt x="1367" y="1360"/>
                        <a:pt x="1367" y="1321"/>
                        <a:pt x="1399" y="1305"/>
                      </a:cubicBezTo>
                      <a:cubicBezTo>
                        <a:pt x="1415" y="1297"/>
                        <a:pt x="1415" y="1281"/>
                        <a:pt x="1407" y="1257"/>
                      </a:cubicBezTo>
                      <a:cubicBezTo>
                        <a:pt x="1399" y="1249"/>
                        <a:pt x="1399" y="1234"/>
                        <a:pt x="1399" y="1226"/>
                      </a:cubicBezTo>
                      <a:cubicBezTo>
                        <a:pt x="1399" y="1218"/>
                        <a:pt x="1399" y="1202"/>
                        <a:pt x="1399" y="1202"/>
                      </a:cubicBezTo>
                      <a:cubicBezTo>
                        <a:pt x="1407" y="1194"/>
                        <a:pt x="1423" y="1194"/>
                        <a:pt x="1430" y="1194"/>
                      </a:cubicBezTo>
                      <a:cubicBezTo>
                        <a:pt x="1439" y="1194"/>
                        <a:pt x="1439" y="1194"/>
                        <a:pt x="1439" y="1194"/>
                      </a:cubicBezTo>
                      <a:cubicBezTo>
                        <a:pt x="1454" y="1194"/>
                        <a:pt x="1454" y="1186"/>
                        <a:pt x="1462" y="1178"/>
                      </a:cubicBezTo>
                      <a:lnTo>
                        <a:pt x="1462" y="1170"/>
                      </a:lnTo>
                      <a:cubicBezTo>
                        <a:pt x="1454" y="1162"/>
                        <a:pt x="1454" y="1154"/>
                        <a:pt x="1454" y="1154"/>
                      </a:cubicBezTo>
                      <a:cubicBezTo>
                        <a:pt x="1454" y="1147"/>
                        <a:pt x="1454" y="1139"/>
                        <a:pt x="1462" y="1131"/>
                      </a:cubicBezTo>
                      <a:cubicBezTo>
                        <a:pt x="1470" y="1123"/>
                        <a:pt x="1470" y="1123"/>
                        <a:pt x="1462" y="1107"/>
                      </a:cubicBezTo>
                      <a:cubicBezTo>
                        <a:pt x="1462" y="1099"/>
                        <a:pt x="1462" y="1099"/>
                        <a:pt x="1462" y="1091"/>
                      </a:cubicBezTo>
                      <a:cubicBezTo>
                        <a:pt x="1454" y="1052"/>
                        <a:pt x="1525" y="1028"/>
                        <a:pt x="1533" y="1028"/>
                      </a:cubicBezTo>
                      <a:cubicBezTo>
                        <a:pt x="1565" y="1020"/>
                        <a:pt x="1565" y="1004"/>
                        <a:pt x="1565" y="981"/>
                      </a:cubicBezTo>
                      <a:cubicBezTo>
                        <a:pt x="1565" y="949"/>
                        <a:pt x="1565" y="917"/>
                        <a:pt x="1589" y="909"/>
                      </a:cubicBezTo>
                      <a:cubicBezTo>
                        <a:pt x="1604" y="894"/>
                        <a:pt x="1604" y="854"/>
                        <a:pt x="1612" y="822"/>
                      </a:cubicBezTo>
                      <a:cubicBezTo>
                        <a:pt x="1612" y="815"/>
                        <a:pt x="1612" y="807"/>
                        <a:pt x="1612" y="807"/>
                      </a:cubicBezTo>
                      <a:cubicBezTo>
                        <a:pt x="1612" y="775"/>
                        <a:pt x="1636" y="767"/>
                        <a:pt x="1652" y="767"/>
                      </a:cubicBezTo>
                      <a:cubicBezTo>
                        <a:pt x="1652" y="767"/>
                        <a:pt x="1652" y="767"/>
                        <a:pt x="1660" y="767"/>
                      </a:cubicBezTo>
                      <a:cubicBezTo>
                        <a:pt x="1660" y="767"/>
                        <a:pt x="1660" y="767"/>
                        <a:pt x="1668" y="767"/>
                      </a:cubicBezTo>
                      <a:cubicBezTo>
                        <a:pt x="1676" y="767"/>
                        <a:pt x="1676" y="767"/>
                        <a:pt x="1676" y="743"/>
                      </a:cubicBezTo>
                      <a:cubicBezTo>
                        <a:pt x="1676" y="704"/>
                        <a:pt x="1692" y="696"/>
                        <a:pt x="1699" y="696"/>
                      </a:cubicBezTo>
                      <a:cubicBezTo>
                        <a:pt x="1699" y="688"/>
                        <a:pt x="1707" y="664"/>
                        <a:pt x="1731" y="648"/>
                      </a:cubicBezTo>
                      <a:cubicBezTo>
                        <a:pt x="1739" y="641"/>
                        <a:pt x="1747" y="641"/>
                        <a:pt x="1755" y="633"/>
                      </a:cubicBezTo>
                      <a:cubicBezTo>
                        <a:pt x="1770" y="633"/>
                        <a:pt x="1778" y="625"/>
                        <a:pt x="1770" y="593"/>
                      </a:cubicBezTo>
                      <a:cubicBezTo>
                        <a:pt x="1770" y="569"/>
                        <a:pt x="1755" y="562"/>
                        <a:pt x="1739" y="554"/>
                      </a:cubicBezTo>
                      <a:cubicBezTo>
                        <a:pt x="1731" y="554"/>
                        <a:pt x="1723" y="546"/>
                        <a:pt x="1723" y="538"/>
                      </a:cubicBezTo>
                      <a:cubicBezTo>
                        <a:pt x="1723" y="530"/>
                        <a:pt x="1723" y="530"/>
                        <a:pt x="1723" y="522"/>
                      </a:cubicBezTo>
                      <a:cubicBezTo>
                        <a:pt x="1715" y="506"/>
                        <a:pt x="1715" y="490"/>
                        <a:pt x="1747" y="482"/>
                      </a:cubicBezTo>
                      <a:cubicBezTo>
                        <a:pt x="1770" y="467"/>
                        <a:pt x="1770" y="459"/>
                        <a:pt x="1770" y="435"/>
                      </a:cubicBezTo>
                      <a:lnTo>
                        <a:pt x="1770" y="427"/>
                      </a:lnTo>
                      <a:cubicBezTo>
                        <a:pt x="1778" y="411"/>
                        <a:pt x="1778" y="411"/>
                        <a:pt x="1786" y="411"/>
                      </a:cubicBezTo>
                      <a:lnTo>
                        <a:pt x="1794" y="404"/>
                      </a:lnTo>
                      <a:cubicBezTo>
                        <a:pt x="1802" y="395"/>
                        <a:pt x="1802" y="388"/>
                        <a:pt x="1794" y="380"/>
                      </a:cubicBezTo>
                      <a:cubicBezTo>
                        <a:pt x="1794" y="372"/>
                        <a:pt x="1794" y="364"/>
                        <a:pt x="1794" y="356"/>
                      </a:cubicBezTo>
                      <a:cubicBezTo>
                        <a:pt x="1802" y="348"/>
                        <a:pt x="1802" y="348"/>
                        <a:pt x="1810" y="348"/>
                      </a:cubicBezTo>
                      <a:cubicBezTo>
                        <a:pt x="1834" y="340"/>
                        <a:pt x="1865" y="269"/>
                        <a:pt x="1865" y="237"/>
                      </a:cubicBezTo>
                      <a:cubicBezTo>
                        <a:pt x="1818" y="245"/>
                        <a:pt x="1715" y="253"/>
                        <a:pt x="1676" y="253"/>
                      </a:cubicBezTo>
                      <a:cubicBezTo>
                        <a:pt x="1652" y="261"/>
                        <a:pt x="1636" y="253"/>
                        <a:pt x="1628" y="245"/>
                      </a:cubicBezTo>
                      <a:cubicBezTo>
                        <a:pt x="1628" y="237"/>
                        <a:pt x="1628" y="222"/>
                        <a:pt x="1644" y="206"/>
                      </a:cubicBezTo>
                      <a:cubicBezTo>
                        <a:pt x="1644" y="198"/>
                        <a:pt x="1652" y="190"/>
                        <a:pt x="1660" y="182"/>
                      </a:cubicBezTo>
                      <a:cubicBezTo>
                        <a:pt x="1676" y="158"/>
                        <a:pt x="1699" y="142"/>
                        <a:pt x="1715" y="87"/>
                      </a:cubicBezTo>
                      <a:cubicBezTo>
                        <a:pt x="1715" y="71"/>
                        <a:pt x="1715" y="56"/>
                        <a:pt x="1707" y="48"/>
                      </a:cubicBezTo>
                      <a:cubicBezTo>
                        <a:pt x="1692" y="16"/>
                        <a:pt x="1652" y="8"/>
                        <a:pt x="1644" y="8"/>
                      </a:cubicBezTo>
                      <a:cubicBezTo>
                        <a:pt x="1391" y="48"/>
                        <a:pt x="245" y="87"/>
                        <a:pt x="7" y="95"/>
                      </a:cubicBezTo>
                      <a:cubicBezTo>
                        <a:pt x="23" y="237"/>
                        <a:pt x="47" y="380"/>
                        <a:pt x="87" y="522"/>
                      </a:cubicBezTo>
                      <a:lnTo>
                        <a:pt x="87" y="522"/>
                      </a:lnTo>
                      <a:cubicBezTo>
                        <a:pt x="87" y="1407"/>
                        <a:pt x="87" y="1407"/>
                        <a:pt x="87" y="1407"/>
                      </a:cubicBezTo>
                      <a:lnTo>
                        <a:pt x="94" y="1407"/>
                      </a:lnTo>
                      <a:cubicBezTo>
                        <a:pt x="110" y="1407"/>
                        <a:pt x="118" y="1423"/>
                        <a:pt x="118" y="1439"/>
                      </a:cubicBezTo>
                      <a:cubicBezTo>
                        <a:pt x="126" y="1447"/>
                        <a:pt x="126" y="1463"/>
                        <a:pt x="134" y="1471"/>
                      </a:cubicBezTo>
                      <a:cubicBezTo>
                        <a:pt x="142" y="1471"/>
                        <a:pt x="142" y="1471"/>
                        <a:pt x="142" y="1471"/>
                      </a:cubicBezTo>
                      <a:cubicBezTo>
                        <a:pt x="142" y="1471"/>
                        <a:pt x="150" y="1463"/>
                        <a:pt x="150" y="1455"/>
                      </a:cubicBezTo>
                      <a:cubicBezTo>
                        <a:pt x="150" y="1447"/>
                        <a:pt x="158" y="1439"/>
                        <a:pt x="166" y="1439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8" name="Freeform 514">
                  <a:extLst>
                    <a:ext uri="{FF2B5EF4-FFF2-40B4-BE49-F238E27FC236}">
                      <a16:creationId xmlns:a16="http://schemas.microsoft.com/office/drawing/2014/main" id="{0103C134-3FBD-2E48-B267-85A6953B7D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22443" y="5732323"/>
                  <a:ext cx="1331281" cy="1155014"/>
                </a:xfrm>
                <a:custGeom>
                  <a:avLst/>
                  <a:gdLst>
                    <a:gd name="T0" fmla="*/ 2498 w 2531"/>
                    <a:gd name="T1" fmla="*/ 1674 h 2197"/>
                    <a:gd name="T2" fmla="*/ 2498 w 2531"/>
                    <a:gd name="T3" fmla="*/ 1674 h 2197"/>
                    <a:gd name="T4" fmla="*/ 2474 w 2531"/>
                    <a:gd name="T5" fmla="*/ 1674 h 2197"/>
                    <a:gd name="T6" fmla="*/ 2403 w 2531"/>
                    <a:gd name="T7" fmla="*/ 1643 h 2197"/>
                    <a:gd name="T8" fmla="*/ 2348 w 2531"/>
                    <a:gd name="T9" fmla="*/ 1540 h 2197"/>
                    <a:gd name="T10" fmla="*/ 2372 w 2531"/>
                    <a:gd name="T11" fmla="*/ 1485 h 2197"/>
                    <a:gd name="T12" fmla="*/ 2324 w 2531"/>
                    <a:gd name="T13" fmla="*/ 1374 h 2197"/>
                    <a:gd name="T14" fmla="*/ 2261 w 2531"/>
                    <a:gd name="T15" fmla="*/ 1335 h 2197"/>
                    <a:gd name="T16" fmla="*/ 2166 w 2531"/>
                    <a:gd name="T17" fmla="*/ 1271 h 2197"/>
                    <a:gd name="T18" fmla="*/ 1984 w 2531"/>
                    <a:gd name="T19" fmla="*/ 1035 h 2197"/>
                    <a:gd name="T20" fmla="*/ 2048 w 2531"/>
                    <a:gd name="T21" fmla="*/ 806 h 2197"/>
                    <a:gd name="T22" fmla="*/ 1984 w 2531"/>
                    <a:gd name="T23" fmla="*/ 782 h 2197"/>
                    <a:gd name="T24" fmla="*/ 1953 w 2531"/>
                    <a:gd name="T25" fmla="*/ 782 h 2197"/>
                    <a:gd name="T26" fmla="*/ 1905 w 2531"/>
                    <a:gd name="T27" fmla="*/ 774 h 2197"/>
                    <a:gd name="T28" fmla="*/ 1850 w 2531"/>
                    <a:gd name="T29" fmla="*/ 766 h 2197"/>
                    <a:gd name="T30" fmla="*/ 1810 w 2531"/>
                    <a:gd name="T31" fmla="*/ 632 h 2197"/>
                    <a:gd name="T32" fmla="*/ 1684 w 2531"/>
                    <a:gd name="T33" fmla="*/ 537 h 2197"/>
                    <a:gd name="T34" fmla="*/ 1534 w 2531"/>
                    <a:gd name="T35" fmla="*/ 339 h 2197"/>
                    <a:gd name="T36" fmla="*/ 1541 w 2531"/>
                    <a:gd name="T37" fmla="*/ 134 h 2197"/>
                    <a:gd name="T38" fmla="*/ 1447 w 2531"/>
                    <a:gd name="T39" fmla="*/ 31 h 2197"/>
                    <a:gd name="T40" fmla="*/ 1415 w 2531"/>
                    <a:gd name="T41" fmla="*/ 15 h 2197"/>
                    <a:gd name="T42" fmla="*/ 0 w 2531"/>
                    <a:gd name="T43" fmla="*/ 79 h 2197"/>
                    <a:gd name="T44" fmla="*/ 8 w 2531"/>
                    <a:gd name="T45" fmla="*/ 110 h 2197"/>
                    <a:gd name="T46" fmla="*/ 16 w 2531"/>
                    <a:gd name="T47" fmla="*/ 150 h 2197"/>
                    <a:gd name="T48" fmla="*/ 95 w 2531"/>
                    <a:gd name="T49" fmla="*/ 229 h 2197"/>
                    <a:gd name="T50" fmla="*/ 103 w 2531"/>
                    <a:gd name="T51" fmla="*/ 308 h 2197"/>
                    <a:gd name="T52" fmla="*/ 150 w 2531"/>
                    <a:gd name="T53" fmla="*/ 339 h 2197"/>
                    <a:gd name="T54" fmla="*/ 229 w 2531"/>
                    <a:gd name="T55" fmla="*/ 426 h 2197"/>
                    <a:gd name="T56" fmla="*/ 253 w 2531"/>
                    <a:gd name="T57" fmla="*/ 403 h 2197"/>
                    <a:gd name="T58" fmla="*/ 293 w 2531"/>
                    <a:gd name="T59" fmla="*/ 411 h 2197"/>
                    <a:gd name="T60" fmla="*/ 324 w 2531"/>
                    <a:gd name="T61" fmla="*/ 458 h 2197"/>
                    <a:gd name="T62" fmla="*/ 300 w 2531"/>
                    <a:gd name="T63" fmla="*/ 490 h 2197"/>
                    <a:gd name="T64" fmla="*/ 229 w 2531"/>
                    <a:gd name="T65" fmla="*/ 553 h 2197"/>
                    <a:gd name="T66" fmla="*/ 293 w 2531"/>
                    <a:gd name="T67" fmla="*/ 608 h 2197"/>
                    <a:gd name="T68" fmla="*/ 324 w 2531"/>
                    <a:gd name="T69" fmla="*/ 664 h 2197"/>
                    <a:gd name="T70" fmla="*/ 380 w 2531"/>
                    <a:gd name="T71" fmla="*/ 727 h 2197"/>
                    <a:gd name="T72" fmla="*/ 427 w 2531"/>
                    <a:gd name="T73" fmla="*/ 837 h 2197"/>
                    <a:gd name="T74" fmla="*/ 427 w 2531"/>
                    <a:gd name="T75" fmla="*/ 1777 h 2197"/>
                    <a:gd name="T76" fmla="*/ 451 w 2531"/>
                    <a:gd name="T77" fmla="*/ 2022 h 2197"/>
                    <a:gd name="T78" fmla="*/ 2095 w 2531"/>
                    <a:gd name="T79" fmla="*/ 1943 h 2197"/>
                    <a:gd name="T80" fmla="*/ 2166 w 2531"/>
                    <a:gd name="T81" fmla="*/ 2022 h 2197"/>
                    <a:gd name="T82" fmla="*/ 2095 w 2531"/>
                    <a:gd name="T83" fmla="*/ 2141 h 2197"/>
                    <a:gd name="T84" fmla="*/ 2127 w 2531"/>
                    <a:gd name="T85" fmla="*/ 2188 h 2197"/>
                    <a:gd name="T86" fmla="*/ 2324 w 2531"/>
                    <a:gd name="T87" fmla="*/ 2172 h 2197"/>
                    <a:gd name="T88" fmla="*/ 2316 w 2531"/>
                    <a:gd name="T89" fmla="*/ 2157 h 2197"/>
                    <a:gd name="T90" fmla="*/ 2316 w 2531"/>
                    <a:gd name="T91" fmla="*/ 2109 h 2197"/>
                    <a:gd name="T92" fmla="*/ 2332 w 2531"/>
                    <a:gd name="T93" fmla="*/ 2030 h 2197"/>
                    <a:gd name="T94" fmla="*/ 2364 w 2531"/>
                    <a:gd name="T95" fmla="*/ 1967 h 2197"/>
                    <a:gd name="T96" fmla="*/ 2356 w 2531"/>
                    <a:gd name="T97" fmla="*/ 1896 h 2197"/>
                    <a:gd name="T98" fmla="*/ 2411 w 2531"/>
                    <a:gd name="T99" fmla="*/ 1888 h 2197"/>
                    <a:gd name="T100" fmla="*/ 2451 w 2531"/>
                    <a:gd name="T101" fmla="*/ 1864 h 2197"/>
                    <a:gd name="T102" fmla="*/ 2474 w 2531"/>
                    <a:gd name="T103" fmla="*/ 1840 h 2197"/>
                    <a:gd name="T104" fmla="*/ 2490 w 2531"/>
                    <a:gd name="T105" fmla="*/ 1769 h 2197"/>
                    <a:gd name="T106" fmla="*/ 2498 w 2531"/>
                    <a:gd name="T107" fmla="*/ 1674 h 2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531" h="2197">
                      <a:moveTo>
                        <a:pt x="2498" y="1674"/>
                      </a:moveTo>
                      <a:lnTo>
                        <a:pt x="2498" y="1674"/>
                      </a:lnTo>
                      <a:cubicBezTo>
                        <a:pt x="2490" y="1666"/>
                        <a:pt x="2482" y="1674"/>
                        <a:pt x="2474" y="1674"/>
                      </a:cubicBezTo>
                      <a:cubicBezTo>
                        <a:pt x="2451" y="1674"/>
                        <a:pt x="2419" y="1674"/>
                        <a:pt x="2403" y="1643"/>
                      </a:cubicBezTo>
                      <a:cubicBezTo>
                        <a:pt x="2380" y="1595"/>
                        <a:pt x="2324" y="1564"/>
                        <a:pt x="2348" y="1540"/>
                      </a:cubicBezTo>
                      <a:cubicBezTo>
                        <a:pt x="2364" y="1516"/>
                        <a:pt x="2395" y="1532"/>
                        <a:pt x="2372" y="1485"/>
                      </a:cubicBezTo>
                      <a:cubicBezTo>
                        <a:pt x="2356" y="1445"/>
                        <a:pt x="2324" y="1406"/>
                        <a:pt x="2324" y="1374"/>
                      </a:cubicBezTo>
                      <a:cubicBezTo>
                        <a:pt x="2324" y="1350"/>
                        <a:pt x="2285" y="1366"/>
                        <a:pt x="2261" y="1335"/>
                      </a:cubicBezTo>
                      <a:cubicBezTo>
                        <a:pt x="2237" y="1303"/>
                        <a:pt x="2182" y="1303"/>
                        <a:pt x="2166" y="1271"/>
                      </a:cubicBezTo>
                      <a:cubicBezTo>
                        <a:pt x="2150" y="1240"/>
                        <a:pt x="1929" y="1129"/>
                        <a:pt x="1984" y="1035"/>
                      </a:cubicBezTo>
                      <a:cubicBezTo>
                        <a:pt x="2048" y="940"/>
                        <a:pt x="2079" y="837"/>
                        <a:pt x="2048" y="806"/>
                      </a:cubicBezTo>
                      <a:cubicBezTo>
                        <a:pt x="2008" y="782"/>
                        <a:pt x="1984" y="766"/>
                        <a:pt x="1984" y="782"/>
                      </a:cubicBezTo>
                      <a:cubicBezTo>
                        <a:pt x="1984" y="798"/>
                        <a:pt x="1961" y="798"/>
                        <a:pt x="1953" y="782"/>
                      </a:cubicBezTo>
                      <a:cubicBezTo>
                        <a:pt x="1945" y="774"/>
                        <a:pt x="1929" y="766"/>
                        <a:pt x="1905" y="774"/>
                      </a:cubicBezTo>
                      <a:cubicBezTo>
                        <a:pt x="1881" y="790"/>
                        <a:pt x="1874" y="814"/>
                        <a:pt x="1850" y="766"/>
                      </a:cubicBezTo>
                      <a:cubicBezTo>
                        <a:pt x="1834" y="719"/>
                        <a:pt x="1834" y="640"/>
                        <a:pt x="1810" y="632"/>
                      </a:cubicBezTo>
                      <a:cubicBezTo>
                        <a:pt x="1787" y="624"/>
                        <a:pt x="1692" y="577"/>
                        <a:pt x="1684" y="537"/>
                      </a:cubicBezTo>
                      <a:cubicBezTo>
                        <a:pt x="1684" y="490"/>
                        <a:pt x="1541" y="395"/>
                        <a:pt x="1534" y="339"/>
                      </a:cubicBezTo>
                      <a:cubicBezTo>
                        <a:pt x="1526" y="284"/>
                        <a:pt x="1526" y="158"/>
                        <a:pt x="1541" y="134"/>
                      </a:cubicBezTo>
                      <a:cubicBezTo>
                        <a:pt x="1510" y="94"/>
                        <a:pt x="1455" y="47"/>
                        <a:pt x="1447" y="31"/>
                      </a:cubicBezTo>
                      <a:cubicBezTo>
                        <a:pt x="1423" y="0"/>
                        <a:pt x="1415" y="15"/>
                        <a:pt x="1415" y="15"/>
                      </a:cubicBezTo>
                      <a:cubicBezTo>
                        <a:pt x="1091" y="63"/>
                        <a:pt x="119" y="79"/>
                        <a:pt x="0" y="79"/>
                      </a:cubicBezTo>
                      <a:cubicBezTo>
                        <a:pt x="0" y="94"/>
                        <a:pt x="0" y="102"/>
                        <a:pt x="8" y="110"/>
                      </a:cubicBezTo>
                      <a:cubicBezTo>
                        <a:pt x="32" y="142"/>
                        <a:pt x="8" y="110"/>
                        <a:pt x="16" y="150"/>
                      </a:cubicBezTo>
                      <a:cubicBezTo>
                        <a:pt x="24" y="181"/>
                        <a:pt x="55" y="197"/>
                        <a:pt x="95" y="229"/>
                      </a:cubicBezTo>
                      <a:cubicBezTo>
                        <a:pt x="127" y="260"/>
                        <a:pt x="103" y="276"/>
                        <a:pt x="103" y="308"/>
                      </a:cubicBezTo>
                      <a:cubicBezTo>
                        <a:pt x="103" y="339"/>
                        <a:pt x="134" y="331"/>
                        <a:pt x="150" y="339"/>
                      </a:cubicBezTo>
                      <a:cubicBezTo>
                        <a:pt x="158" y="355"/>
                        <a:pt x="214" y="403"/>
                        <a:pt x="229" y="426"/>
                      </a:cubicBezTo>
                      <a:cubicBezTo>
                        <a:pt x="253" y="442"/>
                        <a:pt x="253" y="426"/>
                        <a:pt x="253" y="403"/>
                      </a:cubicBezTo>
                      <a:cubicBezTo>
                        <a:pt x="253" y="379"/>
                        <a:pt x="293" y="387"/>
                        <a:pt x="293" y="411"/>
                      </a:cubicBezTo>
                      <a:cubicBezTo>
                        <a:pt x="293" y="434"/>
                        <a:pt x="316" y="434"/>
                        <a:pt x="324" y="458"/>
                      </a:cubicBezTo>
                      <a:cubicBezTo>
                        <a:pt x="340" y="482"/>
                        <a:pt x="324" y="482"/>
                        <a:pt x="300" y="490"/>
                      </a:cubicBezTo>
                      <a:cubicBezTo>
                        <a:pt x="277" y="497"/>
                        <a:pt x="261" y="521"/>
                        <a:pt x="229" y="553"/>
                      </a:cubicBezTo>
                      <a:cubicBezTo>
                        <a:pt x="205" y="577"/>
                        <a:pt x="253" y="584"/>
                        <a:pt x="293" y="608"/>
                      </a:cubicBezTo>
                      <a:cubicBezTo>
                        <a:pt x="324" y="632"/>
                        <a:pt x="324" y="632"/>
                        <a:pt x="324" y="664"/>
                      </a:cubicBezTo>
                      <a:cubicBezTo>
                        <a:pt x="324" y="695"/>
                        <a:pt x="356" y="703"/>
                        <a:pt x="380" y="727"/>
                      </a:cubicBezTo>
                      <a:cubicBezTo>
                        <a:pt x="395" y="750"/>
                        <a:pt x="435" y="711"/>
                        <a:pt x="427" y="837"/>
                      </a:cubicBezTo>
                      <a:cubicBezTo>
                        <a:pt x="419" y="964"/>
                        <a:pt x="427" y="1777"/>
                        <a:pt x="427" y="1777"/>
                      </a:cubicBezTo>
                      <a:cubicBezTo>
                        <a:pt x="427" y="1777"/>
                        <a:pt x="435" y="1872"/>
                        <a:pt x="451" y="2022"/>
                      </a:cubicBezTo>
                      <a:cubicBezTo>
                        <a:pt x="664" y="2014"/>
                        <a:pt x="1834" y="1975"/>
                        <a:pt x="2095" y="1943"/>
                      </a:cubicBezTo>
                      <a:cubicBezTo>
                        <a:pt x="2095" y="1943"/>
                        <a:pt x="2190" y="1959"/>
                        <a:pt x="2166" y="2022"/>
                      </a:cubicBezTo>
                      <a:cubicBezTo>
                        <a:pt x="2150" y="2093"/>
                        <a:pt x="2119" y="2109"/>
                        <a:pt x="2095" y="2141"/>
                      </a:cubicBezTo>
                      <a:cubicBezTo>
                        <a:pt x="2079" y="2172"/>
                        <a:pt x="2079" y="2196"/>
                        <a:pt x="2127" y="2188"/>
                      </a:cubicBezTo>
                      <a:cubicBezTo>
                        <a:pt x="2158" y="2180"/>
                        <a:pt x="2261" y="2172"/>
                        <a:pt x="2324" y="2172"/>
                      </a:cubicBezTo>
                      <a:cubicBezTo>
                        <a:pt x="2324" y="2164"/>
                        <a:pt x="2324" y="2164"/>
                        <a:pt x="2316" y="2157"/>
                      </a:cubicBezTo>
                      <a:cubicBezTo>
                        <a:pt x="2308" y="2133"/>
                        <a:pt x="2293" y="2125"/>
                        <a:pt x="2316" y="2109"/>
                      </a:cubicBezTo>
                      <a:cubicBezTo>
                        <a:pt x="2332" y="2093"/>
                        <a:pt x="2308" y="2046"/>
                        <a:pt x="2332" y="2030"/>
                      </a:cubicBezTo>
                      <a:cubicBezTo>
                        <a:pt x="2364" y="2006"/>
                        <a:pt x="2348" y="1991"/>
                        <a:pt x="2364" y="1967"/>
                      </a:cubicBezTo>
                      <a:cubicBezTo>
                        <a:pt x="2372" y="1951"/>
                        <a:pt x="2316" y="1888"/>
                        <a:pt x="2356" y="1896"/>
                      </a:cubicBezTo>
                      <a:cubicBezTo>
                        <a:pt x="2395" y="1904"/>
                        <a:pt x="2411" y="1904"/>
                        <a:pt x="2411" y="1888"/>
                      </a:cubicBezTo>
                      <a:cubicBezTo>
                        <a:pt x="2411" y="1880"/>
                        <a:pt x="2435" y="1864"/>
                        <a:pt x="2451" y="1864"/>
                      </a:cubicBezTo>
                      <a:cubicBezTo>
                        <a:pt x="2459" y="1872"/>
                        <a:pt x="2459" y="1888"/>
                        <a:pt x="2474" y="1840"/>
                      </a:cubicBezTo>
                      <a:cubicBezTo>
                        <a:pt x="2490" y="1793"/>
                        <a:pt x="2459" y="1769"/>
                        <a:pt x="2490" y="1769"/>
                      </a:cubicBezTo>
                      <a:cubicBezTo>
                        <a:pt x="2530" y="1769"/>
                        <a:pt x="2506" y="1682"/>
                        <a:pt x="2498" y="167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9" name="Freeform 586">
                  <a:extLst>
                    <a:ext uri="{FF2B5EF4-FFF2-40B4-BE49-F238E27FC236}">
                      <a16:creationId xmlns:a16="http://schemas.microsoft.com/office/drawing/2014/main" id="{9933E160-9ECE-8444-BB32-4CE8925277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51946" y="6534803"/>
                  <a:ext cx="1655984" cy="582146"/>
                </a:xfrm>
                <a:custGeom>
                  <a:avLst/>
                  <a:gdLst>
                    <a:gd name="T0" fmla="*/ 2340 w 3148"/>
                    <a:gd name="T1" fmla="*/ 751 h 1108"/>
                    <a:gd name="T2" fmla="*/ 2340 w 3148"/>
                    <a:gd name="T3" fmla="*/ 751 h 1108"/>
                    <a:gd name="T4" fmla="*/ 2340 w 3148"/>
                    <a:gd name="T5" fmla="*/ 664 h 1108"/>
                    <a:gd name="T6" fmla="*/ 2419 w 3148"/>
                    <a:gd name="T7" fmla="*/ 617 h 1108"/>
                    <a:gd name="T8" fmla="*/ 2530 w 3148"/>
                    <a:gd name="T9" fmla="*/ 593 h 1108"/>
                    <a:gd name="T10" fmla="*/ 2680 w 3148"/>
                    <a:gd name="T11" fmla="*/ 459 h 1108"/>
                    <a:gd name="T12" fmla="*/ 2720 w 3148"/>
                    <a:gd name="T13" fmla="*/ 395 h 1108"/>
                    <a:gd name="T14" fmla="*/ 2791 w 3148"/>
                    <a:gd name="T15" fmla="*/ 356 h 1108"/>
                    <a:gd name="T16" fmla="*/ 2807 w 3148"/>
                    <a:gd name="T17" fmla="*/ 309 h 1108"/>
                    <a:gd name="T18" fmla="*/ 2862 w 3148"/>
                    <a:gd name="T19" fmla="*/ 348 h 1108"/>
                    <a:gd name="T20" fmla="*/ 2917 w 3148"/>
                    <a:gd name="T21" fmla="*/ 245 h 1108"/>
                    <a:gd name="T22" fmla="*/ 3004 w 3148"/>
                    <a:gd name="T23" fmla="*/ 261 h 1108"/>
                    <a:gd name="T24" fmla="*/ 3076 w 3148"/>
                    <a:gd name="T25" fmla="*/ 174 h 1108"/>
                    <a:gd name="T26" fmla="*/ 3131 w 3148"/>
                    <a:gd name="T27" fmla="*/ 111 h 1108"/>
                    <a:gd name="T28" fmla="*/ 3139 w 3148"/>
                    <a:gd name="T29" fmla="*/ 0 h 1108"/>
                    <a:gd name="T30" fmla="*/ 2981 w 3148"/>
                    <a:gd name="T31" fmla="*/ 24 h 1108"/>
                    <a:gd name="T32" fmla="*/ 941 w 3148"/>
                    <a:gd name="T33" fmla="*/ 253 h 1108"/>
                    <a:gd name="T34" fmla="*/ 894 w 3148"/>
                    <a:gd name="T35" fmla="*/ 285 h 1108"/>
                    <a:gd name="T36" fmla="*/ 838 w 3148"/>
                    <a:gd name="T37" fmla="*/ 261 h 1108"/>
                    <a:gd name="T38" fmla="*/ 759 w 3148"/>
                    <a:gd name="T39" fmla="*/ 269 h 1108"/>
                    <a:gd name="T40" fmla="*/ 759 w 3148"/>
                    <a:gd name="T41" fmla="*/ 356 h 1108"/>
                    <a:gd name="T42" fmla="*/ 261 w 3148"/>
                    <a:gd name="T43" fmla="*/ 372 h 1108"/>
                    <a:gd name="T44" fmla="*/ 206 w 3148"/>
                    <a:gd name="T45" fmla="*/ 372 h 1108"/>
                    <a:gd name="T46" fmla="*/ 214 w 3148"/>
                    <a:gd name="T47" fmla="*/ 443 h 1108"/>
                    <a:gd name="T48" fmla="*/ 182 w 3148"/>
                    <a:gd name="T49" fmla="*/ 506 h 1108"/>
                    <a:gd name="T50" fmla="*/ 166 w 3148"/>
                    <a:gd name="T51" fmla="*/ 585 h 1108"/>
                    <a:gd name="T52" fmla="*/ 166 w 3148"/>
                    <a:gd name="T53" fmla="*/ 633 h 1108"/>
                    <a:gd name="T54" fmla="*/ 111 w 3148"/>
                    <a:gd name="T55" fmla="*/ 759 h 1108"/>
                    <a:gd name="T56" fmla="*/ 103 w 3148"/>
                    <a:gd name="T57" fmla="*/ 815 h 1108"/>
                    <a:gd name="T58" fmla="*/ 79 w 3148"/>
                    <a:gd name="T59" fmla="*/ 838 h 1108"/>
                    <a:gd name="T60" fmla="*/ 48 w 3148"/>
                    <a:gd name="T61" fmla="*/ 893 h 1108"/>
                    <a:gd name="T62" fmla="*/ 24 w 3148"/>
                    <a:gd name="T63" fmla="*/ 949 h 1108"/>
                    <a:gd name="T64" fmla="*/ 79 w 3148"/>
                    <a:gd name="T65" fmla="*/ 1004 h 1108"/>
                    <a:gd name="T66" fmla="*/ 40 w 3148"/>
                    <a:gd name="T67" fmla="*/ 1059 h 1108"/>
                    <a:gd name="T68" fmla="*/ 0 w 3148"/>
                    <a:gd name="T69" fmla="*/ 1107 h 1108"/>
                    <a:gd name="T70" fmla="*/ 2246 w 3148"/>
                    <a:gd name="T71" fmla="*/ 893 h 1108"/>
                    <a:gd name="T72" fmla="*/ 2246 w 3148"/>
                    <a:gd name="T73" fmla="*/ 783 h 1108"/>
                    <a:gd name="T74" fmla="*/ 2340 w 3148"/>
                    <a:gd name="T75" fmla="*/ 751 h 1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148" h="1108">
                      <a:moveTo>
                        <a:pt x="2340" y="751"/>
                      </a:moveTo>
                      <a:lnTo>
                        <a:pt x="2340" y="751"/>
                      </a:lnTo>
                      <a:cubicBezTo>
                        <a:pt x="2356" y="728"/>
                        <a:pt x="2348" y="696"/>
                        <a:pt x="2340" y="664"/>
                      </a:cubicBezTo>
                      <a:cubicBezTo>
                        <a:pt x="2333" y="633"/>
                        <a:pt x="2356" y="656"/>
                        <a:pt x="2419" y="617"/>
                      </a:cubicBezTo>
                      <a:cubicBezTo>
                        <a:pt x="2475" y="569"/>
                        <a:pt x="2499" y="625"/>
                        <a:pt x="2530" y="593"/>
                      </a:cubicBezTo>
                      <a:cubicBezTo>
                        <a:pt x="2562" y="562"/>
                        <a:pt x="2641" y="467"/>
                        <a:pt x="2680" y="459"/>
                      </a:cubicBezTo>
                      <a:cubicBezTo>
                        <a:pt x="2720" y="459"/>
                        <a:pt x="2720" y="411"/>
                        <a:pt x="2720" y="395"/>
                      </a:cubicBezTo>
                      <a:cubicBezTo>
                        <a:pt x="2720" y="372"/>
                        <a:pt x="2775" y="380"/>
                        <a:pt x="2791" y="356"/>
                      </a:cubicBezTo>
                      <a:cubicBezTo>
                        <a:pt x="2807" y="332"/>
                        <a:pt x="2783" y="309"/>
                        <a:pt x="2807" y="309"/>
                      </a:cubicBezTo>
                      <a:cubicBezTo>
                        <a:pt x="2830" y="309"/>
                        <a:pt x="2815" y="356"/>
                        <a:pt x="2862" y="348"/>
                      </a:cubicBezTo>
                      <a:cubicBezTo>
                        <a:pt x="2910" y="340"/>
                        <a:pt x="2878" y="285"/>
                        <a:pt x="2917" y="245"/>
                      </a:cubicBezTo>
                      <a:cubicBezTo>
                        <a:pt x="2965" y="206"/>
                        <a:pt x="3004" y="245"/>
                        <a:pt x="3004" y="261"/>
                      </a:cubicBezTo>
                      <a:cubicBezTo>
                        <a:pt x="3012" y="285"/>
                        <a:pt x="3060" y="222"/>
                        <a:pt x="3076" y="174"/>
                      </a:cubicBezTo>
                      <a:cubicBezTo>
                        <a:pt x="3091" y="127"/>
                        <a:pt x="3107" y="150"/>
                        <a:pt x="3131" y="111"/>
                      </a:cubicBezTo>
                      <a:cubicBezTo>
                        <a:pt x="3147" y="79"/>
                        <a:pt x="3139" y="32"/>
                        <a:pt x="3139" y="0"/>
                      </a:cubicBezTo>
                      <a:cubicBezTo>
                        <a:pt x="3099" y="0"/>
                        <a:pt x="3036" y="8"/>
                        <a:pt x="2981" y="24"/>
                      </a:cubicBezTo>
                      <a:cubicBezTo>
                        <a:pt x="2910" y="32"/>
                        <a:pt x="1637" y="222"/>
                        <a:pt x="941" y="253"/>
                      </a:cubicBezTo>
                      <a:cubicBezTo>
                        <a:pt x="941" y="253"/>
                        <a:pt x="901" y="261"/>
                        <a:pt x="894" y="285"/>
                      </a:cubicBezTo>
                      <a:cubicBezTo>
                        <a:pt x="886" y="301"/>
                        <a:pt x="862" y="277"/>
                        <a:pt x="838" y="261"/>
                      </a:cubicBezTo>
                      <a:cubicBezTo>
                        <a:pt x="823" y="253"/>
                        <a:pt x="759" y="245"/>
                        <a:pt x="759" y="269"/>
                      </a:cubicBezTo>
                      <a:cubicBezTo>
                        <a:pt x="759" y="293"/>
                        <a:pt x="791" y="348"/>
                        <a:pt x="759" y="356"/>
                      </a:cubicBezTo>
                      <a:cubicBezTo>
                        <a:pt x="728" y="356"/>
                        <a:pt x="356" y="388"/>
                        <a:pt x="261" y="372"/>
                      </a:cubicBezTo>
                      <a:cubicBezTo>
                        <a:pt x="253" y="380"/>
                        <a:pt x="237" y="380"/>
                        <a:pt x="206" y="372"/>
                      </a:cubicBezTo>
                      <a:cubicBezTo>
                        <a:pt x="166" y="364"/>
                        <a:pt x="222" y="427"/>
                        <a:pt x="214" y="443"/>
                      </a:cubicBezTo>
                      <a:cubicBezTo>
                        <a:pt x="198" y="467"/>
                        <a:pt x="214" y="482"/>
                        <a:pt x="182" y="506"/>
                      </a:cubicBezTo>
                      <a:cubicBezTo>
                        <a:pt x="158" y="522"/>
                        <a:pt x="182" y="569"/>
                        <a:pt x="166" y="585"/>
                      </a:cubicBezTo>
                      <a:cubicBezTo>
                        <a:pt x="143" y="601"/>
                        <a:pt x="158" y="609"/>
                        <a:pt x="166" y="633"/>
                      </a:cubicBezTo>
                      <a:cubicBezTo>
                        <a:pt x="174" y="664"/>
                        <a:pt x="143" y="751"/>
                        <a:pt x="111" y="759"/>
                      </a:cubicBezTo>
                      <a:cubicBezTo>
                        <a:pt x="79" y="767"/>
                        <a:pt x="119" y="799"/>
                        <a:pt x="103" y="815"/>
                      </a:cubicBezTo>
                      <a:cubicBezTo>
                        <a:pt x="87" y="830"/>
                        <a:pt x="79" y="815"/>
                        <a:pt x="79" y="838"/>
                      </a:cubicBezTo>
                      <a:cubicBezTo>
                        <a:pt x="71" y="862"/>
                        <a:pt x="71" y="886"/>
                        <a:pt x="48" y="893"/>
                      </a:cubicBezTo>
                      <a:cubicBezTo>
                        <a:pt x="16" y="909"/>
                        <a:pt x="24" y="925"/>
                        <a:pt x="24" y="949"/>
                      </a:cubicBezTo>
                      <a:cubicBezTo>
                        <a:pt x="24" y="973"/>
                        <a:pt x="64" y="957"/>
                        <a:pt x="79" y="1004"/>
                      </a:cubicBezTo>
                      <a:cubicBezTo>
                        <a:pt x="87" y="1052"/>
                        <a:pt x="64" y="1044"/>
                        <a:pt x="40" y="1059"/>
                      </a:cubicBezTo>
                      <a:cubicBezTo>
                        <a:pt x="8" y="1075"/>
                        <a:pt x="0" y="1107"/>
                        <a:pt x="0" y="1107"/>
                      </a:cubicBezTo>
                      <a:cubicBezTo>
                        <a:pt x="593" y="1083"/>
                        <a:pt x="1645" y="957"/>
                        <a:pt x="2246" y="893"/>
                      </a:cubicBezTo>
                      <a:cubicBezTo>
                        <a:pt x="2246" y="846"/>
                        <a:pt x="2246" y="791"/>
                        <a:pt x="2246" y="783"/>
                      </a:cubicBezTo>
                      <a:cubicBezTo>
                        <a:pt x="2246" y="759"/>
                        <a:pt x="2317" y="767"/>
                        <a:pt x="2340" y="75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0" name="Freeform 587">
                  <a:extLst>
                    <a:ext uri="{FF2B5EF4-FFF2-40B4-BE49-F238E27FC236}">
                      <a16:creationId xmlns:a16="http://schemas.microsoft.com/office/drawing/2014/main" id="{3B0615ED-9DAB-9E44-BABB-080C334E69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49626" y="6530164"/>
                  <a:ext cx="1658304" cy="586785"/>
                </a:xfrm>
                <a:custGeom>
                  <a:avLst/>
                  <a:gdLst>
                    <a:gd name="T0" fmla="*/ 0 w 3155"/>
                    <a:gd name="T1" fmla="*/ 1115 h 1116"/>
                    <a:gd name="T2" fmla="*/ 78 w 3155"/>
                    <a:gd name="T3" fmla="*/ 1012 h 1116"/>
                    <a:gd name="T4" fmla="*/ 31 w 3155"/>
                    <a:gd name="T5" fmla="*/ 941 h 1116"/>
                    <a:gd name="T6" fmla="*/ 78 w 3155"/>
                    <a:gd name="T7" fmla="*/ 846 h 1116"/>
                    <a:gd name="T8" fmla="*/ 102 w 3155"/>
                    <a:gd name="T9" fmla="*/ 799 h 1116"/>
                    <a:gd name="T10" fmla="*/ 150 w 3155"/>
                    <a:gd name="T11" fmla="*/ 728 h 1116"/>
                    <a:gd name="T12" fmla="*/ 173 w 3155"/>
                    <a:gd name="T13" fmla="*/ 585 h 1116"/>
                    <a:gd name="T14" fmla="*/ 205 w 3155"/>
                    <a:gd name="T15" fmla="*/ 475 h 1116"/>
                    <a:gd name="T16" fmla="*/ 197 w 3155"/>
                    <a:gd name="T17" fmla="*/ 380 h 1116"/>
                    <a:gd name="T18" fmla="*/ 268 w 3155"/>
                    <a:gd name="T19" fmla="*/ 380 h 1116"/>
                    <a:gd name="T20" fmla="*/ 750 w 3155"/>
                    <a:gd name="T21" fmla="*/ 356 h 1116"/>
                    <a:gd name="T22" fmla="*/ 766 w 3155"/>
                    <a:gd name="T23" fmla="*/ 309 h 1116"/>
                    <a:gd name="T24" fmla="*/ 853 w 3155"/>
                    <a:gd name="T25" fmla="*/ 269 h 1116"/>
                    <a:gd name="T26" fmla="*/ 901 w 3155"/>
                    <a:gd name="T27" fmla="*/ 285 h 1116"/>
                    <a:gd name="T28" fmla="*/ 2988 w 3155"/>
                    <a:gd name="T29" fmla="*/ 24 h 1116"/>
                    <a:gd name="T30" fmla="*/ 3146 w 3155"/>
                    <a:gd name="T31" fmla="*/ 8 h 1116"/>
                    <a:gd name="T32" fmla="*/ 3083 w 3155"/>
                    <a:gd name="T33" fmla="*/ 182 h 1116"/>
                    <a:gd name="T34" fmla="*/ 2964 w 3155"/>
                    <a:gd name="T35" fmla="*/ 237 h 1116"/>
                    <a:gd name="T36" fmla="*/ 2869 w 3155"/>
                    <a:gd name="T37" fmla="*/ 364 h 1116"/>
                    <a:gd name="T38" fmla="*/ 2806 w 3155"/>
                    <a:gd name="T39" fmla="*/ 324 h 1116"/>
                    <a:gd name="T40" fmla="*/ 2758 w 3155"/>
                    <a:gd name="T41" fmla="*/ 388 h 1116"/>
                    <a:gd name="T42" fmla="*/ 2569 w 3155"/>
                    <a:gd name="T43" fmla="*/ 577 h 1116"/>
                    <a:gd name="T44" fmla="*/ 2498 w 3155"/>
                    <a:gd name="T45" fmla="*/ 609 h 1116"/>
                    <a:gd name="T46" fmla="*/ 2363 w 3155"/>
                    <a:gd name="T47" fmla="*/ 656 h 1116"/>
                    <a:gd name="T48" fmla="*/ 2347 w 3155"/>
                    <a:gd name="T49" fmla="*/ 759 h 1116"/>
                    <a:gd name="T50" fmla="*/ 2260 w 3155"/>
                    <a:gd name="T51" fmla="*/ 838 h 1116"/>
                    <a:gd name="T52" fmla="*/ 2253 w 3155"/>
                    <a:gd name="T53" fmla="*/ 901 h 1116"/>
                    <a:gd name="T54" fmla="*/ 205 w 3155"/>
                    <a:gd name="T55" fmla="*/ 380 h 1116"/>
                    <a:gd name="T56" fmla="*/ 213 w 3155"/>
                    <a:gd name="T57" fmla="*/ 411 h 1116"/>
                    <a:gd name="T58" fmla="*/ 197 w 3155"/>
                    <a:gd name="T59" fmla="*/ 514 h 1116"/>
                    <a:gd name="T60" fmla="*/ 173 w 3155"/>
                    <a:gd name="T61" fmla="*/ 625 h 1116"/>
                    <a:gd name="T62" fmla="*/ 118 w 3155"/>
                    <a:gd name="T63" fmla="*/ 767 h 1116"/>
                    <a:gd name="T64" fmla="*/ 110 w 3155"/>
                    <a:gd name="T65" fmla="*/ 823 h 1116"/>
                    <a:gd name="T66" fmla="*/ 86 w 3155"/>
                    <a:gd name="T67" fmla="*/ 854 h 1116"/>
                    <a:gd name="T68" fmla="*/ 39 w 3155"/>
                    <a:gd name="T69" fmla="*/ 957 h 1116"/>
                    <a:gd name="T70" fmla="*/ 63 w 3155"/>
                    <a:gd name="T71" fmla="*/ 1060 h 1116"/>
                    <a:gd name="T72" fmla="*/ 2253 w 3155"/>
                    <a:gd name="T73" fmla="*/ 894 h 1116"/>
                    <a:gd name="T74" fmla="*/ 2300 w 3155"/>
                    <a:gd name="T75" fmla="*/ 767 h 1116"/>
                    <a:gd name="T76" fmla="*/ 2347 w 3155"/>
                    <a:gd name="T77" fmla="*/ 672 h 1116"/>
                    <a:gd name="T78" fmla="*/ 2474 w 3155"/>
                    <a:gd name="T79" fmla="*/ 601 h 1116"/>
                    <a:gd name="T80" fmla="*/ 2537 w 3155"/>
                    <a:gd name="T81" fmla="*/ 601 h 1116"/>
                    <a:gd name="T82" fmla="*/ 2727 w 3155"/>
                    <a:gd name="T83" fmla="*/ 403 h 1116"/>
                    <a:gd name="T84" fmla="*/ 2798 w 3155"/>
                    <a:gd name="T85" fmla="*/ 332 h 1116"/>
                    <a:gd name="T86" fmla="*/ 2837 w 3155"/>
                    <a:gd name="T87" fmla="*/ 332 h 1116"/>
                    <a:gd name="T88" fmla="*/ 2924 w 3155"/>
                    <a:gd name="T89" fmla="*/ 253 h 1116"/>
                    <a:gd name="T90" fmla="*/ 3019 w 3155"/>
                    <a:gd name="T91" fmla="*/ 269 h 1116"/>
                    <a:gd name="T92" fmla="*/ 3130 w 3155"/>
                    <a:gd name="T93" fmla="*/ 119 h 1116"/>
                    <a:gd name="T94" fmla="*/ 948 w 3155"/>
                    <a:gd name="T95" fmla="*/ 261 h 1116"/>
                    <a:gd name="T96" fmla="*/ 853 w 3155"/>
                    <a:gd name="T97" fmla="*/ 277 h 1116"/>
                    <a:gd name="T98" fmla="*/ 766 w 3155"/>
                    <a:gd name="T99" fmla="*/ 277 h 1116"/>
                    <a:gd name="T100" fmla="*/ 766 w 3155"/>
                    <a:gd name="T101" fmla="*/ 364 h 1116"/>
                    <a:gd name="T102" fmla="*/ 268 w 3155"/>
                    <a:gd name="T103" fmla="*/ 388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155" h="1116">
                      <a:moveTo>
                        <a:pt x="0" y="1115"/>
                      </a:moveTo>
                      <a:lnTo>
                        <a:pt x="0" y="1115"/>
                      </a:lnTo>
                      <a:lnTo>
                        <a:pt x="0" y="1115"/>
                      </a:lnTo>
                      <a:cubicBezTo>
                        <a:pt x="7" y="1115"/>
                        <a:pt x="15" y="1083"/>
                        <a:pt x="39" y="1067"/>
                      </a:cubicBezTo>
                      <a:cubicBezTo>
                        <a:pt x="47" y="1060"/>
                        <a:pt x="55" y="1060"/>
                        <a:pt x="63" y="1052"/>
                      </a:cubicBezTo>
                      <a:cubicBezTo>
                        <a:pt x="78" y="1052"/>
                        <a:pt x="86" y="1044"/>
                        <a:pt x="78" y="1012"/>
                      </a:cubicBezTo>
                      <a:cubicBezTo>
                        <a:pt x="78" y="988"/>
                        <a:pt x="63" y="981"/>
                        <a:pt x="47" y="973"/>
                      </a:cubicBezTo>
                      <a:cubicBezTo>
                        <a:pt x="39" y="973"/>
                        <a:pt x="31" y="965"/>
                        <a:pt x="31" y="957"/>
                      </a:cubicBezTo>
                      <a:cubicBezTo>
                        <a:pt x="31" y="949"/>
                        <a:pt x="31" y="949"/>
                        <a:pt x="31" y="941"/>
                      </a:cubicBezTo>
                      <a:cubicBezTo>
                        <a:pt x="23" y="925"/>
                        <a:pt x="23" y="909"/>
                        <a:pt x="55" y="901"/>
                      </a:cubicBezTo>
                      <a:cubicBezTo>
                        <a:pt x="78" y="886"/>
                        <a:pt x="78" y="878"/>
                        <a:pt x="78" y="854"/>
                      </a:cubicBezTo>
                      <a:lnTo>
                        <a:pt x="78" y="846"/>
                      </a:lnTo>
                      <a:cubicBezTo>
                        <a:pt x="86" y="830"/>
                        <a:pt x="86" y="830"/>
                        <a:pt x="94" y="830"/>
                      </a:cubicBezTo>
                      <a:lnTo>
                        <a:pt x="102" y="823"/>
                      </a:lnTo>
                      <a:cubicBezTo>
                        <a:pt x="110" y="814"/>
                        <a:pt x="110" y="807"/>
                        <a:pt x="102" y="799"/>
                      </a:cubicBezTo>
                      <a:cubicBezTo>
                        <a:pt x="102" y="791"/>
                        <a:pt x="102" y="783"/>
                        <a:pt x="102" y="775"/>
                      </a:cubicBezTo>
                      <a:cubicBezTo>
                        <a:pt x="110" y="767"/>
                        <a:pt x="110" y="767"/>
                        <a:pt x="118" y="767"/>
                      </a:cubicBezTo>
                      <a:cubicBezTo>
                        <a:pt x="126" y="759"/>
                        <a:pt x="142" y="751"/>
                        <a:pt x="150" y="728"/>
                      </a:cubicBezTo>
                      <a:cubicBezTo>
                        <a:pt x="165" y="696"/>
                        <a:pt x="181" y="664"/>
                        <a:pt x="173" y="648"/>
                      </a:cubicBezTo>
                      <a:cubicBezTo>
                        <a:pt x="173" y="641"/>
                        <a:pt x="165" y="633"/>
                        <a:pt x="165" y="625"/>
                      </a:cubicBezTo>
                      <a:cubicBezTo>
                        <a:pt x="158" y="609"/>
                        <a:pt x="158" y="601"/>
                        <a:pt x="173" y="585"/>
                      </a:cubicBezTo>
                      <a:cubicBezTo>
                        <a:pt x="181" y="585"/>
                        <a:pt x="173" y="570"/>
                        <a:pt x="173" y="554"/>
                      </a:cubicBezTo>
                      <a:cubicBezTo>
                        <a:pt x="173" y="538"/>
                        <a:pt x="173" y="522"/>
                        <a:pt x="189" y="506"/>
                      </a:cubicBezTo>
                      <a:cubicBezTo>
                        <a:pt x="205" y="498"/>
                        <a:pt x="205" y="483"/>
                        <a:pt x="205" y="475"/>
                      </a:cubicBezTo>
                      <a:cubicBezTo>
                        <a:pt x="213" y="467"/>
                        <a:pt x="213" y="459"/>
                        <a:pt x="213" y="451"/>
                      </a:cubicBezTo>
                      <a:cubicBezTo>
                        <a:pt x="213" y="443"/>
                        <a:pt x="213" y="427"/>
                        <a:pt x="205" y="419"/>
                      </a:cubicBezTo>
                      <a:cubicBezTo>
                        <a:pt x="197" y="403"/>
                        <a:pt x="189" y="388"/>
                        <a:pt x="197" y="380"/>
                      </a:cubicBezTo>
                      <a:cubicBezTo>
                        <a:pt x="197" y="372"/>
                        <a:pt x="205" y="372"/>
                        <a:pt x="213" y="372"/>
                      </a:cubicBezTo>
                      <a:cubicBezTo>
                        <a:pt x="244" y="380"/>
                        <a:pt x="260" y="388"/>
                        <a:pt x="268" y="380"/>
                      </a:cubicBezTo>
                      <a:lnTo>
                        <a:pt x="268" y="380"/>
                      </a:lnTo>
                      <a:lnTo>
                        <a:pt x="268" y="380"/>
                      </a:lnTo>
                      <a:cubicBezTo>
                        <a:pt x="284" y="380"/>
                        <a:pt x="300" y="380"/>
                        <a:pt x="331" y="380"/>
                      </a:cubicBezTo>
                      <a:cubicBezTo>
                        <a:pt x="411" y="380"/>
                        <a:pt x="553" y="372"/>
                        <a:pt x="750" y="356"/>
                      </a:cubicBezTo>
                      <a:cubicBezTo>
                        <a:pt x="758" y="356"/>
                        <a:pt x="758" y="356"/>
                        <a:pt x="766" y="356"/>
                      </a:cubicBezTo>
                      <a:cubicBezTo>
                        <a:pt x="766" y="356"/>
                        <a:pt x="774" y="356"/>
                        <a:pt x="774" y="348"/>
                      </a:cubicBezTo>
                      <a:cubicBezTo>
                        <a:pt x="782" y="340"/>
                        <a:pt x="774" y="324"/>
                        <a:pt x="766" y="309"/>
                      </a:cubicBezTo>
                      <a:cubicBezTo>
                        <a:pt x="766" y="293"/>
                        <a:pt x="758" y="285"/>
                        <a:pt x="758" y="277"/>
                      </a:cubicBezTo>
                      <a:cubicBezTo>
                        <a:pt x="758" y="269"/>
                        <a:pt x="774" y="261"/>
                        <a:pt x="798" y="261"/>
                      </a:cubicBezTo>
                      <a:cubicBezTo>
                        <a:pt x="822" y="261"/>
                        <a:pt x="837" y="261"/>
                        <a:pt x="853" y="269"/>
                      </a:cubicBezTo>
                      <a:cubicBezTo>
                        <a:pt x="853" y="269"/>
                        <a:pt x="853" y="277"/>
                        <a:pt x="861" y="277"/>
                      </a:cubicBezTo>
                      <a:cubicBezTo>
                        <a:pt x="869" y="285"/>
                        <a:pt x="885" y="293"/>
                        <a:pt x="893" y="293"/>
                      </a:cubicBezTo>
                      <a:cubicBezTo>
                        <a:pt x="893" y="293"/>
                        <a:pt x="893" y="293"/>
                        <a:pt x="901" y="285"/>
                      </a:cubicBezTo>
                      <a:cubicBezTo>
                        <a:pt x="908" y="269"/>
                        <a:pt x="948" y="253"/>
                        <a:pt x="948" y="253"/>
                      </a:cubicBezTo>
                      <a:lnTo>
                        <a:pt x="948" y="253"/>
                      </a:lnTo>
                      <a:cubicBezTo>
                        <a:pt x="1628" y="222"/>
                        <a:pt x="2909" y="40"/>
                        <a:pt x="2988" y="24"/>
                      </a:cubicBezTo>
                      <a:cubicBezTo>
                        <a:pt x="3059" y="8"/>
                        <a:pt x="3114" y="8"/>
                        <a:pt x="3146" y="0"/>
                      </a:cubicBezTo>
                      <a:lnTo>
                        <a:pt x="3146" y="0"/>
                      </a:lnTo>
                      <a:cubicBezTo>
                        <a:pt x="3146" y="8"/>
                        <a:pt x="3146" y="8"/>
                        <a:pt x="3146" y="8"/>
                      </a:cubicBezTo>
                      <a:cubicBezTo>
                        <a:pt x="3154" y="40"/>
                        <a:pt x="3154" y="87"/>
                        <a:pt x="3138" y="119"/>
                      </a:cubicBezTo>
                      <a:cubicBezTo>
                        <a:pt x="3130" y="143"/>
                        <a:pt x="3114" y="150"/>
                        <a:pt x="3106" y="150"/>
                      </a:cubicBezTo>
                      <a:cubicBezTo>
                        <a:pt x="3098" y="158"/>
                        <a:pt x="3090" y="158"/>
                        <a:pt x="3083" y="182"/>
                      </a:cubicBezTo>
                      <a:cubicBezTo>
                        <a:pt x="3075" y="222"/>
                        <a:pt x="3035" y="277"/>
                        <a:pt x="3019" y="277"/>
                      </a:cubicBezTo>
                      <a:lnTo>
                        <a:pt x="3011" y="277"/>
                      </a:lnTo>
                      <a:cubicBezTo>
                        <a:pt x="3011" y="261"/>
                        <a:pt x="2988" y="237"/>
                        <a:pt x="2964" y="237"/>
                      </a:cubicBezTo>
                      <a:cubicBezTo>
                        <a:pt x="2948" y="237"/>
                        <a:pt x="2940" y="245"/>
                        <a:pt x="2932" y="253"/>
                      </a:cubicBezTo>
                      <a:cubicBezTo>
                        <a:pt x="2909" y="277"/>
                        <a:pt x="2909" y="293"/>
                        <a:pt x="2909" y="317"/>
                      </a:cubicBezTo>
                      <a:cubicBezTo>
                        <a:pt x="2901" y="340"/>
                        <a:pt x="2901" y="356"/>
                        <a:pt x="2869" y="364"/>
                      </a:cubicBezTo>
                      <a:cubicBezTo>
                        <a:pt x="2837" y="364"/>
                        <a:pt x="2830" y="348"/>
                        <a:pt x="2830" y="332"/>
                      </a:cubicBezTo>
                      <a:cubicBezTo>
                        <a:pt x="2822" y="324"/>
                        <a:pt x="2822" y="324"/>
                        <a:pt x="2814" y="324"/>
                      </a:cubicBezTo>
                      <a:lnTo>
                        <a:pt x="2806" y="324"/>
                      </a:lnTo>
                      <a:lnTo>
                        <a:pt x="2806" y="332"/>
                      </a:lnTo>
                      <a:cubicBezTo>
                        <a:pt x="2806" y="340"/>
                        <a:pt x="2806" y="356"/>
                        <a:pt x="2798" y="364"/>
                      </a:cubicBezTo>
                      <a:cubicBezTo>
                        <a:pt x="2790" y="380"/>
                        <a:pt x="2774" y="380"/>
                        <a:pt x="2758" y="388"/>
                      </a:cubicBezTo>
                      <a:cubicBezTo>
                        <a:pt x="2743" y="388"/>
                        <a:pt x="2735" y="388"/>
                        <a:pt x="2735" y="403"/>
                      </a:cubicBezTo>
                      <a:cubicBezTo>
                        <a:pt x="2735" y="443"/>
                        <a:pt x="2719" y="475"/>
                        <a:pt x="2687" y="475"/>
                      </a:cubicBezTo>
                      <a:cubicBezTo>
                        <a:pt x="2656" y="475"/>
                        <a:pt x="2608" y="538"/>
                        <a:pt x="2569" y="577"/>
                      </a:cubicBezTo>
                      <a:cubicBezTo>
                        <a:pt x="2561" y="585"/>
                        <a:pt x="2553" y="593"/>
                        <a:pt x="2545" y="601"/>
                      </a:cubicBezTo>
                      <a:cubicBezTo>
                        <a:pt x="2537" y="609"/>
                        <a:pt x="2529" y="617"/>
                        <a:pt x="2513" y="617"/>
                      </a:cubicBezTo>
                      <a:cubicBezTo>
                        <a:pt x="2513" y="617"/>
                        <a:pt x="2506" y="609"/>
                        <a:pt x="2498" y="609"/>
                      </a:cubicBezTo>
                      <a:cubicBezTo>
                        <a:pt x="2490" y="609"/>
                        <a:pt x="2482" y="609"/>
                        <a:pt x="2474" y="609"/>
                      </a:cubicBezTo>
                      <a:cubicBezTo>
                        <a:pt x="2458" y="609"/>
                        <a:pt x="2442" y="617"/>
                        <a:pt x="2426" y="625"/>
                      </a:cubicBezTo>
                      <a:cubicBezTo>
                        <a:pt x="2395" y="648"/>
                        <a:pt x="2379" y="656"/>
                        <a:pt x="2363" y="656"/>
                      </a:cubicBezTo>
                      <a:cubicBezTo>
                        <a:pt x="2347" y="656"/>
                        <a:pt x="2347" y="656"/>
                        <a:pt x="2347" y="672"/>
                      </a:cubicBezTo>
                      <a:cubicBezTo>
                        <a:pt x="2355" y="680"/>
                        <a:pt x="2355" y="688"/>
                        <a:pt x="2355" y="688"/>
                      </a:cubicBezTo>
                      <a:cubicBezTo>
                        <a:pt x="2363" y="720"/>
                        <a:pt x="2363" y="743"/>
                        <a:pt x="2347" y="759"/>
                      </a:cubicBezTo>
                      <a:cubicBezTo>
                        <a:pt x="2340" y="767"/>
                        <a:pt x="2316" y="775"/>
                        <a:pt x="2300" y="775"/>
                      </a:cubicBezTo>
                      <a:cubicBezTo>
                        <a:pt x="2276" y="775"/>
                        <a:pt x="2260" y="783"/>
                        <a:pt x="2260" y="791"/>
                      </a:cubicBezTo>
                      <a:cubicBezTo>
                        <a:pt x="2260" y="799"/>
                        <a:pt x="2260" y="814"/>
                        <a:pt x="2260" y="838"/>
                      </a:cubicBezTo>
                      <a:cubicBezTo>
                        <a:pt x="2260" y="854"/>
                        <a:pt x="2260" y="878"/>
                        <a:pt x="2260" y="901"/>
                      </a:cubicBezTo>
                      <a:lnTo>
                        <a:pt x="2260" y="901"/>
                      </a:lnTo>
                      <a:cubicBezTo>
                        <a:pt x="2253" y="901"/>
                        <a:pt x="2253" y="901"/>
                        <a:pt x="2253" y="901"/>
                      </a:cubicBezTo>
                      <a:cubicBezTo>
                        <a:pt x="1810" y="957"/>
                        <a:pt x="632" y="1091"/>
                        <a:pt x="7" y="1115"/>
                      </a:cubicBezTo>
                      <a:lnTo>
                        <a:pt x="0" y="1115"/>
                      </a:lnTo>
                      <a:close/>
                      <a:moveTo>
                        <a:pt x="205" y="380"/>
                      </a:moveTo>
                      <a:lnTo>
                        <a:pt x="205" y="380"/>
                      </a:lnTo>
                      <a:cubicBezTo>
                        <a:pt x="205" y="380"/>
                        <a:pt x="205" y="380"/>
                        <a:pt x="197" y="380"/>
                      </a:cubicBezTo>
                      <a:cubicBezTo>
                        <a:pt x="197" y="388"/>
                        <a:pt x="205" y="403"/>
                        <a:pt x="213" y="411"/>
                      </a:cubicBezTo>
                      <a:cubicBezTo>
                        <a:pt x="221" y="427"/>
                        <a:pt x="221" y="443"/>
                        <a:pt x="221" y="459"/>
                      </a:cubicBezTo>
                      <a:cubicBezTo>
                        <a:pt x="221" y="459"/>
                        <a:pt x="221" y="467"/>
                        <a:pt x="213" y="475"/>
                      </a:cubicBezTo>
                      <a:cubicBezTo>
                        <a:pt x="213" y="490"/>
                        <a:pt x="213" y="498"/>
                        <a:pt x="197" y="514"/>
                      </a:cubicBezTo>
                      <a:cubicBezTo>
                        <a:pt x="181" y="522"/>
                        <a:pt x="181" y="538"/>
                        <a:pt x="181" y="554"/>
                      </a:cubicBezTo>
                      <a:cubicBezTo>
                        <a:pt x="181" y="570"/>
                        <a:pt x="181" y="585"/>
                        <a:pt x="173" y="593"/>
                      </a:cubicBezTo>
                      <a:cubicBezTo>
                        <a:pt x="165" y="601"/>
                        <a:pt x="165" y="609"/>
                        <a:pt x="173" y="625"/>
                      </a:cubicBezTo>
                      <a:cubicBezTo>
                        <a:pt x="173" y="625"/>
                        <a:pt x="181" y="633"/>
                        <a:pt x="181" y="641"/>
                      </a:cubicBezTo>
                      <a:cubicBezTo>
                        <a:pt x="189" y="664"/>
                        <a:pt x="173" y="704"/>
                        <a:pt x="158" y="736"/>
                      </a:cubicBezTo>
                      <a:cubicBezTo>
                        <a:pt x="150" y="751"/>
                        <a:pt x="134" y="767"/>
                        <a:pt x="118" y="767"/>
                      </a:cubicBezTo>
                      <a:cubicBezTo>
                        <a:pt x="118" y="775"/>
                        <a:pt x="110" y="775"/>
                        <a:pt x="110" y="775"/>
                      </a:cubicBezTo>
                      <a:cubicBezTo>
                        <a:pt x="110" y="783"/>
                        <a:pt x="110" y="791"/>
                        <a:pt x="110" y="791"/>
                      </a:cubicBezTo>
                      <a:cubicBezTo>
                        <a:pt x="118" y="807"/>
                        <a:pt x="118" y="814"/>
                        <a:pt x="110" y="823"/>
                      </a:cubicBezTo>
                      <a:cubicBezTo>
                        <a:pt x="102" y="830"/>
                        <a:pt x="102" y="830"/>
                        <a:pt x="94" y="838"/>
                      </a:cubicBezTo>
                      <a:cubicBezTo>
                        <a:pt x="94" y="838"/>
                        <a:pt x="94" y="838"/>
                        <a:pt x="86" y="846"/>
                      </a:cubicBezTo>
                      <a:cubicBezTo>
                        <a:pt x="86" y="854"/>
                        <a:pt x="86" y="854"/>
                        <a:pt x="86" y="854"/>
                      </a:cubicBezTo>
                      <a:cubicBezTo>
                        <a:pt x="86" y="878"/>
                        <a:pt x="78" y="894"/>
                        <a:pt x="55" y="909"/>
                      </a:cubicBezTo>
                      <a:cubicBezTo>
                        <a:pt x="31" y="917"/>
                        <a:pt x="31" y="925"/>
                        <a:pt x="39" y="941"/>
                      </a:cubicBezTo>
                      <a:cubicBezTo>
                        <a:pt x="39" y="949"/>
                        <a:pt x="39" y="949"/>
                        <a:pt x="39" y="957"/>
                      </a:cubicBezTo>
                      <a:cubicBezTo>
                        <a:pt x="39" y="957"/>
                        <a:pt x="39" y="965"/>
                        <a:pt x="47" y="965"/>
                      </a:cubicBezTo>
                      <a:cubicBezTo>
                        <a:pt x="63" y="973"/>
                        <a:pt x="78" y="981"/>
                        <a:pt x="86" y="1012"/>
                      </a:cubicBezTo>
                      <a:cubicBezTo>
                        <a:pt x="94" y="1052"/>
                        <a:pt x="86" y="1052"/>
                        <a:pt x="63" y="1060"/>
                      </a:cubicBezTo>
                      <a:cubicBezTo>
                        <a:pt x="63" y="1060"/>
                        <a:pt x="55" y="1067"/>
                        <a:pt x="47" y="1067"/>
                      </a:cubicBezTo>
                      <a:cubicBezTo>
                        <a:pt x="31" y="1083"/>
                        <a:pt x="15" y="1099"/>
                        <a:pt x="15" y="1107"/>
                      </a:cubicBezTo>
                      <a:cubicBezTo>
                        <a:pt x="640" y="1083"/>
                        <a:pt x="1802" y="949"/>
                        <a:pt x="2253" y="894"/>
                      </a:cubicBezTo>
                      <a:cubicBezTo>
                        <a:pt x="2253" y="878"/>
                        <a:pt x="2253" y="854"/>
                        <a:pt x="2253" y="838"/>
                      </a:cubicBezTo>
                      <a:cubicBezTo>
                        <a:pt x="2253" y="814"/>
                        <a:pt x="2253" y="799"/>
                        <a:pt x="2253" y="791"/>
                      </a:cubicBezTo>
                      <a:cubicBezTo>
                        <a:pt x="2253" y="775"/>
                        <a:pt x="2276" y="767"/>
                        <a:pt x="2300" y="767"/>
                      </a:cubicBezTo>
                      <a:cubicBezTo>
                        <a:pt x="2316" y="767"/>
                        <a:pt x="2331" y="759"/>
                        <a:pt x="2340" y="751"/>
                      </a:cubicBezTo>
                      <a:cubicBezTo>
                        <a:pt x="2355" y="736"/>
                        <a:pt x="2355" y="720"/>
                        <a:pt x="2347" y="696"/>
                      </a:cubicBezTo>
                      <a:cubicBezTo>
                        <a:pt x="2347" y="688"/>
                        <a:pt x="2347" y="680"/>
                        <a:pt x="2347" y="672"/>
                      </a:cubicBezTo>
                      <a:cubicBezTo>
                        <a:pt x="2340" y="648"/>
                        <a:pt x="2347" y="648"/>
                        <a:pt x="2363" y="648"/>
                      </a:cubicBezTo>
                      <a:cubicBezTo>
                        <a:pt x="2371" y="648"/>
                        <a:pt x="2395" y="641"/>
                        <a:pt x="2418" y="617"/>
                      </a:cubicBezTo>
                      <a:cubicBezTo>
                        <a:pt x="2442" y="609"/>
                        <a:pt x="2458" y="601"/>
                        <a:pt x="2474" y="601"/>
                      </a:cubicBezTo>
                      <a:cubicBezTo>
                        <a:pt x="2482" y="601"/>
                        <a:pt x="2490" y="601"/>
                        <a:pt x="2498" y="601"/>
                      </a:cubicBezTo>
                      <a:cubicBezTo>
                        <a:pt x="2506" y="609"/>
                        <a:pt x="2513" y="609"/>
                        <a:pt x="2513" y="609"/>
                      </a:cubicBezTo>
                      <a:cubicBezTo>
                        <a:pt x="2521" y="609"/>
                        <a:pt x="2529" y="601"/>
                        <a:pt x="2537" y="601"/>
                      </a:cubicBezTo>
                      <a:cubicBezTo>
                        <a:pt x="2545" y="593"/>
                        <a:pt x="2553" y="577"/>
                        <a:pt x="2561" y="570"/>
                      </a:cubicBezTo>
                      <a:cubicBezTo>
                        <a:pt x="2600" y="530"/>
                        <a:pt x="2656" y="467"/>
                        <a:pt x="2687" y="467"/>
                      </a:cubicBezTo>
                      <a:cubicBezTo>
                        <a:pt x="2711" y="467"/>
                        <a:pt x="2727" y="443"/>
                        <a:pt x="2727" y="403"/>
                      </a:cubicBezTo>
                      <a:cubicBezTo>
                        <a:pt x="2727" y="388"/>
                        <a:pt x="2743" y="380"/>
                        <a:pt x="2758" y="380"/>
                      </a:cubicBezTo>
                      <a:cubicBezTo>
                        <a:pt x="2774" y="372"/>
                        <a:pt x="2782" y="372"/>
                        <a:pt x="2790" y="364"/>
                      </a:cubicBezTo>
                      <a:cubicBezTo>
                        <a:pt x="2798" y="348"/>
                        <a:pt x="2798" y="340"/>
                        <a:pt x="2798" y="332"/>
                      </a:cubicBezTo>
                      <a:cubicBezTo>
                        <a:pt x="2798" y="324"/>
                        <a:pt x="2798" y="324"/>
                        <a:pt x="2798" y="317"/>
                      </a:cubicBezTo>
                      <a:cubicBezTo>
                        <a:pt x="2806" y="317"/>
                        <a:pt x="2806" y="317"/>
                        <a:pt x="2814" y="317"/>
                      </a:cubicBezTo>
                      <a:cubicBezTo>
                        <a:pt x="2830" y="317"/>
                        <a:pt x="2830" y="324"/>
                        <a:pt x="2837" y="332"/>
                      </a:cubicBezTo>
                      <a:cubicBezTo>
                        <a:pt x="2837" y="348"/>
                        <a:pt x="2846" y="356"/>
                        <a:pt x="2869" y="356"/>
                      </a:cubicBezTo>
                      <a:cubicBezTo>
                        <a:pt x="2893" y="348"/>
                        <a:pt x="2893" y="340"/>
                        <a:pt x="2901" y="317"/>
                      </a:cubicBezTo>
                      <a:cubicBezTo>
                        <a:pt x="2901" y="293"/>
                        <a:pt x="2901" y="269"/>
                        <a:pt x="2924" y="253"/>
                      </a:cubicBezTo>
                      <a:cubicBezTo>
                        <a:pt x="2932" y="237"/>
                        <a:pt x="2948" y="230"/>
                        <a:pt x="2964" y="230"/>
                      </a:cubicBezTo>
                      <a:cubicBezTo>
                        <a:pt x="2996" y="230"/>
                        <a:pt x="3019" y="261"/>
                        <a:pt x="3019" y="269"/>
                      </a:cubicBezTo>
                      <a:lnTo>
                        <a:pt x="3019" y="269"/>
                      </a:lnTo>
                      <a:cubicBezTo>
                        <a:pt x="3027" y="269"/>
                        <a:pt x="3067" y="222"/>
                        <a:pt x="3083" y="182"/>
                      </a:cubicBezTo>
                      <a:cubicBezTo>
                        <a:pt x="3090" y="158"/>
                        <a:pt x="3098" y="150"/>
                        <a:pt x="3106" y="143"/>
                      </a:cubicBezTo>
                      <a:cubicBezTo>
                        <a:pt x="3114" y="143"/>
                        <a:pt x="3122" y="135"/>
                        <a:pt x="3130" y="119"/>
                      </a:cubicBezTo>
                      <a:cubicBezTo>
                        <a:pt x="3146" y="87"/>
                        <a:pt x="3146" y="48"/>
                        <a:pt x="3138" y="8"/>
                      </a:cubicBezTo>
                      <a:cubicBezTo>
                        <a:pt x="3098" y="16"/>
                        <a:pt x="3035" y="24"/>
                        <a:pt x="2988" y="32"/>
                      </a:cubicBezTo>
                      <a:cubicBezTo>
                        <a:pt x="2909" y="48"/>
                        <a:pt x="1628" y="230"/>
                        <a:pt x="948" y="261"/>
                      </a:cubicBezTo>
                      <a:cubicBezTo>
                        <a:pt x="940" y="269"/>
                        <a:pt x="908" y="277"/>
                        <a:pt x="901" y="293"/>
                      </a:cubicBezTo>
                      <a:cubicBezTo>
                        <a:pt x="901" y="301"/>
                        <a:pt x="893" y="301"/>
                        <a:pt x="893" y="301"/>
                      </a:cubicBezTo>
                      <a:cubicBezTo>
                        <a:pt x="877" y="301"/>
                        <a:pt x="869" y="293"/>
                        <a:pt x="853" y="277"/>
                      </a:cubicBezTo>
                      <a:cubicBezTo>
                        <a:pt x="853" y="277"/>
                        <a:pt x="853" y="277"/>
                        <a:pt x="845" y="277"/>
                      </a:cubicBezTo>
                      <a:cubicBezTo>
                        <a:pt x="837" y="269"/>
                        <a:pt x="822" y="269"/>
                        <a:pt x="798" y="269"/>
                      </a:cubicBezTo>
                      <a:cubicBezTo>
                        <a:pt x="782" y="269"/>
                        <a:pt x="766" y="269"/>
                        <a:pt x="766" y="277"/>
                      </a:cubicBezTo>
                      <a:cubicBezTo>
                        <a:pt x="766" y="285"/>
                        <a:pt x="774" y="293"/>
                        <a:pt x="774" y="309"/>
                      </a:cubicBezTo>
                      <a:cubicBezTo>
                        <a:pt x="782" y="324"/>
                        <a:pt x="790" y="340"/>
                        <a:pt x="782" y="356"/>
                      </a:cubicBezTo>
                      <a:cubicBezTo>
                        <a:pt x="774" y="364"/>
                        <a:pt x="774" y="364"/>
                        <a:pt x="766" y="364"/>
                      </a:cubicBezTo>
                      <a:cubicBezTo>
                        <a:pt x="758" y="364"/>
                        <a:pt x="758" y="364"/>
                        <a:pt x="750" y="364"/>
                      </a:cubicBezTo>
                      <a:cubicBezTo>
                        <a:pt x="553" y="380"/>
                        <a:pt x="411" y="388"/>
                        <a:pt x="331" y="388"/>
                      </a:cubicBezTo>
                      <a:cubicBezTo>
                        <a:pt x="300" y="388"/>
                        <a:pt x="284" y="388"/>
                        <a:pt x="268" y="388"/>
                      </a:cubicBezTo>
                      <a:cubicBezTo>
                        <a:pt x="260" y="396"/>
                        <a:pt x="244" y="388"/>
                        <a:pt x="213" y="380"/>
                      </a:cubicBezTo>
                      <a:lnTo>
                        <a:pt x="205" y="38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1" name="Freeform 588">
                  <a:extLst>
                    <a:ext uri="{FF2B5EF4-FFF2-40B4-BE49-F238E27FC236}">
                      <a16:creationId xmlns:a16="http://schemas.microsoft.com/office/drawing/2014/main" id="{521CDDE8-FEF3-A246-9533-49684FE487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732472" y="6321427"/>
                  <a:ext cx="1720925" cy="774648"/>
                </a:xfrm>
                <a:custGeom>
                  <a:avLst/>
                  <a:gdLst>
                    <a:gd name="T0" fmla="*/ 3249 w 3273"/>
                    <a:gd name="T1" fmla="*/ 308 h 1472"/>
                    <a:gd name="T2" fmla="*/ 3122 w 3273"/>
                    <a:gd name="T3" fmla="*/ 119 h 1472"/>
                    <a:gd name="T4" fmla="*/ 3067 w 3273"/>
                    <a:gd name="T5" fmla="*/ 8 h 1472"/>
                    <a:gd name="T6" fmla="*/ 917 w 3273"/>
                    <a:gd name="T7" fmla="*/ 403 h 1472"/>
                    <a:gd name="T8" fmla="*/ 885 w 3273"/>
                    <a:gd name="T9" fmla="*/ 514 h 1472"/>
                    <a:gd name="T10" fmla="*/ 758 w 3273"/>
                    <a:gd name="T11" fmla="*/ 664 h 1472"/>
                    <a:gd name="T12" fmla="*/ 616 w 3273"/>
                    <a:gd name="T13" fmla="*/ 751 h 1472"/>
                    <a:gd name="T14" fmla="*/ 545 w 3273"/>
                    <a:gd name="T15" fmla="*/ 759 h 1472"/>
                    <a:gd name="T16" fmla="*/ 434 w 3273"/>
                    <a:gd name="T17" fmla="*/ 862 h 1472"/>
                    <a:gd name="T18" fmla="*/ 173 w 3273"/>
                    <a:gd name="T19" fmla="*/ 1020 h 1472"/>
                    <a:gd name="T20" fmla="*/ 94 w 3273"/>
                    <a:gd name="T21" fmla="*/ 1154 h 1472"/>
                    <a:gd name="T22" fmla="*/ 0 w 3273"/>
                    <a:gd name="T23" fmla="*/ 1296 h 1472"/>
                    <a:gd name="T24" fmla="*/ 584 w 3273"/>
                    <a:gd name="T25" fmla="*/ 1186 h 1472"/>
                    <a:gd name="T26" fmla="*/ 1233 w 3273"/>
                    <a:gd name="T27" fmla="*/ 1036 h 1472"/>
                    <a:gd name="T28" fmla="*/ 1328 w 3273"/>
                    <a:gd name="T29" fmla="*/ 1083 h 1472"/>
                    <a:gd name="T30" fmla="*/ 1810 w 3273"/>
                    <a:gd name="T31" fmla="*/ 1099 h 1472"/>
                    <a:gd name="T32" fmla="*/ 2332 w 3273"/>
                    <a:gd name="T33" fmla="*/ 1455 h 1472"/>
                    <a:gd name="T34" fmla="*/ 2521 w 3273"/>
                    <a:gd name="T35" fmla="*/ 1368 h 1472"/>
                    <a:gd name="T36" fmla="*/ 2680 w 3273"/>
                    <a:gd name="T37" fmla="*/ 1059 h 1472"/>
                    <a:gd name="T38" fmla="*/ 2687 w 3273"/>
                    <a:gd name="T39" fmla="*/ 1036 h 1472"/>
                    <a:gd name="T40" fmla="*/ 2758 w 3273"/>
                    <a:gd name="T41" fmla="*/ 1004 h 1472"/>
                    <a:gd name="T42" fmla="*/ 2838 w 3273"/>
                    <a:gd name="T43" fmla="*/ 980 h 1472"/>
                    <a:gd name="T44" fmla="*/ 2917 w 3273"/>
                    <a:gd name="T45" fmla="*/ 909 h 1472"/>
                    <a:gd name="T46" fmla="*/ 2988 w 3273"/>
                    <a:gd name="T47" fmla="*/ 909 h 1472"/>
                    <a:gd name="T48" fmla="*/ 3027 w 3273"/>
                    <a:gd name="T49" fmla="*/ 933 h 1472"/>
                    <a:gd name="T50" fmla="*/ 3075 w 3273"/>
                    <a:gd name="T51" fmla="*/ 798 h 1472"/>
                    <a:gd name="T52" fmla="*/ 3051 w 3273"/>
                    <a:gd name="T53" fmla="*/ 751 h 1472"/>
                    <a:gd name="T54" fmla="*/ 2996 w 3273"/>
                    <a:gd name="T55" fmla="*/ 759 h 1472"/>
                    <a:gd name="T56" fmla="*/ 2956 w 3273"/>
                    <a:gd name="T57" fmla="*/ 798 h 1472"/>
                    <a:gd name="T58" fmla="*/ 2846 w 3273"/>
                    <a:gd name="T59" fmla="*/ 822 h 1472"/>
                    <a:gd name="T60" fmla="*/ 2933 w 3273"/>
                    <a:gd name="T61" fmla="*/ 719 h 1472"/>
                    <a:gd name="T62" fmla="*/ 2893 w 3273"/>
                    <a:gd name="T63" fmla="*/ 640 h 1472"/>
                    <a:gd name="T64" fmla="*/ 2877 w 3273"/>
                    <a:gd name="T65" fmla="*/ 601 h 1472"/>
                    <a:gd name="T66" fmla="*/ 2972 w 3273"/>
                    <a:gd name="T67" fmla="*/ 593 h 1472"/>
                    <a:gd name="T68" fmla="*/ 3130 w 3273"/>
                    <a:gd name="T69" fmla="*/ 490 h 1472"/>
                    <a:gd name="T70" fmla="*/ 3193 w 3273"/>
                    <a:gd name="T71" fmla="*/ 427 h 1472"/>
                    <a:gd name="T72" fmla="*/ 3146 w 3273"/>
                    <a:gd name="T73" fmla="*/ 292 h 1472"/>
                    <a:gd name="T74" fmla="*/ 3083 w 3273"/>
                    <a:gd name="T75" fmla="*/ 340 h 1472"/>
                    <a:gd name="T76" fmla="*/ 3051 w 3273"/>
                    <a:gd name="T77" fmla="*/ 395 h 1472"/>
                    <a:gd name="T78" fmla="*/ 3019 w 3273"/>
                    <a:gd name="T79" fmla="*/ 285 h 1472"/>
                    <a:gd name="T80" fmla="*/ 2893 w 3273"/>
                    <a:gd name="T81" fmla="*/ 316 h 1472"/>
                    <a:gd name="T82" fmla="*/ 2766 w 3273"/>
                    <a:gd name="T83" fmla="*/ 292 h 1472"/>
                    <a:gd name="T84" fmla="*/ 2846 w 3273"/>
                    <a:gd name="T85" fmla="*/ 316 h 1472"/>
                    <a:gd name="T86" fmla="*/ 2972 w 3273"/>
                    <a:gd name="T87" fmla="*/ 237 h 1472"/>
                    <a:gd name="T88" fmla="*/ 3011 w 3273"/>
                    <a:gd name="T89" fmla="*/ 166 h 1472"/>
                    <a:gd name="T90" fmla="*/ 3098 w 3273"/>
                    <a:gd name="T91" fmla="*/ 198 h 1472"/>
                    <a:gd name="T92" fmla="*/ 3067 w 3273"/>
                    <a:gd name="T93" fmla="*/ 111 h 1472"/>
                    <a:gd name="T94" fmla="*/ 3027 w 3273"/>
                    <a:gd name="T95" fmla="*/ 24 h 1472"/>
                    <a:gd name="T96" fmla="*/ 3122 w 3273"/>
                    <a:gd name="T97" fmla="*/ 142 h 1472"/>
                    <a:gd name="T98" fmla="*/ 3225 w 3273"/>
                    <a:gd name="T99" fmla="*/ 308 h 14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273" h="1472">
                      <a:moveTo>
                        <a:pt x="3249" y="308"/>
                      </a:moveTo>
                      <a:lnTo>
                        <a:pt x="3249" y="308"/>
                      </a:lnTo>
                      <a:cubicBezTo>
                        <a:pt x="3225" y="285"/>
                        <a:pt x="3209" y="269"/>
                        <a:pt x="3193" y="237"/>
                      </a:cubicBezTo>
                      <a:cubicBezTo>
                        <a:pt x="3170" y="206"/>
                        <a:pt x="3146" y="142"/>
                        <a:pt x="3122" y="119"/>
                      </a:cubicBezTo>
                      <a:cubicBezTo>
                        <a:pt x="3106" y="103"/>
                        <a:pt x="3106" y="71"/>
                        <a:pt x="3083" y="24"/>
                      </a:cubicBezTo>
                      <a:cubicBezTo>
                        <a:pt x="3075" y="16"/>
                        <a:pt x="3067" y="8"/>
                        <a:pt x="3067" y="8"/>
                      </a:cubicBezTo>
                      <a:cubicBezTo>
                        <a:pt x="2893" y="48"/>
                        <a:pt x="1889" y="285"/>
                        <a:pt x="1011" y="395"/>
                      </a:cubicBezTo>
                      <a:cubicBezTo>
                        <a:pt x="1011" y="395"/>
                        <a:pt x="940" y="411"/>
                        <a:pt x="917" y="403"/>
                      </a:cubicBezTo>
                      <a:cubicBezTo>
                        <a:pt x="909" y="403"/>
                        <a:pt x="901" y="403"/>
                        <a:pt x="893" y="403"/>
                      </a:cubicBezTo>
                      <a:cubicBezTo>
                        <a:pt x="893" y="435"/>
                        <a:pt x="901" y="482"/>
                        <a:pt x="885" y="514"/>
                      </a:cubicBezTo>
                      <a:cubicBezTo>
                        <a:pt x="861" y="553"/>
                        <a:pt x="845" y="530"/>
                        <a:pt x="830" y="577"/>
                      </a:cubicBezTo>
                      <a:cubicBezTo>
                        <a:pt x="814" y="625"/>
                        <a:pt x="766" y="688"/>
                        <a:pt x="758" y="664"/>
                      </a:cubicBezTo>
                      <a:cubicBezTo>
                        <a:pt x="758" y="648"/>
                        <a:pt x="719" y="609"/>
                        <a:pt x="671" y="648"/>
                      </a:cubicBezTo>
                      <a:cubicBezTo>
                        <a:pt x="632" y="688"/>
                        <a:pt x="664" y="743"/>
                        <a:pt x="616" y="751"/>
                      </a:cubicBezTo>
                      <a:cubicBezTo>
                        <a:pt x="569" y="759"/>
                        <a:pt x="584" y="712"/>
                        <a:pt x="561" y="712"/>
                      </a:cubicBezTo>
                      <a:cubicBezTo>
                        <a:pt x="537" y="712"/>
                        <a:pt x="561" y="735"/>
                        <a:pt x="545" y="759"/>
                      </a:cubicBezTo>
                      <a:cubicBezTo>
                        <a:pt x="529" y="783"/>
                        <a:pt x="474" y="775"/>
                        <a:pt x="474" y="798"/>
                      </a:cubicBezTo>
                      <a:cubicBezTo>
                        <a:pt x="474" y="814"/>
                        <a:pt x="474" y="862"/>
                        <a:pt x="434" y="862"/>
                      </a:cubicBezTo>
                      <a:cubicBezTo>
                        <a:pt x="395" y="870"/>
                        <a:pt x="316" y="965"/>
                        <a:pt x="284" y="996"/>
                      </a:cubicBezTo>
                      <a:cubicBezTo>
                        <a:pt x="253" y="1028"/>
                        <a:pt x="229" y="972"/>
                        <a:pt x="173" y="1020"/>
                      </a:cubicBezTo>
                      <a:cubicBezTo>
                        <a:pt x="110" y="1059"/>
                        <a:pt x="87" y="1036"/>
                        <a:pt x="94" y="1067"/>
                      </a:cubicBezTo>
                      <a:cubicBezTo>
                        <a:pt x="102" y="1099"/>
                        <a:pt x="110" y="1131"/>
                        <a:pt x="94" y="1154"/>
                      </a:cubicBezTo>
                      <a:cubicBezTo>
                        <a:pt x="71" y="1170"/>
                        <a:pt x="0" y="1162"/>
                        <a:pt x="0" y="1186"/>
                      </a:cubicBezTo>
                      <a:cubicBezTo>
                        <a:pt x="0" y="1194"/>
                        <a:pt x="0" y="1249"/>
                        <a:pt x="0" y="1296"/>
                      </a:cubicBezTo>
                      <a:cubicBezTo>
                        <a:pt x="253" y="1265"/>
                        <a:pt x="426" y="1241"/>
                        <a:pt x="450" y="1241"/>
                      </a:cubicBezTo>
                      <a:cubicBezTo>
                        <a:pt x="529" y="1241"/>
                        <a:pt x="537" y="1209"/>
                        <a:pt x="584" y="1186"/>
                      </a:cubicBezTo>
                      <a:cubicBezTo>
                        <a:pt x="632" y="1154"/>
                        <a:pt x="774" y="1083"/>
                        <a:pt x="814" y="1075"/>
                      </a:cubicBezTo>
                      <a:cubicBezTo>
                        <a:pt x="845" y="1075"/>
                        <a:pt x="1233" y="1020"/>
                        <a:pt x="1233" y="1036"/>
                      </a:cubicBezTo>
                      <a:cubicBezTo>
                        <a:pt x="1233" y="1051"/>
                        <a:pt x="1209" y="1059"/>
                        <a:pt x="1257" y="1067"/>
                      </a:cubicBezTo>
                      <a:cubicBezTo>
                        <a:pt x="1304" y="1075"/>
                        <a:pt x="1312" y="1059"/>
                        <a:pt x="1328" y="1083"/>
                      </a:cubicBezTo>
                      <a:cubicBezTo>
                        <a:pt x="1343" y="1099"/>
                        <a:pt x="1367" y="1178"/>
                        <a:pt x="1367" y="1178"/>
                      </a:cubicBezTo>
                      <a:cubicBezTo>
                        <a:pt x="1810" y="1099"/>
                        <a:pt x="1810" y="1099"/>
                        <a:pt x="1810" y="1099"/>
                      </a:cubicBezTo>
                      <a:cubicBezTo>
                        <a:pt x="2300" y="1471"/>
                        <a:pt x="2300" y="1471"/>
                        <a:pt x="2300" y="1471"/>
                      </a:cubicBezTo>
                      <a:cubicBezTo>
                        <a:pt x="2308" y="1462"/>
                        <a:pt x="2316" y="1462"/>
                        <a:pt x="2332" y="1455"/>
                      </a:cubicBezTo>
                      <a:cubicBezTo>
                        <a:pt x="2387" y="1439"/>
                        <a:pt x="2371" y="1439"/>
                        <a:pt x="2427" y="1431"/>
                      </a:cubicBezTo>
                      <a:cubicBezTo>
                        <a:pt x="2482" y="1423"/>
                        <a:pt x="2513" y="1439"/>
                        <a:pt x="2521" y="1368"/>
                      </a:cubicBezTo>
                      <a:cubicBezTo>
                        <a:pt x="2529" y="1296"/>
                        <a:pt x="2656" y="1123"/>
                        <a:pt x="2680" y="1099"/>
                      </a:cubicBezTo>
                      <a:cubicBezTo>
                        <a:pt x="2711" y="1083"/>
                        <a:pt x="2687" y="1075"/>
                        <a:pt x="2680" y="1059"/>
                      </a:cubicBezTo>
                      <a:cubicBezTo>
                        <a:pt x="2680" y="1043"/>
                        <a:pt x="2671" y="1020"/>
                        <a:pt x="2680" y="1020"/>
                      </a:cubicBezTo>
                      <a:cubicBezTo>
                        <a:pt x="2695" y="1012"/>
                        <a:pt x="2680" y="1020"/>
                        <a:pt x="2687" y="1036"/>
                      </a:cubicBezTo>
                      <a:cubicBezTo>
                        <a:pt x="2695" y="1051"/>
                        <a:pt x="2719" y="1067"/>
                        <a:pt x="2727" y="1059"/>
                      </a:cubicBezTo>
                      <a:cubicBezTo>
                        <a:pt x="2735" y="1043"/>
                        <a:pt x="2751" y="1028"/>
                        <a:pt x="2758" y="1004"/>
                      </a:cubicBezTo>
                      <a:cubicBezTo>
                        <a:pt x="2758" y="972"/>
                        <a:pt x="2774" y="956"/>
                        <a:pt x="2782" y="972"/>
                      </a:cubicBezTo>
                      <a:cubicBezTo>
                        <a:pt x="2790" y="980"/>
                        <a:pt x="2822" y="988"/>
                        <a:pt x="2838" y="980"/>
                      </a:cubicBezTo>
                      <a:cubicBezTo>
                        <a:pt x="2846" y="972"/>
                        <a:pt x="2901" y="965"/>
                        <a:pt x="2909" y="956"/>
                      </a:cubicBezTo>
                      <a:cubicBezTo>
                        <a:pt x="2924" y="941"/>
                        <a:pt x="2909" y="925"/>
                        <a:pt x="2917" y="909"/>
                      </a:cubicBezTo>
                      <a:cubicBezTo>
                        <a:pt x="2924" y="901"/>
                        <a:pt x="2917" y="917"/>
                        <a:pt x="2948" y="917"/>
                      </a:cubicBezTo>
                      <a:cubicBezTo>
                        <a:pt x="2980" y="909"/>
                        <a:pt x="2980" y="893"/>
                        <a:pt x="2988" y="909"/>
                      </a:cubicBezTo>
                      <a:cubicBezTo>
                        <a:pt x="3004" y="925"/>
                        <a:pt x="2996" y="941"/>
                        <a:pt x="3004" y="956"/>
                      </a:cubicBezTo>
                      <a:cubicBezTo>
                        <a:pt x="3011" y="965"/>
                        <a:pt x="3004" y="980"/>
                        <a:pt x="3027" y="933"/>
                      </a:cubicBezTo>
                      <a:cubicBezTo>
                        <a:pt x="3043" y="885"/>
                        <a:pt x="3067" y="838"/>
                        <a:pt x="3083" y="822"/>
                      </a:cubicBezTo>
                      <a:cubicBezTo>
                        <a:pt x="3098" y="806"/>
                        <a:pt x="3091" y="791"/>
                        <a:pt x="3075" y="798"/>
                      </a:cubicBezTo>
                      <a:cubicBezTo>
                        <a:pt x="3059" y="806"/>
                        <a:pt x="3051" y="830"/>
                        <a:pt x="3059" y="798"/>
                      </a:cubicBezTo>
                      <a:cubicBezTo>
                        <a:pt x="3059" y="767"/>
                        <a:pt x="3075" y="735"/>
                        <a:pt x="3051" y="751"/>
                      </a:cubicBezTo>
                      <a:cubicBezTo>
                        <a:pt x="3027" y="767"/>
                        <a:pt x="3035" y="822"/>
                        <a:pt x="3011" y="798"/>
                      </a:cubicBezTo>
                      <a:cubicBezTo>
                        <a:pt x="2996" y="783"/>
                        <a:pt x="2996" y="783"/>
                        <a:pt x="2996" y="759"/>
                      </a:cubicBezTo>
                      <a:cubicBezTo>
                        <a:pt x="2996" y="735"/>
                        <a:pt x="2980" y="704"/>
                        <a:pt x="2980" y="735"/>
                      </a:cubicBezTo>
                      <a:cubicBezTo>
                        <a:pt x="2972" y="775"/>
                        <a:pt x="2988" y="791"/>
                        <a:pt x="2956" y="798"/>
                      </a:cubicBezTo>
                      <a:cubicBezTo>
                        <a:pt x="2924" y="806"/>
                        <a:pt x="2924" y="822"/>
                        <a:pt x="2893" y="830"/>
                      </a:cubicBezTo>
                      <a:cubicBezTo>
                        <a:pt x="2853" y="830"/>
                        <a:pt x="2822" y="830"/>
                        <a:pt x="2846" y="822"/>
                      </a:cubicBezTo>
                      <a:cubicBezTo>
                        <a:pt x="2869" y="814"/>
                        <a:pt x="2885" y="830"/>
                        <a:pt x="2901" y="798"/>
                      </a:cubicBezTo>
                      <a:cubicBezTo>
                        <a:pt x="2924" y="759"/>
                        <a:pt x="2917" y="759"/>
                        <a:pt x="2933" y="719"/>
                      </a:cubicBezTo>
                      <a:cubicBezTo>
                        <a:pt x="2956" y="688"/>
                        <a:pt x="2988" y="680"/>
                        <a:pt x="2956" y="664"/>
                      </a:cubicBezTo>
                      <a:cubicBezTo>
                        <a:pt x="2933" y="648"/>
                        <a:pt x="2940" y="656"/>
                        <a:pt x="2893" y="640"/>
                      </a:cubicBezTo>
                      <a:cubicBezTo>
                        <a:pt x="2846" y="625"/>
                        <a:pt x="2790" y="617"/>
                        <a:pt x="2806" y="609"/>
                      </a:cubicBezTo>
                      <a:cubicBezTo>
                        <a:pt x="2830" y="601"/>
                        <a:pt x="2853" y="609"/>
                        <a:pt x="2877" y="601"/>
                      </a:cubicBezTo>
                      <a:cubicBezTo>
                        <a:pt x="2901" y="585"/>
                        <a:pt x="2885" y="561"/>
                        <a:pt x="2909" y="569"/>
                      </a:cubicBezTo>
                      <a:cubicBezTo>
                        <a:pt x="2933" y="577"/>
                        <a:pt x="2909" y="585"/>
                        <a:pt x="2972" y="593"/>
                      </a:cubicBezTo>
                      <a:cubicBezTo>
                        <a:pt x="3043" y="601"/>
                        <a:pt x="3043" y="601"/>
                        <a:pt x="3051" y="601"/>
                      </a:cubicBezTo>
                      <a:cubicBezTo>
                        <a:pt x="3067" y="601"/>
                        <a:pt x="3122" y="553"/>
                        <a:pt x="3130" y="490"/>
                      </a:cubicBezTo>
                      <a:cubicBezTo>
                        <a:pt x="3138" y="427"/>
                        <a:pt x="3146" y="459"/>
                        <a:pt x="3162" y="451"/>
                      </a:cubicBezTo>
                      <a:cubicBezTo>
                        <a:pt x="3177" y="451"/>
                        <a:pt x="3193" y="451"/>
                        <a:pt x="3193" y="427"/>
                      </a:cubicBezTo>
                      <a:cubicBezTo>
                        <a:pt x="3186" y="395"/>
                        <a:pt x="3177" y="364"/>
                        <a:pt x="3177" y="332"/>
                      </a:cubicBezTo>
                      <a:cubicBezTo>
                        <a:pt x="3177" y="301"/>
                        <a:pt x="3154" y="292"/>
                        <a:pt x="3146" y="292"/>
                      </a:cubicBezTo>
                      <a:cubicBezTo>
                        <a:pt x="3138" y="292"/>
                        <a:pt x="3106" y="285"/>
                        <a:pt x="3106" y="308"/>
                      </a:cubicBezTo>
                      <a:cubicBezTo>
                        <a:pt x="3106" y="324"/>
                        <a:pt x="3067" y="316"/>
                        <a:pt x="3083" y="340"/>
                      </a:cubicBezTo>
                      <a:cubicBezTo>
                        <a:pt x="3098" y="364"/>
                        <a:pt x="3106" y="395"/>
                        <a:pt x="3083" y="411"/>
                      </a:cubicBezTo>
                      <a:cubicBezTo>
                        <a:pt x="3059" y="435"/>
                        <a:pt x="3043" y="435"/>
                        <a:pt x="3051" y="395"/>
                      </a:cubicBezTo>
                      <a:cubicBezTo>
                        <a:pt x="3067" y="348"/>
                        <a:pt x="3091" y="340"/>
                        <a:pt x="3067" y="316"/>
                      </a:cubicBezTo>
                      <a:cubicBezTo>
                        <a:pt x="3043" y="292"/>
                        <a:pt x="3035" y="269"/>
                        <a:pt x="3019" y="285"/>
                      </a:cubicBezTo>
                      <a:cubicBezTo>
                        <a:pt x="2996" y="301"/>
                        <a:pt x="2964" y="301"/>
                        <a:pt x="2964" y="332"/>
                      </a:cubicBezTo>
                      <a:cubicBezTo>
                        <a:pt x="2956" y="356"/>
                        <a:pt x="2901" y="301"/>
                        <a:pt x="2893" y="316"/>
                      </a:cubicBezTo>
                      <a:cubicBezTo>
                        <a:pt x="2885" y="340"/>
                        <a:pt x="2861" y="372"/>
                        <a:pt x="2822" y="356"/>
                      </a:cubicBezTo>
                      <a:cubicBezTo>
                        <a:pt x="2790" y="340"/>
                        <a:pt x="2766" y="316"/>
                        <a:pt x="2766" y="292"/>
                      </a:cubicBezTo>
                      <a:cubicBezTo>
                        <a:pt x="2758" y="277"/>
                        <a:pt x="2766" y="301"/>
                        <a:pt x="2798" y="308"/>
                      </a:cubicBezTo>
                      <a:cubicBezTo>
                        <a:pt x="2822" y="308"/>
                        <a:pt x="2822" y="324"/>
                        <a:pt x="2846" y="316"/>
                      </a:cubicBezTo>
                      <a:cubicBezTo>
                        <a:pt x="2869" y="301"/>
                        <a:pt x="2901" y="308"/>
                        <a:pt x="2909" y="277"/>
                      </a:cubicBezTo>
                      <a:cubicBezTo>
                        <a:pt x="2924" y="253"/>
                        <a:pt x="2940" y="245"/>
                        <a:pt x="2972" y="237"/>
                      </a:cubicBezTo>
                      <a:cubicBezTo>
                        <a:pt x="3011" y="229"/>
                        <a:pt x="3035" y="214"/>
                        <a:pt x="3011" y="198"/>
                      </a:cubicBezTo>
                      <a:cubicBezTo>
                        <a:pt x="2988" y="182"/>
                        <a:pt x="2980" y="150"/>
                        <a:pt x="3011" y="166"/>
                      </a:cubicBezTo>
                      <a:cubicBezTo>
                        <a:pt x="3035" y="182"/>
                        <a:pt x="3067" y="206"/>
                        <a:pt x="3075" y="198"/>
                      </a:cubicBezTo>
                      <a:cubicBezTo>
                        <a:pt x="3091" y="190"/>
                        <a:pt x="3091" y="198"/>
                        <a:pt x="3098" y="198"/>
                      </a:cubicBezTo>
                      <a:cubicBezTo>
                        <a:pt x="3106" y="206"/>
                        <a:pt x="3146" y="221"/>
                        <a:pt x="3114" y="198"/>
                      </a:cubicBezTo>
                      <a:cubicBezTo>
                        <a:pt x="3091" y="166"/>
                        <a:pt x="3083" y="126"/>
                        <a:pt x="3067" y="111"/>
                      </a:cubicBezTo>
                      <a:cubicBezTo>
                        <a:pt x="3051" y="87"/>
                        <a:pt x="3027" y="87"/>
                        <a:pt x="3011" y="63"/>
                      </a:cubicBezTo>
                      <a:cubicBezTo>
                        <a:pt x="3004" y="39"/>
                        <a:pt x="2996" y="0"/>
                        <a:pt x="3027" y="24"/>
                      </a:cubicBezTo>
                      <a:cubicBezTo>
                        <a:pt x="3059" y="39"/>
                        <a:pt x="3059" y="32"/>
                        <a:pt x="3075" y="71"/>
                      </a:cubicBezTo>
                      <a:cubicBezTo>
                        <a:pt x="3091" y="111"/>
                        <a:pt x="3106" y="126"/>
                        <a:pt x="3122" y="142"/>
                      </a:cubicBezTo>
                      <a:cubicBezTo>
                        <a:pt x="3130" y="166"/>
                        <a:pt x="3138" y="182"/>
                        <a:pt x="3162" y="229"/>
                      </a:cubicBezTo>
                      <a:cubicBezTo>
                        <a:pt x="3193" y="269"/>
                        <a:pt x="3209" y="292"/>
                        <a:pt x="3225" y="308"/>
                      </a:cubicBezTo>
                      <a:cubicBezTo>
                        <a:pt x="3241" y="324"/>
                        <a:pt x="3272" y="332"/>
                        <a:pt x="3249" y="30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2" name="Freeform 589">
                  <a:extLst>
                    <a:ext uri="{FF2B5EF4-FFF2-40B4-BE49-F238E27FC236}">
                      <a16:creationId xmlns:a16="http://schemas.microsoft.com/office/drawing/2014/main" id="{D2875905-8FD0-D14A-8744-9B642306F6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732472" y="6321427"/>
                  <a:ext cx="1716286" cy="776968"/>
                </a:xfrm>
                <a:custGeom>
                  <a:avLst/>
                  <a:gdLst>
                    <a:gd name="T0" fmla="*/ 1296 w 3265"/>
                    <a:gd name="T1" fmla="*/ 1075 h 1479"/>
                    <a:gd name="T2" fmla="*/ 814 w 3265"/>
                    <a:gd name="T3" fmla="*/ 1083 h 1479"/>
                    <a:gd name="T4" fmla="*/ 0 w 3265"/>
                    <a:gd name="T5" fmla="*/ 1233 h 1479"/>
                    <a:gd name="T6" fmla="*/ 165 w 3265"/>
                    <a:gd name="T7" fmla="*/ 1012 h 1479"/>
                    <a:gd name="T8" fmla="*/ 474 w 3265"/>
                    <a:gd name="T9" fmla="*/ 798 h 1479"/>
                    <a:gd name="T10" fmla="*/ 616 w 3265"/>
                    <a:gd name="T11" fmla="*/ 751 h 1479"/>
                    <a:gd name="T12" fmla="*/ 853 w 3265"/>
                    <a:gd name="T13" fmla="*/ 538 h 1479"/>
                    <a:gd name="T14" fmla="*/ 1011 w 3265"/>
                    <a:gd name="T15" fmla="*/ 395 h 1479"/>
                    <a:gd name="T16" fmla="*/ 3162 w 3265"/>
                    <a:gd name="T17" fmla="*/ 182 h 1479"/>
                    <a:gd name="T18" fmla="*/ 3114 w 3265"/>
                    <a:gd name="T19" fmla="*/ 150 h 1479"/>
                    <a:gd name="T20" fmla="*/ 3043 w 3265"/>
                    <a:gd name="T21" fmla="*/ 87 h 1479"/>
                    <a:gd name="T22" fmla="*/ 3091 w 3265"/>
                    <a:gd name="T23" fmla="*/ 198 h 1479"/>
                    <a:gd name="T24" fmla="*/ 2996 w 3265"/>
                    <a:gd name="T25" fmla="*/ 166 h 1479"/>
                    <a:gd name="T26" fmla="*/ 2830 w 3265"/>
                    <a:gd name="T27" fmla="*/ 324 h 1479"/>
                    <a:gd name="T28" fmla="*/ 2901 w 3265"/>
                    <a:gd name="T29" fmla="*/ 308 h 1479"/>
                    <a:gd name="T30" fmla="*/ 3051 w 3265"/>
                    <a:gd name="T31" fmla="*/ 292 h 1479"/>
                    <a:gd name="T32" fmla="*/ 3146 w 3265"/>
                    <a:gd name="T33" fmla="*/ 292 h 1479"/>
                    <a:gd name="T34" fmla="*/ 3154 w 3265"/>
                    <a:gd name="T35" fmla="*/ 451 h 1479"/>
                    <a:gd name="T36" fmla="*/ 2909 w 3265"/>
                    <a:gd name="T37" fmla="*/ 577 h 1479"/>
                    <a:gd name="T38" fmla="*/ 2814 w 3265"/>
                    <a:gd name="T39" fmla="*/ 609 h 1479"/>
                    <a:gd name="T40" fmla="*/ 2972 w 3265"/>
                    <a:gd name="T41" fmla="*/ 672 h 1479"/>
                    <a:gd name="T42" fmla="*/ 2846 w 3265"/>
                    <a:gd name="T43" fmla="*/ 830 h 1479"/>
                    <a:gd name="T44" fmla="*/ 2980 w 3265"/>
                    <a:gd name="T45" fmla="*/ 719 h 1479"/>
                    <a:gd name="T46" fmla="*/ 3067 w 3265"/>
                    <a:gd name="T47" fmla="*/ 743 h 1479"/>
                    <a:gd name="T48" fmla="*/ 3083 w 3265"/>
                    <a:gd name="T49" fmla="*/ 830 h 1479"/>
                    <a:gd name="T50" fmla="*/ 2980 w 3265"/>
                    <a:gd name="T51" fmla="*/ 909 h 1479"/>
                    <a:gd name="T52" fmla="*/ 2909 w 3265"/>
                    <a:gd name="T53" fmla="*/ 956 h 1479"/>
                    <a:gd name="T54" fmla="*/ 2735 w 3265"/>
                    <a:gd name="T55" fmla="*/ 1051 h 1479"/>
                    <a:gd name="T56" fmla="*/ 2695 w 3265"/>
                    <a:gd name="T57" fmla="*/ 1067 h 1479"/>
                    <a:gd name="T58" fmla="*/ 2332 w 3265"/>
                    <a:gd name="T59" fmla="*/ 1455 h 1479"/>
                    <a:gd name="T60" fmla="*/ 2332 w 3265"/>
                    <a:gd name="T61" fmla="*/ 1455 h 1479"/>
                    <a:gd name="T62" fmla="*/ 2687 w 3265"/>
                    <a:gd name="T63" fmla="*/ 1067 h 1479"/>
                    <a:gd name="T64" fmla="*/ 2719 w 3265"/>
                    <a:gd name="T65" fmla="*/ 1059 h 1479"/>
                    <a:gd name="T66" fmla="*/ 2830 w 3265"/>
                    <a:gd name="T67" fmla="*/ 980 h 1479"/>
                    <a:gd name="T68" fmla="*/ 2948 w 3265"/>
                    <a:gd name="T69" fmla="*/ 909 h 1479"/>
                    <a:gd name="T70" fmla="*/ 3019 w 3265"/>
                    <a:gd name="T71" fmla="*/ 933 h 1479"/>
                    <a:gd name="T72" fmla="*/ 3051 w 3265"/>
                    <a:gd name="T73" fmla="*/ 798 h 1479"/>
                    <a:gd name="T74" fmla="*/ 3011 w 3265"/>
                    <a:gd name="T75" fmla="*/ 798 h 1479"/>
                    <a:gd name="T76" fmla="*/ 2893 w 3265"/>
                    <a:gd name="T77" fmla="*/ 830 h 1479"/>
                    <a:gd name="T78" fmla="*/ 2933 w 3265"/>
                    <a:gd name="T79" fmla="*/ 719 h 1479"/>
                    <a:gd name="T80" fmla="*/ 2838 w 3265"/>
                    <a:gd name="T81" fmla="*/ 625 h 1479"/>
                    <a:gd name="T82" fmla="*/ 2893 w 3265"/>
                    <a:gd name="T83" fmla="*/ 577 h 1479"/>
                    <a:gd name="T84" fmla="*/ 3146 w 3265"/>
                    <a:gd name="T85" fmla="*/ 443 h 1479"/>
                    <a:gd name="T86" fmla="*/ 3177 w 3265"/>
                    <a:gd name="T87" fmla="*/ 332 h 1479"/>
                    <a:gd name="T88" fmla="*/ 3083 w 3265"/>
                    <a:gd name="T89" fmla="*/ 340 h 1479"/>
                    <a:gd name="T90" fmla="*/ 3051 w 3265"/>
                    <a:gd name="T91" fmla="*/ 301 h 1479"/>
                    <a:gd name="T92" fmla="*/ 2901 w 3265"/>
                    <a:gd name="T93" fmla="*/ 316 h 1479"/>
                    <a:gd name="T94" fmla="*/ 2766 w 3265"/>
                    <a:gd name="T95" fmla="*/ 285 h 1479"/>
                    <a:gd name="T96" fmla="*/ 2972 w 3265"/>
                    <a:gd name="T97" fmla="*/ 237 h 1479"/>
                    <a:gd name="T98" fmla="*/ 3075 w 3265"/>
                    <a:gd name="T99" fmla="*/ 190 h 1479"/>
                    <a:gd name="T100" fmla="*/ 3043 w 3265"/>
                    <a:gd name="T101" fmla="*/ 95 h 1479"/>
                    <a:gd name="T102" fmla="*/ 885 w 3265"/>
                    <a:gd name="T103" fmla="*/ 514 h 1479"/>
                    <a:gd name="T104" fmla="*/ 656 w 3265"/>
                    <a:gd name="T105" fmla="*/ 712 h 1479"/>
                    <a:gd name="T106" fmla="*/ 505 w 3265"/>
                    <a:gd name="T107" fmla="*/ 783 h 1479"/>
                    <a:gd name="T108" fmla="*/ 221 w 3265"/>
                    <a:gd name="T109" fmla="*/ 1004 h 1479"/>
                    <a:gd name="T110" fmla="*/ 7 w 3265"/>
                    <a:gd name="T111" fmla="*/ 1186 h 1479"/>
                    <a:gd name="T112" fmla="*/ 814 w 3265"/>
                    <a:gd name="T113" fmla="*/ 1075 h 1479"/>
                    <a:gd name="T114" fmla="*/ 1296 w 3265"/>
                    <a:gd name="T115" fmla="*/ 1067 h 1479"/>
                    <a:gd name="T116" fmla="*/ 3059 w 3265"/>
                    <a:gd name="T117" fmla="*/ 395 h 1479"/>
                    <a:gd name="T118" fmla="*/ 3027 w 3265"/>
                    <a:gd name="T119" fmla="*/ 16 h 1479"/>
                    <a:gd name="T120" fmla="*/ 3249 w 3265"/>
                    <a:gd name="T121" fmla="*/ 324 h 1479"/>
                    <a:gd name="T122" fmla="*/ 3059 w 3265"/>
                    <a:gd name="T123" fmla="*/ 8 h 14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265" h="1479">
                      <a:moveTo>
                        <a:pt x="2300" y="1478"/>
                      </a:moveTo>
                      <a:lnTo>
                        <a:pt x="2300" y="1478"/>
                      </a:lnTo>
                      <a:cubicBezTo>
                        <a:pt x="1810" y="1107"/>
                        <a:pt x="1810" y="1107"/>
                        <a:pt x="1810" y="1107"/>
                      </a:cubicBezTo>
                      <a:cubicBezTo>
                        <a:pt x="1367" y="1178"/>
                        <a:pt x="1367" y="1178"/>
                        <a:pt x="1367" y="1178"/>
                      </a:cubicBezTo>
                      <a:lnTo>
                        <a:pt x="1367" y="1178"/>
                      </a:lnTo>
                      <a:cubicBezTo>
                        <a:pt x="1367" y="1178"/>
                        <a:pt x="1343" y="1099"/>
                        <a:pt x="1328" y="1083"/>
                      </a:cubicBezTo>
                      <a:cubicBezTo>
                        <a:pt x="1320" y="1075"/>
                        <a:pt x="1312" y="1075"/>
                        <a:pt x="1296" y="1075"/>
                      </a:cubicBezTo>
                      <a:cubicBezTo>
                        <a:pt x="1288" y="1075"/>
                        <a:pt x="1288" y="1075"/>
                        <a:pt x="1280" y="1075"/>
                      </a:cubicBezTo>
                      <a:cubicBezTo>
                        <a:pt x="1272" y="1075"/>
                        <a:pt x="1264" y="1075"/>
                        <a:pt x="1257" y="1075"/>
                      </a:cubicBezTo>
                      <a:cubicBezTo>
                        <a:pt x="1233" y="1067"/>
                        <a:pt x="1225" y="1067"/>
                        <a:pt x="1225" y="1059"/>
                      </a:cubicBezTo>
                      <a:cubicBezTo>
                        <a:pt x="1225" y="1059"/>
                        <a:pt x="1225" y="1051"/>
                        <a:pt x="1225" y="1043"/>
                      </a:cubicBezTo>
                      <a:cubicBezTo>
                        <a:pt x="1225" y="1043"/>
                        <a:pt x="1225" y="1043"/>
                        <a:pt x="1225" y="1036"/>
                      </a:cubicBezTo>
                      <a:cubicBezTo>
                        <a:pt x="1225" y="1036"/>
                        <a:pt x="1225" y="1036"/>
                        <a:pt x="1209" y="1036"/>
                      </a:cubicBezTo>
                      <a:cubicBezTo>
                        <a:pt x="1130" y="1036"/>
                        <a:pt x="837" y="1075"/>
                        <a:pt x="814" y="1083"/>
                      </a:cubicBezTo>
                      <a:cubicBezTo>
                        <a:pt x="782" y="1083"/>
                        <a:pt x="640" y="1154"/>
                        <a:pt x="584" y="1186"/>
                      </a:cubicBezTo>
                      <a:cubicBezTo>
                        <a:pt x="577" y="1194"/>
                        <a:pt x="569" y="1202"/>
                        <a:pt x="553" y="1209"/>
                      </a:cubicBezTo>
                      <a:cubicBezTo>
                        <a:pt x="529" y="1225"/>
                        <a:pt x="505" y="1249"/>
                        <a:pt x="450" y="1249"/>
                      </a:cubicBezTo>
                      <a:cubicBezTo>
                        <a:pt x="426" y="1249"/>
                        <a:pt x="308" y="1265"/>
                        <a:pt x="126" y="1281"/>
                      </a:cubicBezTo>
                      <a:cubicBezTo>
                        <a:pt x="0" y="1296"/>
                        <a:pt x="0" y="1296"/>
                        <a:pt x="0" y="1296"/>
                      </a:cubicBezTo>
                      <a:lnTo>
                        <a:pt x="0" y="1296"/>
                      </a:lnTo>
                      <a:cubicBezTo>
                        <a:pt x="0" y="1273"/>
                        <a:pt x="0" y="1249"/>
                        <a:pt x="0" y="1233"/>
                      </a:cubicBezTo>
                      <a:cubicBezTo>
                        <a:pt x="0" y="1209"/>
                        <a:pt x="0" y="1194"/>
                        <a:pt x="0" y="1186"/>
                      </a:cubicBezTo>
                      <a:cubicBezTo>
                        <a:pt x="0" y="1170"/>
                        <a:pt x="23" y="1162"/>
                        <a:pt x="47" y="1162"/>
                      </a:cubicBezTo>
                      <a:cubicBezTo>
                        <a:pt x="63" y="1162"/>
                        <a:pt x="78" y="1154"/>
                        <a:pt x="87" y="1146"/>
                      </a:cubicBezTo>
                      <a:cubicBezTo>
                        <a:pt x="102" y="1131"/>
                        <a:pt x="102" y="1115"/>
                        <a:pt x="94" y="1091"/>
                      </a:cubicBezTo>
                      <a:cubicBezTo>
                        <a:pt x="94" y="1083"/>
                        <a:pt x="94" y="1075"/>
                        <a:pt x="94" y="1067"/>
                      </a:cubicBezTo>
                      <a:cubicBezTo>
                        <a:pt x="87" y="1043"/>
                        <a:pt x="94" y="1043"/>
                        <a:pt x="110" y="1043"/>
                      </a:cubicBezTo>
                      <a:cubicBezTo>
                        <a:pt x="118" y="1043"/>
                        <a:pt x="142" y="1036"/>
                        <a:pt x="165" y="1012"/>
                      </a:cubicBezTo>
                      <a:cubicBezTo>
                        <a:pt x="189" y="1004"/>
                        <a:pt x="205" y="996"/>
                        <a:pt x="221" y="996"/>
                      </a:cubicBezTo>
                      <a:cubicBezTo>
                        <a:pt x="229" y="996"/>
                        <a:pt x="237" y="996"/>
                        <a:pt x="245" y="996"/>
                      </a:cubicBezTo>
                      <a:cubicBezTo>
                        <a:pt x="253" y="1004"/>
                        <a:pt x="260" y="1004"/>
                        <a:pt x="260" y="1004"/>
                      </a:cubicBezTo>
                      <a:cubicBezTo>
                        <a:pt x="268" y="1004"/>
                        <a:pt x="276" y="996"/>
                        <a:pt x="284" y="996"/>
                      </a:cubicBezTo>
                      <a:cubicBezTo>
                        <a:pt x="292" y="988"/>
                        <a:pt x="300" y="972"/>
                        <a:pt x="308" y="965"/>
                      </a:cubicBezTo>
                      <a:cubicBezTo>
                        <a:pt x="347" y="925"/>
                        <a:pt x="403" y="862"/>
                        <a:pt x="434" y="862"/>
                      </a:cubicBezTo>
                      <a:cubicBezTo>
                        <a:pt x="458" y="862"/>
                        <a:pt x="474" y="838"/>
                        <a:pt x="474" y="798"/>
                      </a:cubicBezTo>
                      <a:cubicBezTo>
                        <a:pt x="474" y="783"/>
                        <a:pt x="490" y="775"/>
                        <a:pt x="505" y="775"/>
                      </a:cubicBezTo>
                      <a:cubicBezTo>
                        <a:pt x="521" y="767"/>
                        <a:pt x="529" y="767"/>
                        <a:pt x="537" y="759"/>
                      </a:cubicBezTo>
                      <a:cubicBezTo>
                        <a:pt x="545" y="743"/>
                        <a:pt x="545" y="735"/>
                        <a:pt x="545" y="727"/>
                      </a:cubicBezTo>
                      <a:cubicBezTo>
                        <a:pt x="545" y="719"/>
                        <a:pt x="545" y="719"/>
                        <a:pt x="545" y="712"/>
                      </a:cubicBezTo>
                      <a:cubicBezTo>
                        <a:pt x="553" y="712"/>
                        <a:pt x="553" y="712"/>
                        <a:pt x="561" y="712"/>
                      </a:cubicBezTo>
                      <a:cubicBezTo>
                        <a:pt x="577" y="712"/>
                        <a:pt x="577" y="719"/>
                        <a:pt x="584" y="727"/>
                      </a:cubicBezTo>
                      <a:cubicBezTo>
                        <a:pt x="584" y="743"/>
                        <a:pt x="593" y="751"/>
                        <a:pt x="616" y="751"/>
                      </a:cubicBezTo>
                      <a:cubicBezTo>
                        <a:pt x="640" y="743"/>
                        <a:pt x="640" y="735"/>
                        <a:pt x="648" y="712"/>
                      </a:cubicBezTo>
                      <a:cubicBezTo>
                        <a:pt x="648" y="688"/>
                        <a:pt x="648" y="664"/>
                        <a:pt x="671" y="648"/>
                      </a:cubicBezTo>
                      <a:cubicBezTo>
                        <a:pt x="679" y="632"/>
                        <a:pt x="695" y="625"/>
                        <a:pt x="711" y="625"/>
                      </a:cubicBezTo>
                      <a:cubicBezTo>
                        <a:pt x="743" y="625"/>
                        <a:pt x="766" y="656"/>
                        <a:pt x="766" y="664"/>
                      </a:cubicBezTo>
                      <a:lnTo>
                        <a:pt x="766" y="664"/>
                      </a:lnTo>
                      <a:cubicBezTo>
                        <a:pt x="774" y="664"/>
                        <a:pt x="814" y="617"/>
                        <a:pt x="830" y="577"/>
                      </a:cubicBezTo>
                      <a:cubicBezTo>
                        <a:pt x="837" y="553"/>
                        <a:pt x="845" y="545"/>
                        <a:pt x="853" y="538"/>
                      </a:cubicBezTo>
                      <a:cubicBezTo>
                        <a:pt x="861" y="538"/>
                        <a:pt x="869" y="530"/>
                        <a:pt x="877" y="514"/>
                      </a:cubicBezTo>
                      <a:cubicBezTo>
                        <a:pt x="893" y="482"/>
                        <a:pt x="893" y="435"/>
                        <a:pt x="885" y="403"/>
                      </a:cubicBezTo>
                      <a:cubicBezTo>
                        <a:pt x="885" y="395"/>
                        <a:pt x="885" y="395"/>
                        <a:pt x="885" y="395"/>
                      </a:cubicBezTo>
                      <a:cubicBezTo>
                        <a:pt x="893" y="395"/>
                        <a:pt x="893" y="395"/>
                        <a:pt x="893" y="395"/>
                      </a:cubicBezTo>
                      <a:cubicBezTo>
                        <a:pt x="901" y="395"/>
                        <a:pt x="909" y="403"/>
                        <a:pt x="917" y="403"/>
                      </a:cubicBezTo>
                      <a:cubicBezTo>
                        <a:pt x="924" y="403"/>
                        <a:pt x="924" y="403"/>
                        <a:pt x="932" y="403"/>
                      </a:cubicBezTo>
                      <a:cubicBezTo>
                        <a:pt x="964" y="403"/>
                        <a:pt x="1011" y="395"/>
                        <a:pt x="1011" y="395"/>
                      </a:cubicBezTo>
                      <a:cubicBezTo>
                        <a:pt x="1881" y="277"/>
                        <a:pt x="2869" y="48"/>
                        <a:pt x="3059" y="0"/>
                      </a:cubicBezTo>
                      <a:cubicBezTo>
                        <a:pt x="3067" y="0"/>
                        <a:pt x="3067" y="0"/>
                        <a:pt x="3067" y="0"/>
                      </a:cubicBezTo>
                      <a:lnTo>
                        <a:pt x="3067" y="0"/>
                      </a:lnTo>
                      <a:cubicBezTo>
                        <a:pt x="3067" y="8"/>
                        <a:pt x="3075" y="16"/>
                        <a:pt x="3083" y="24"/>
                      </a:cubicBezTo>
                      <a:cubicBezTo>
                        <a:pt x="3091" y="48"/>
                        <a:pt x="3098" y="63"/>
                        <a:pt x="3106" y="79"/>
                      </a:cubicBezTo>
                      <a:cubicBezTo>
                        <a:pt x="3114" y="95"/>
                        <a:pt x="3122" y="111"/>
                        <a:pt x="3130" y="119"/>
                      </a:cubicBezTo>
                      <a:cubicBezTo>
                        <a:pt x="3138" y="134"/>
                        <a:pt x="3154" y="158"/>
                        <a:pt x="3162" y="182"/>
                      </a:cubicBezTo>
                      <a:cubicBezTo>
                        <a:pt x="3177" y="198"/>
                        <a:pt x="3186" y="221"/>
                        <a:pt x="3193" y="237"/>
                      </a:cubicBezTo>
                      <a:cubicBezTo>
                        <a:pt x="3217" y="269"/>
                        <a:pt x="3225" y="285"/>
                        <a:pt x="3249" y="308"/>
                      </a:cubicBezTo>
                      <a:cubicBezTo>
                        <a:pt x="3257" y="316"/>
                        <a:pt x="3264" y="324"/>
                        <a:pt x="3257" y="324"/>
                      </a:cubicBezTo>
                      <a:lnTo>
                        <a:pt x="3257" y="332"/>
                      </a:lnTo>
                      <a:cubicBezTo>
                        <a:pt x="3249" y="332"/>
                        <a:pt x="3233" y="316"/>
                        <a:pt x="3225" y="308"/>
                      </a:cubicBezTo>
                      <a:cubicBezTo>
                        <a:pt x="3201" y="292"/>
                        <a:pt x="3186" y="269"/>
                        <a:pt x="3162" y="229"/>
                      </a:cubicBezTo>
                      <a:cubicBezTo>
                        <a:pt x="3138" y="190"/>
                        <a:pt x="3130" y="166"/>
                        <a:pt x="3114" y="150"/>
                      </a:cubicBezTo>
                      <a:cubicBezTo>
                        <a:pt x="3114" y="142"/>
                        <a:pt x="3106" y="134"/>
                        <a:pt x="3098" y="126"/>
                      </a:cubicBezTo>
                      <a:cubicBezTo>
                        <a:pt x="3091" y="111"/>
                        <a:pt x="3083" y="95"/>
                        <a:pt x="3075" y="71"/>
                      </a:cubicBezTo>
                      <a:cubicBezTo>
                        <a:pt x="3059" y="39"/>
                        <a:pt x="3059" y="39"/>
                        <a:pt x="3035" y="32"/>
                      </a:cubicBezTo>
                      <a:lnTo>
                        <a:pt x="3027" y="24"/>
                      </a:lnTo>
                      <a:cubicBezTo>
                        <a:pt x="3011" y="16"/>
                        <a:pt x="3011" y="16"/>
                        <a:pt x="3011" y="24"/>
                      </a:cubicBezTo>
                      <a:cubicBezTo>
                        <a:pt x="3011" y="24"/>
                        <a:pt x="3004" y="32"/>
                        <a:pt x="3019" y="63"/>
                      </a:cubicBezTo>
                      <a:cubicBezTo>
                        <a:pt x="3027" y="71"/>
                        <a:pt x="3035" y="79"/>
                        <a:pt x="3043" y="87"/>
                      </a:cubicBezTo>
                      <a:cubicBezTo>
                        <a:pt x="3051" y="95"/>
                        <a:pt x="3059" y="103"/>
                        <a:pt x="3067" y="111"/>
                      </a:cubicBezTo>
                      <a:cubicBezTo>
                        <a:pt x="3083" y="119"/>
                        <a:pt x="3083" y="126"/>
                        <a:pt x="3091" y="142"/>
                      </a:cubicBezTo>
                      <a:cubicBezTo>
                        <a:pt x="3098" y="158"/>
                        <a:pt x="3106" y="182"/>
                        <a:pt x="3122" y="190"/>
                      </a:cubicBezTo>
                      <a:cubicBezTo>
                        <a:pt x="3130" y="206"/>
                        <a:pt x="3130" y="206"/>
                        <a:pt x="3130" y="214"/>
                      </a:cubicBezTo>
                      <a:cubicBezTo>
                        <a:pt x="3130" y="214"/>
                        <a:pt x="3130" y="214"/>
                        <a:pt x="3122" y="214"/>
                      </a:cubicBezTo>
                      <a:cubicBezTo>
                        <a:pt x="3114" y="214"/>
                        <a:pt x="3106" y="206"/>
                        <a:pt x="3098" y="206"/>
                      </a:cubicBezTo>
                      <a:lnTo>
                        <a:pt x="3091" y="198"/>
                      </a:lnTo>
                      <a:cubicBezTo>
                        <a:pt x="3091" y="198"/>
                        <a:pt x="3091" y="198"/>
                        <a:pt x="3083" y="198"/>
                      </a:cubicBezTo>
                      <a:cubicBezTo>
                        <a:pt x="3083" y="198"/>
                        <a:pt x="3083" y="198"/>
                        <a:pt x="3075" y="198"/>
                      </a:cubicBezTo>
                      <a:cubicBezTo>
                        <a:pt x="3075" y="198"/>
                        <a:pt x="3075" y="198"/>
                        <a:pt x="3067" y="198"/>
                      </a:cubicBezTo>
                      <a:cubicBezTo>
                        <a:pt x="3059" y="198"/>
                        <a:pt x="3043" y="190"/>
                        <a:pt x="3027" y="182"/>
                      </a:cubicBezTo>
                      <a:cubicBezTo>
                        <a:pt x="3019" y="174"/>
                        <a:pt x="3011" y="174"/>
                        <a:pt x="3011" y="166"/>
                      </a:cubicBezTo>
                      <a:cubicBezTo>
                        <a:pt x="3004" y="166"/>
                        <a:pt x="2996" y="166"/>
                        <a:pt x="2996" y="166"/>
                      </a:cubicBezTo>
                      <a:lnTo>
                        <a:pt x="2996" y="166"/>
                      </a:lnTo>
                      <a:cubicBezTo>
                        <a:pt x="2996" y="174"/>
                        <a:pt x="3004" y="182"/>
                        <a:pt x="3011" y="190"/>
                      </a:cubicBezTo>
                      <a:cubicBezTo>
                        <a:pt x="3027" y="198"/>
                        <a:pt x="3027" y="206"/>
                        <a:pt x="3027" y="214"/>
                      </a:cubicBezTo>
                      <a:cubicBezTo>
                        <a:pt x="3019" y="221"/>
                        <a:pt x="3004" y="237"/>
                        <a:pt x="2980" y="245"/>
                      </a:cubicBezTo>
                      <a:cubicBezTo>
                        <a:pt x="2940" y="245"/>
                        <a:pt x="2924" y="253"/>
                        <a:pt x="2917" y="285"/>
                      </a:cubicBezTo>
                      <a:cubicBezTo>
                        <a:pt x="2909" y="301"/>
                        <a:pt x="2885" y="308"/>
                        <a:pt x="2869" y="308"/>
                      </a:cubicBezTo>
                      <a:cubicBezTo>
                        <a:pt x="2861" y="308"/>
                        <a:pt x="2853" y="316"/>
                        <a:pt x="2846" y="316"/>
                      </a:cubicBezTo>
                      <a:cubicBezTo>
                        <a:pt x="2838" y="324"/>
                        <a:pt x="2838" y="324"/>
                        <a:pt x="2830" y="324"/>
                      </a:cubicBezTo>
                      <a:cubicBezTo>
                        <a:pt x="2830" y="324"/>
                        <a:pt x="2822" y="324"/>
                        <a:pt x="2814" y="316"/>
                      </a:cubicBezTo>
                      <a:cubicBezTo>
                        <a:pt x="2814" y="316"/>
                        <a:pt x="2806" y="308"/>
                        <a:pt x="2798" y="308"/>
                      </a:cubicBezTo>
                      <a:cubicBezTo>
                        <a:pt x="2782" y="308"/>
                        <a:pt x="2774" y="301"/>
                        <a:pt x="2766" y="301"/>
                      </a:cubicBezTo>
                      <a:cubicBezTo>
                        <a:pt x="2774" y="308"/>
                        <a:pt x="2790" y="332"/>
                        <a:pt x="2830" y="348"/>
                      </a:cubicBezTo>
                      <a:cubicBezTo>
                        <a:pt x="2830" y="356"/>
                        <a:pt x="2838" y="356"/>
                        <a:pt x="2846" y="356"/>
                      </a:cubicBezTo>
                      <a:cubicBezTo>
                        <a:pt x="2869" y="356"/>
                        <a:pt x="2885" y="332"/>
                        <a:pt x="2893" y="316"/>
                      </a:cubicBezTo>
                      <a:cubicBezTo>
                        <a:pt x="2893" y="308"/>
                        <a:pt x="2901" y="308"/>
                        <a:pt x="2901" y="308"/>
                      </a:cubicBezTo>
                      <a:cubicBezTo>
                        <a:pt x="2909" y="308"/>
                        <a:pt x="2917" y="316"/>
                        <a:pt x="2933" y="324"/>
                      </a:cubicBezTo>
                      <a:cubicBezTo>
                        <a:pt x="2940" y="324"/>
                        <a:pt x="2948" y="332"/>
                        <a:pt x="2956" y="332"/>
                      </a:cubicBezTo>
                      <a:cubicBezTo>
                        <a:pt x="2956" y="332"/>
                        <a:pt x="2956" y="332"/>
                        <a:pt x="2956" y="324"/>
                      </a:cubicBezTo>
                      <a:cubicBezTo>
                        <a:pt x="2964" y="308"/>
                        <a:pt x="2972" y="301"/>
                        <a:pt x="2988" y="301"/>
                      </a:cubicBezTo>
                      <a:cubicBezTo>
                        <a:pt x="2996" y="292"/>
                        <a:pt x="3004" y="292"/>
                        <a:pt x="3011" y="285"/>
                      </a:cubicBezTo>
                      <a:cubicBezTo>
                        <a:pt x="3019" y="277"/>
                        <a:pt x="3027" y="277"/>
                        <a:pt x="3027" y="277"/>
                      </a:cubicBezTo>
                      <a:cubicBezTo>
                        <a:pt x="3035" y="277"/>
                        <a:pt x="3043" y="285"/>
                        <a:pt x="3051" y="292"/>
                      </a:cubicBezTo>
                      <a:cubicBezTo>
                        <a:pt x="3059" y="301"/>
                        <a:pt x="3067" y="308"/>
                        <a:pt x="3067" y="316"/>
                      </a:cubicBezTo>
                      <a:cubicBezTo>
                        <a:pt x="3075" y="316"/>
                        <a:pt x="3075" y="324"/>
                        <a:pt x="3075" y="324"/>
                      </a:cubicBezTo>
                      <a:cubicBezTo>
                        <a:pt x="3083" y="324"/>
                        <a:pt x="3083" y="316"/>
                        <a:pt x="3091" y="316"/>
                      </a:cubicBezTo>
                      <a:cubicBezTo>
                        <a:pt x="3098" y="316"/>
                        <a:pt x="3098" y="316"/>
                        <a:pt x="3098" y="308"/>
                      </a:cubicBezTo>
                      <a:cubicBezTo>
                        <a:pt x="3098" y="292"/>
                        <a:pt x="3114" y="285"/>
                        <a:pt x="3130" y="285"/>
                      </a:cubicBezTo>
                      <a:cubicBezTo>
                        <a:pt x="3138" y="285"/>
                        <a:pt x="3138" y="285"/>
                        <a:pt x="3146" y="285"/>
                      </a:cubicBezTo>
                      <a:cubicBezTo>
                        <a:pt x="3146" y="292"/>
                        <a:pt x="3146" y="292"/>
                        <a:pt x="3146" y="292"/>
                      </a:cubicBezTo>
                      <a:cubicBezTo>
                        <a:pt x="3154" y="292"/>
                        <a:pt x="3177" y="301"/>
                        <a:pt x="3186" y="332"/>
                      </a:cubicBezTo>
                      <a:cubicBezTo>
                        <a:pt x="3186" y="348"/>
                        <a:pt x="3186" y="372"/>
                        <a:pt x="3193" y="395"/>
                      </a:cubicBezTo>
                      <a:cubicBezTo>
                        <a:pt x="3193" y="403"/>
                        <a:pt x="3193" y="411"/>
                        <a:pt x="3193" y="427"/>
                      </a:cubicBezTo>
                      <a:cubicBezTo>
                        <a:pt x="3201" y="435"/>
                        <a:pt x="3193" y="443"/>
                        <a:pt x="3193" y="451"/>
                      </a:cubicBezTo>
                      <a:cubicBezTo>
                        <a:pt x="3186" y="459"/>
                        <a:pt x="3177" y="459"/>
                        <a:pt x="3170" y="459"/>
                      </a:cubicBezTo>
                      <a:cubicBezTo>
                        <a:pt x="3162" y="459"/>
                        <a:pt x="3162" y="459"/>
                        <a:pt x="3162" y="459"/>
                      </a:cubicBezTo>
                      <a:cubicBezTo>
                        <a:pt x="3162" y="459"/>
                        <a:pt x="3154" y="459"/>
                        <a:pt x="3154" y="451"/>
                      </a:cubicBezTo>
                      <a:cubicBezTo>
                        <a:pt x="3146" y="451"/>
                        <a:pt x="3146" y="451"/>
                        <a:pt x="3146" y="451"/>
                      </a:cubicBezTo>
                      <a:cubicBezTo>
                        <a:pt x="3138" y="451"/>
                        <a:pt x="3138" y="459"/>
                        <a:pt x="3130" y="490"/>
                      </a:cubicBezTo>
                      <a:cubicBezTo>
                        <a:pt x="3130" y="561"/>
                        <a:pt x="3067" y="601"/>
                        <a:pt x="3059" y="601"/>
                      </a:cubicBezTo>
                      <a:cubicBezTo>
                        <a:pt x="3051" y="601"/>
                        <a:pt x="3043" y="601"/>
                        <a:pt x="3027" y="601"/>
                      </a:cubicBezTo>
                      <a:cubicBezTo>
                        <a:pt x="3019" y="601"/>
                        <a:pt x="3004" y="601"/>
                        <a:pt x="2972" y="593"/>
                      </a:cubicBezTo>
                      <a:cubicBezTo>
                        <a:pt x="2933" y="585"/>
                        <a:pt x="2924" y="585"/>
                        <a:pt x="2924" y="577"/>
                      </a:cubicBezTo>
                      <a:cubicBezTo>
                        <a:pt x="2917" y="577"/>
                        <a:pt x="2917" y="577"/>
                        <a:pt x="2909" y="577"/>
                      </a:cubicBezTo>
                      <a:cubicBezTo>
                        <a:pt x="2909" y="569"/>
                        <a:pt x="2901" y="569"/>
                        <a:pt x="2901" y="569"/>
                      </a:cubicBezTo>
                      <a:cubicBezTo>
                        <a:pt x="2901" y="569"/>
                        <a:pt x="2901" y="569"/>
                        <a:pt x="2893" y="577"/>
                      </a:cubicBezTo>
                      <a:cubicBezTo>
                        <a:pt x="2893" y="585"/>
                        <a:pt x="2893" y="593"/>
                        <a:pt x="2877" y="601"/>
                      </a:cubicBezTo>
                      <a:cubicBezTo>
                        <a:pt x="2869" y="609"/>
                        <a:pt x="2861" y="609"/>
                        <a:pt x="2853" y="609"/>
                      </a:cubicBezTo>
                      <a:cubicBezTo>
                        <a:pt x="2846" y="609"/>
                        <a:pt x="2846" y="609"/>
                        <a:pt x="2838" y="609"/>
                      </a:cubicBezTo>
                      <a:lnTo>
                        <a:pt x="2830" y="609"/>
                      </a:lnTo>
                      <a:cubicBezTo>
                        <a:pt x="2822" y="609"/>
                        <a:pt x="2814" y="609"/>
                        <a:pt x="2814" y="609"/>
                      </a:cubicBezTo>
                      <a:lnTo>
                        <a:pt x="2814" y="609"/>
                      </a:lnTo>
                      <a:cubicBezTo>
                        <a:pt x="2814" y="617"/>
                        <a:pt x="2830" y="617"/>
                        <a:pt x="2846" y="625"/>
                      </a:cubicBezTo>
                      <a:cubicBezTo>
                        <a:pt x="2861" y="625"/>
                        <a:pt x="2877" y="632"/>
                        <a:pt x="2893" y="632"/>
                      </a:cubicBezTo>
                      <a:cubicBezTo>
                        <a:pt x="2909" y="640"/>
                        <a:pt x="2917" y="640"/>
                        <a:pt x="2924" y="640"/>
                      </a:cubicBezTo>
                      <a:cubicBezTo>
                        <a:pt x="2940" y="648"/>
                        <a:pt x="2940" y="648"/>
                        <a:pt x="2956" y="656"/>
                      </a:cubicBezTo>
                      <a:cubicBezTo>
                        <a:pt x="2964" y="664"/>
                        <a:pt x="2964" y="664"/>
                        <a:pt x="2964" y="664"/>
                      </a:cubicBezTo>
                      <a:cubicBezTo>
                        <a:pt x="2972" y="664"/>
                        <a:pt x="2972" y="672"/>
                        <a:pt x="2972" y="672"/>
                      </a:cubicBezTo>
                      <a:cubicBezTo>
                        <a:pt x="2972" y="680"/>
                        <a:pt x="2972" y="688"/>
                        <a:pt x="2964" y="696"/>
                      </a:cubicBezTo>
                      <a:cubicBezTo>
                        <a:pt x="2956" y="704"/>
                        <a:pt x="2948" y="712"/>
                        <a:pt x="2940" y="727"/>
                      </a:cubicBezTo>
                      <a:cubicBezTo>
                        <a:pt x="2933" y="735"/>
                        <a:pt x="2933" y="751"/>
                        <a:pt x="2924" y="759"/>
                      </a:cubicBezTo>
                      <a:cubicBezTo>
                        <a:pt x="2924" y="767"/>
                        <a:pt x="2917" y="775"/>
                        <a:pt x="2909" y="798"/>
                      </a:cubicBezTo>
                      <a:cubicBezTo>
                        <a:pt x="2893" y="822"/>
                        <a:pt x="2877" y="822"/>
                        <a:pt x="2861" y="822"/>
                      </a:cubicBezTo>
                      <a:cubicBezTo>
                        <a:pt x="2853" y="822"/>
                        <a:pt x="2853" y="822"/>
                        <a:pt x="2846" y="830"/>
                      </a:cubicBezTo>
                      <a:lnTo>
                        <a:pt x="2846" y="830"/>
                      </a:lnTo>
                      <a:cubicBezTo>
                        <a:pt x="2846" y="830"/>
                        <a:pt x="2846" y="830"/>
                        <a:pt x="2853" y="830"/>
                      </a:cubicBezTo>
                      <a:cubicBezTo>
                        <a:pt x="2861" y="830"/>
                        <a:pt x="2877" y="830"/>
                        <a:pt x="2885" y="822"/>
                      </a:cubicBezTo>
                      <a:cubicBezTo>
                        <a:pt x="2909" y="822"/>
                        <a:pt x="2917" y="814"/>
                        <a:pt x="2924" y="806"/>
                      </a:cubicBezTo>
                      <a:cubicBezTo>
                        <a:pt x="2933" y="806"/>
                        <a:pt x="2940" y="798"/>
                        <a:pt x="2956" y="798"/>
                      </a:cubicBezTo>
                      <a:cubicBezTo>
                        <a:pt x="2972" y="791"/>
                        <a:pt x="2972" y="783"/>
                        <a:pt x="2972" y="759"/>
                      </a:cubicBezTo>
                      <a:cubicBezTo>
                        <a:pt x="2972" y="759"/>
                        <a:pt x="2972" y="743"/>
                        <a:pt x="2972" y="735"/>
                      </a:cubicBezTo>
                      <a:cubicBezTo>
                        <a:pt x="2972" y="735"/>
                        <a:pt x="2972" y="719"/>
                        <a:pt x="2980" y="719"/>
                      </a:cubicBezTo>
                      <a:cubicBezTo>
                        <a:pt x="2996" y="719"/>
                        <a:pt x="3004" y="743"/>
                        <a:pt x="3004" y="759"/>
                      </a:cubicBezTo>
                      <a:cubicBezTo>
                        <a:pt x="3004" y="783"/>
                        <a:pt x="3004" y="783"/>
                        <a:pt x="3019" y="798"/>
                      </a:cubicBezTo>
                      <a:lnTo>
                        <a:pt x="3019" y="798"/>
                      </a:lnTo>
                      <a:cubicBezTo>
                        <a:pt x="3019" y="806"/>
                        <a:pt x="3019" y="806"/>
                        <a:pt x="3019" y="806"/>
                      </a:cubicBezTo>
                      <a:cubicBezTo>
                        <a:pt x="3027" y="806"/>
                        <a:pt x="3027" y="791"/>
                        <a:pt x="3027" y="783"/>
                      </a:cubicBezTo>
                      <a:cubicBezTo>
                        <a:pt x="3035" y="775"/>
                        <a:pt x="3035" y="759"/>
                        <a:pt x="3051" y="751"/>
                      </a:cubicBezTo>
                      <a:cubicBezTo>
                        <a:pt x="3059" y="743"/>
                        <a:pt x="3059" y="743"/>
                        <a:pt x="3067" y="743"/>
                      </a:cubicBezTo>
                      <a:cubicBezTo>
                        <a:pt x="3067" y="751"/>
                        <a:pt x="3067" y="759"/>
                        <a:pt x="3067" y="775"/>
                      </a:cubicBezTo>
                      <a:cubicBezTo>
                        <a:pt x="3059" y="783"/>
                        <a:pt x="3059" y="791"/>
                        <a:pt x="3059" y="798"/>
                      </a:cubicBezTo>
                      <a:cubicBezTo>
                        <a:pt x="3059" y="806"/>
                        <a:pt x="3059" y="806"/>
                        <a:pt x="3059" y="806"/>
                      </a:cubicBezTo>
                      <a:lnTo>
                        <a:pt x="3059" y="806"/>
                      </a:lnTo>
                      <a:cubicBezTo>
                        <a:pt x="3067" y="806"/>
                        <a:pt x="3067" y="798"/>
                        <a:pt x="3075" y="798"/>
                      </a:cubicBezTo>
                      <a:cubicBezTo>
                        <a:pt x="3083" y="791"/>
                        <a:pt x="3091" y="798"/>
                        <a:pt x="3098" y="806"/>
                      </a:cubicBezTo>
                      <a:cubicBezTo>
                        <a:pt x="3098" y="806"/>
                        <a:pt x="3098" y="822"/>
                        <a:pt x="3083" y="830"/>
                      </a:cubicBezTo>
                      <a:cubicBezTo>
                        <a:pt x="3067" y="846"/>
                        <a:pt x="3043" y="893"/>
                        <a:pt x="3027" y="933"/>
                      </a:cubicBezTo>
                      <a:cubicBezTo>
                        <a:pt x="3019" y="965"/>
                        <a:pt x="3011" y="972"/>
                        <a:pt x="3011" y="972"/>
                      </a:cubicBezTo>
                      <a:cubicBezTo>
                        <a:pt x="3004" y="972"/>
                        <a:pt x="3004" y="965"/>
                        <a:pt x="3004" y="965"/>
                      </a:cubicBezTo>
                      <a:cubicBezTo>
                        <a:pt x="3004" y="965"/>
                        <a:pt x="3004" y="956"/>
                        <a:pt x="2996" y="956"/>
                      </a:cubicBezTo>
                      <a:cubicBezTo>
                        <a:pt x="2996" y="949"/>
                        <a:pt x="2996" y="941"/>
                        <a:pt x="2996" y="933"/>
                      </a:cubicBezTo>
                      <a:cubicBezTo>
                        <a:pt x="2996" y="925"/>
                        <a:pt x="2996" y="917"/>
                        <a:pt x="2988" y="909"/>
                      </a:cubicBezTo>
                      <a:cubicBezTo>
                        <a:pt x="2980" y="909"/>
                        <a:pt x="2980" y="909"/>
                        <a:pt x="2980" y="909"/>
                      </a:cubicBezTo>
                      <a:lnTo>
                        <a:pt x="2980" y="909"/>
                      </a:lnTo>
                      <a:cubicBezTo>
                        <a:pt x="2972" y="909"/>
                        <a:pt x="2964" y="917"/>
                        <a:pt x="2948" y="917"/>
                      </a:cubicBezTo>
                      <a:cubicBezTo>
                        <a:pt x="2933" y="917"/>
                        <a:pt x="2924" y="917"/>
                        <a:pt x="2924" y="909"/>
                      </a:cubicBezTo>
                      <a:lnTo>
                        <a:pt x="2924" y="909"/>
                      </a:lnTo>
                      <a:cubicBezTo>
                        <a:pt x="2917" y="909"/>
                        <a:pt x="2917" y="909"/>
                        <a:pt x="2917" y="909"/>
                      </a:cubicBezTo>
                      <a:cubicBezTo>
                        <a:pt x="2917" y="917"/>
                        <a:pt x="2917" y="925"/>
                        <a:pt x="2917" y="933"/>
                      </a:cubicBezTo>
                      <a:cubicBezTo>
                        <a:pt x="2917" y="941"/>
                        <a:pt x="2924" y="949"/>
                        <a:pt x="2909" y="956"/>
                      </a:cubicBezTo>
                      <a:cubicBezTo>
                        <a:pt x="2909" y="965"/>
                        <a:pt x="2885" y="965"/>
                        <a:pt x="2869" y="972"/>
                      </a:cubicBezTo>
                      <a:cubicBezTo>
                        <a:pt x="2853" y="980"/>
                        <a:pt x="2846" y="980"/>
                        <a:pt x="2838" y="988"/>
                      </a:cubicBezTo>
                      <a:cubicBezTo>
                        <a:pt x="2830" y="988"/>
                        <a:pt x="2830" y="988"/>
                        <a:pt x="2822" y="988"/>
                      </a:cubicBezTo>
                      <a:cubicBezTo>
                        <a:pt x="2806" y="988"/>
                        <a:pt x="2790" y="980"/>
                        <a:pt x="2782" y="972"/>
                      </a:cubicBezTo>
                      <a:lnTo>
                        <a:pt x="2774" y="972"/>
                      </a:lnTo>
                      <a:cubicBezTo>
                        <a:pt x="2774" y="972"/>
                        <a:pt x="2766" y="980"/>
                        <a:pt x="2758" y="1004"/>
                      </a:cubicBezTo>
                      <a:cubicBezTo>
                        <a:pt x="2758" y="1020"/>
                        <a:pt x="2743" y="1036"/>
                        <a:pt x="2735" y="1051"/>
                      </a:cubicBezTo>
                      <a:cubicBezTo>
                        <a:pt x="2735" y="1051"/>
                        <a:pt x="2735" y="1059"/>
                        <a:pt x="2727" y="1059"/>
                      </a:cubicBezTo>
                      <a:cubicBezTo>
                        <a:pt x="2727" y="1059"/>
                        <a:pt x="2727" y="1067"/>
                        <a:pt x="2719" y="1067"/>
                      </a:cubicBezTo>
                      <a:cubicBezTo>
                        <a:pt x="2711" y="1067"/>
                        <a:pt x="2695" y="1051"/>
                        <a:pt x="2687" y="1036"/>
                      </a:cubicBezTo>
                      <a:cubicBezTo>
                        <a:pt x="2680" y="1036"/>
                        <a:pt x="2680" y="1028"/>
                        <a:pt x="2687" y="1020"/>
                      </a:cubicBezTo>
                      <a:cubicBezTo>
                        <a:pt x="2680" y="1020"/>
                        <a:pt x="2680" y="1020"/>
                        <a:pt x="2680" y="1020"/>
                      </a:cubicBezTo>
                      <a:cubicBezTo>
                        <a:pt x="2680" y="1028"/>
                        <a:pt x="2680" y="1043"/>
                        <a:pt x="2687" y="1059"/>
                      </a:cubicBezTo>
                      <a:cubicBezTo>
                        <a:pt x="2687" y="1059"/>
                        <a:pt x="2687" y="1059"/>
                        <a:pt x="2695" y="1067"/>
                      </a:cubicBezTo>
                      <a:cubicBezTo>
                        <a:pt x="2695" y="1075"/>
                        <a:pt x="2703" y="1075"/>
                        <a:pt x="2703" y="1083"/>
                      </a:cubicBezTo>
                      <a:cubicBezTo>
                        <a:pt x="2703" y="1091"/>
                        <a:pt x="2695" y="1099"/>
                        <a:pt x="2687" y="1107"/>
                      </a:cubicBezTo>
                      <a:cubicBezTo>
                        <a:pt x="2656" y="1123"/>
                        <a:pt x="2529" y="1296"/>
                        <a:pt x="2521" y="1368"/>
                      </a:cubicBezTo>
                      <a:cubicBezTo>
                        <a:pt x="2521" y="1431"/>
                        <a:pt x="2498" y="1431"/>
                        <a:pt x="2458" y="1431"/>
                      </a:cubicBezTo>
                      <a:cubicBezTo>
                        <a:pt x="2450" y="1431"/>
                        <a:pt x="2442" y="1431"/>
                        <a:pt x="2427" y="1431"/>
                      </a:cubicBezTo>
                      <a:cubicBezTo>
                        <a:pt x="2395" y="1439"/>
                        <a:pt x="2387" y="1439"/>
                        <a:pt x="2371" y="1447"/>
                      </a:cubicBezTo>
                      <a:cubicBezTo>
                        <a:pt x="2363" y="1447"/>
                        <a:pt x="2347" y="1455"/>
                        <a:pt x="2332" y="1455"/>
                      </a:cubicBezTo>
                      <a:cubicBezTo>
                        <a:pt x="2316" y="1462"/>
                        <a:pt x="2308" y="1471"/>
                        <a:pt x="2300" y="1471"/>
                      </a:cubicBezTo>
                      <a:lnTo>
                        <a:pt x="2300" y="1478"/>
                      </a:lnTo>
                      <a:close/>
                      <a:moveTo>
                        <a:pt x="1810" y="1099"/>
                      </a:moveTo>
                      <a:lnTo>
                        <a:pt x="1810" y="1099"/>
                      </a:lnTo>
                      <a:lnTo>
                        <a:pt x="1810" y="1099"/>
                      </a:lnTo>
                      <a:cubicBezTo>
                        <a:pt x="2300" y="1462"/>
                        <a:pt x="2300" y="1462"/>
                        <a:pt x="2300" y="1462"/>
                      </a:cubicBezTo>
                      <a:cubicBezTo>
                        <a:pt x="2308" y="1462"/>
                        <a:pt x="2316" y="1455"/>
                        <a:pt x="2332" y="1455"/>
                      </a:cubicBezTo>
                      <a:cubicBezTo>
                        <a:pt x="2347" y="1447"/>
                        <a:pt x="2355" y="1447"/>
                        <a:pt x="2363" y="1439"/>
                      </a:cubicBezTo>
                      <a:cubicBezTo>
                        <a:pt x="2387" y="1431"/>
                        <a:pt x="2387" y="1431"/>
                        <a:pt x="2427" y="1423"/>
                      </a:cubicBezTo>
                      <a:cubicBezTo>
                        <a:pt x="2442" y="1423"/>
                        <a:pt x="2450" y="1423"/>
                        <a:pt x="2458" y="1423"/>
                      </a:cubicBezTo>
                      <a:cubicBezTo>
                        <a:pt x="2498" y="1423"/>
                        <a:pt x="2513" y="1423"/>
                        <a:pt x="2521" y="1368"/>
                      </a:cubicBezTo>
                      <a:cubicBezTo>
                        <a:pt x="2521" y="1296"/>
                        <a:pt x="2648" y="1115"/>
                        <a:pt x="2680" y="1099"/>
                      </a:cubicBezTo>
                      <a:cubicBezTo>
                        <a:pt x="2687" y="1091"/>
                        <a:pt x="2695" y="1091"/>
                        <a:pt x="2695" y="1083"/>
                      </a:cubicBezTo>
                      <a:cubicBezTo>
                        <a:pt x="2695" y="1083"/>
                        <a:pt x="2687" y="1075"/>
                        <a:pt x="2687" y="1067"/>
                      </a:cubicBezTo>
                      <a:cubicBezTo>
                        <a:pt x="2687" y="1067"/>
                        <a:pt x="2680" y="1067"/>
                        <a:pt x="2680" y="1059"/>
                      </a:cubicBezTo>
                      <a:cubicBezTo>
                        <a:pt x="2671" y="1051"/>
                        <a:pt x="2671" y="1028"/>
                        <a:pt x="2680" y="1020"/>
                      </a:cubicBezTo>
                      <a:lnTo>
                        <a:pt x="2680" y="1012"/>
                      </a:lnTo>
                      <a:cubicBezTo>
                        <a:pt x="2687" y="1012"/>
                        <a:pt x="2687" y="1012"/>
                        <a:pt x="2687" y="1012"/>
                      </a:cubicBezTo>
                      <a:cubicBezTo>
                        <a:pt x="2695" y="1020"/>
                        <a:pt x="2687" y="1020"/>
                        <a:pt x="2687" y="1020"/>
                      </a:cubicBezTo>
                      <a:cubicBezTo>
                        <a:pt x="2687" y="1028"/>
                        <a:pt x="2687" y="1028"/>
                        <a:pt x="2695" y="1036"/>
                      </a:cubicBezTo>
                      <a:cubicBezTo>
                        <a:pt x="2703" y="1043"/>
                        <a:pt x="2711" y="1059"/>
                        <a:pt x="2719" y="1059"/>
                      </a:cubicBezTo>
                      <a:lnTo>
                        <a:pt x="2727" y="1059"/>
                      </a:lnTo>
                      <a:cubicBezTo>
                        <a:pt x="2727" y="1051"/>
                        <a:pt x="2727" y="1051"/>
                        <a:pt x="2735" y="1043"/>
                      </a:cubicBezTo>
                      <a:cubicBezTo>
                        <a:pt x="2735" y="1036"/>
                        <a:pt x="2751" y="1020"/>
                        <a:pt x="2751" y="1004"/>
                      </a:cubicBezTo>
                      <a:cubicBezTo>
                        <a:pt x="2758" y="980"/>
                        <a:pt x="2766" y="965"/>
                        <a:pt x="2774" y="965"/>
                      </a:cubicBezTo>
                      <a:cubicBezTo>
                        <a:pt x="2782" y="965"/>
                        <a:pt x="2782" y="965"/>
                        <a:pt x="2782" y="972"/>
                      </a:cubicBezTo>
                      <a:cubicBezTo>
                        <a:pt x="2790" y="980"/>
                        <a:pt x="2806" y="980"/>
                        <a:pt x="2822" y="980"/>
                      </a:cubicBezTo>
                      <a:cubicBezTo>
                        <a:pt x="2830" y="980"/>
                        <a:pt x="2830" y="980"/>
                        <a:pt x="2830" y="980"/>
                      </a:cubicBezTo>
                      <a:cubicBezTo>
                        <a:pt x="2838" y="972"/>
                        <a:pt x="2853" y="972"/>
                        <a:pt x="2869" y="965"/>
                      </a:cubicBezTo>
                      <a:cubicBezTo>
                        <a:pt x="2885" y="965"/>
                        <a:pt x="2901" y="956"/>
                        <a:pt x="2909" y="949"/>
                      </a:cubicBezTo>
                      <a:cubicBezTo>
                        <a:pt x="2917" y="949"/>
                        <a:pt x="2909" y="941"/>
                        <a:pt x="2909" y="933"/>
                      </a:cubicBezTo>
                      <a:cubicBezTo>
                        <a:pt x="2909" y="925"/>
                        <a:pt x="2909" y="917"/>
                        <a:pt x="2917" y="909"/>
                      </a:cubicBezTo>
                      <a:cubicBezTo>
                        <a:pt x="2917" y="909"/>
                        <a:pt x="2917" y="901"/>
                        <a:pt x="2924" y="901"/>
                      </a:cubicBezTo>
                      <a:cubicBezTo>
                        <a:pt x="2924" y="901"/>
                        <a:pt x="2924" y="901"/>
                        <a:pt x="2924" y="909"/>
                      </a:cubicBezTo>
                      <a:cubicBezTo>
                        <a:pt x="2933" y="909"/>
                        <a:pt x="2933" y="909"/>
                        <a:pt x="2948" y="909"/>
                      </a:cubicBezTo>
                      <a:cubicBezTo>
                        <a:pt x="2964" y="909"/>
                        <a:pt x="2972" y="909"/>
                        <a:pt x="2972" y="901"/>
                      </a:cubicBezTo>
                      <a:cubicBezTo>
                        <a:pt x="2980" y="901"/>
                        <a:pt x="2980" y="901"/>
                        <a:pt x="2980" y="901"/>
                      </a:cubicBezTo>
                      <a:cubicBezTo>
                        <a:pt x="2988" y="901"/>
                        <a:pt x="2988" y="901"/>
                        <a:pt x="2996" y="909"/>
                      </a:cubicBezTo>
                      <a:cubicBezTo>
                        <a:pt x="3004" y="917"/>
                        <a:pt x="3004" y="925"/>
                        <a:pt x="3004" y="933"/>
                      </a:cubicBezTo>
                      <a:cubicBezTo>
                        <a:pt x="3004" y="941"/>
                        <a:pt x="3004" y="949"/>
                        <a:pt x="3004" y="956"/>
                      </a:cubicBezTo>
                      <a:cubicBezTo>
                        <a:pt x="3004" y="956"/>
                        <a:pt x="3011" y="956"/>
                        <a:pt x="3011" y="965"/>
                      </a:cubicBezTo>
                      <a:cubicBezTo>
                        <a:pt x="3011" y="956"/>
                        <a:pt x="3019" y="941"/>
                        <a:pt x="3019" y="933"/>
                      </a:cubicBezTo>
                      <a:cubicBezTo>
                        <a:pt x="3035" y="885"/>
                        <a:pt x="3067" y="838"/>
                        <a:pt x="3083" y="822"/>
                      </a:cubicBezTo>
                      <a:cubicBezTo>
                        <a:pt x="3091" y="814"/>
                        <a:pt x="3091" y="806"/>
                        <a:pt x="3091" y="806"/>
                      </a:cubicBezTo>
                      <a:cubicBezTo>
                        <a:pt x="3091" y="806"/>
                        <a:pt x="3083" y="798"/>
                        <a:pt x="3075" y="806"/>
                      </a:cubicBezTo>
                      <a:lnTo>
                        <a:pt x="3067" y="814"/>
                      </a:lnTo>
                      <a:lnTo>
                        <a:pt x="3059" y="822"/>
                      </a:lnTo>
                      <a:cubicBezTo>
                        <a:pt x="3059" y="822"/>
                        <a:pt x="3059" y="814"/>
                        <a:pt x="3051" y="814"/>
                      </a:cubicBezTo>
                      <a:cubicBezTo>
                        <a:pt x="3051" y="814"/>
                        <a:pt x="3051" y="806"/>
                        <a:pt x="3051" y="798"/>
                      </a:cubicBezTo>
                      <a:cubicBezTo>
                        <a:pt x="3051" y="791"/>
                        <a:pt x="3051" y="783"/>
                        <a:pt x="3059" y="775"/>
                      </a:cubicBezTo>
                      <a:cubicBezTo>
                        <a:pt x="3059" y="767"/>
                        <a:pt x="3059" y="751"/>
                        <a:pt x="3059" y="751"/>
                      </a:cubicBezTo>
                      <a:cubicBezTo>
                        <a:pt x="3059" y="751"/>
                        <a:pt x="3059" y="751"/>
                        <a:pt x="3051" y="751"/>
                      </a:cubicBezTo>
                      <a:cubicBezTo>
                        <a:pt x="3043" y="759"/>
                        <a:pt x="3043" y="775"/>
                        <a:pt x="3035" y="791"/>
                      </a:cubicBezTo>
                      <a:cubicBezTo>
                        <a:pt x="3035" y="798"/>
                        <a:pt x="3027" y="806"/>
                        <a:pt x="3019" y="806"/>
                      </a:cubicBezTo>
                      <a:cubicBezTo>
                        <a:pt x="3019" y="806"/>
                        <a:pt x="3019" y="806"/>
                        <a:pt x="3011" y="806"/>
                      </a:cubicBezTo>
                      <a:cubicBezTo>
                        <a:pt x="3011" y="798"/>
                        <a:pt x="3011" y="798"/>
                        <a:pt x="3011" y="798"/>
                      </a:cubicBezTo>
                      <a:cubicBezTo>
                        <a:pt x="2996" y="783"/>
                        <a:pt x="2996" y="783"/>
                        <a:pt x="2996" y="759"/>
                      </a:cubicBezTo>
                      <a:cubicBezTo>
                        <a:pt x="2996" y="743"/>
                        <a:pt x="2988" y="727"/>
                        <a:pt x="2980" y="727"/>
                      </a:cubicBezTo>
                      <a:cubicBezTo>
                        <a:pt x="2980" y="727"/>
                        <a:pt x="2980" y="727"/>
                        <a:pt x="2980" y="735"/>
                      </a:cubicBezTo>
                      <a:cubicBezTo>
                        <a:pt x="2980" y="751"/>
                        <a:pt x="2980" y="759"/>
                        <a:pt x="2980" y="759"/>
                      </a:cubicBezTo>
                      <a:cubicBezTo>
                        <a:pt x="2980" y="783"/>
                        <a:pt x="2980" y="798"/>
                        <a:pt x="2956" y="806"/>
                      </a:cubicBezTo>
                      <a:cubicBezTo>
                        <a:pt x="2948" y="806"/>
                        <a:pt x="2940" y="814"/>
                        <a:pt x="2933" y="814"/>
                      </a:cubicBezTo>
                      <a:cubicBezTo>
                        <a:pt x="2917" y="822"/>
                        <a:pt x="2909" y="830"/>
                        <a:pt x="2893" y="830"/>
                      </a:cubicBezTo>
                      <a:cubicBezTo>
                        <a:pt x="2877" y="830"/>
                        <a:pt x="2861" y="838"/>
                        <a:pt x="2853" y="838"/>
                      </a:cubicBezTo>
                      <a:cubicBezTo>
                        <a:pt x="2838" y="838"/>
                        <a:pt x="2830" y="830"/>
                        <a:pt x="2830" y="830"/>
                      </a:cubicBezTo>
                      <a:cubicBezTo>
                        <a:pt x="2830" y="822"/>
                        <a:pt x="2838" y="822"/>
                        <a:pt x="2838" y="822"/>
                      </a:cubicBezTo>
                      <a:cubicBezTo>
                        <a:pt x="2846" y="814"/>
                        <a:pt x="2853" y="814"/>
                        <a:pt x="2861" y="814"/>
                      </a:cubicBezTo>
                      <a:cubicBezTo>
                        <a:pt x="2877" y="814"/>
                        <a:pt x="2885" y="814"/>
                        <a:pt x="2901" y="791"/>
                      </a:cubicBezTo>
                      <a:cubicBezTo>
                        <a:pt x="2909" y="775"/>
                        <a:pt x="2917" y="767"/>
                        <a:pt x="2917" y="751"/>
                      </a:cubicBezTo>
                      <a:cubicBezTo>
                        <a:pt x="2924" y="743"/>
                        <a:pt x="2924" y="735"/>
                        <a:pt x="2933" y="719"/>
                      </a:cubicBezTo>
                      <a:cubicBezTo>
                        <a:pt x="2940" y="712"/>
                        <a:pt x="2948" y="696"/>
                        <a:pt x="2956" y="696"/>
                      </a:cubicBezTo>
                      <a:cubicBezTo>
                        <a:pt x="2964" y="688"/>
                        <a:pt x="2964" y="680"/>
                        <a:pt x="2964" y="680"/>
                      </a:cubicBezTo>
                      <a:cubicBezTo>
                        <a:pt x="2964" y="672"/>
                        <a:pt x="2964" y="672"/>
                        <a:pt x="2956" y="664"/>
                      </a:cubicBezTo>
                      <a:lnTo>
                        <a:pt x="2956" y="664"/>
                      </a:lnTo>
                      <a:cubicBezTo>
                        <a:pt x="2940" y="656"/>
                        <a:pt x="2940" y="656"/>
                        <a:pt x="2917" y="648"/>
                      </a:cubicBezTo>
                      <a:cubicBezTo>
                        <a:pt x="2917" y="648"/>
                        <a:pt x="2901" y="648"/>
                        <a:pt x="2893" y="640"/>
                      </a:cubicBezTo>
                      <a:cubicBezTo>
                        <a:pt x="2877" y="632"/>
                        <a:pt x="2853" y="632"/>
                        <a:pt x="2838" y="625"/>
                      </a:cubicBezTo>
                      <a:cubicBezTo>
                        <a:pt x="2814" y="625"/>
                        <a:pt x="2806" y="617"/>
                        <a:pt x="2798" y="617"/>
                      </a:cubicBezTo>
                      <a:cubicBezTo>
                        <a:pt x="2798" y="609"/>
                        <a:pt x="2806" y="609"/>
                        <a:pt x="2806" y="609"/>
                      </a:cubicBezTo>
                      <a:cubicBezTo>
                        <a:pt x="2814" y="601"/>
                        <a:pt x="2822" y="601"/>
                        <a:pt x="2830" y="601"/>
                      </a:cubicBezTo>
                      <a:lnTo>
                        <a:pt x="2838" y="601"/>
                      </a:lnTo>
                      <a:cubicBezTo>
                        <a:pt x="2846" y="601"/>
                        <a:pt x="2846" y="601"/>
                        <a:pt x="2853" y="601"/>
                      </a:cubicBezTo>
                      <a:cubicBezTo>
                        <a:pt x="2861" y="601"/>
                        <a:pt x="2869" y="601"/>
                        <a:pt x="2877" y="593"/>
                      </a:cubicBezTo>
                      <a:cubicBezTo>
                        <a:pt x="2885" y="593"/>
                        <a:pt x="2885" y="585"/>
                        <a:pt x="2893" y="577"/>
                      </a:cubicBezTo>
                      <a:cubicBezTo>
                        <a:pt x="2893" y="569"/>
                        <a:pt x="2893" y="561"/>
                        <a:pt x="2917" y="569"/>
                      </a:cubicBezTo>
                      <a:cubicBezTo>
                        <a:pt x="2924" y="569"/>
                        <a:pt x="2924" y="569"/>
                        <a:pt x="2924" y="577"/>
                      </a:cubicBezTo>
                      <a:cubicBezTo>
                        <a:pt x="2933" y="577"/>
                        <a:pt x="2933" y="577"/>
                        <a:pt x="2972" y="585"/>
                      </a:cubicBezTo>
                      <a:cubicBezTo>
                        <a:pt x="3004" y="593"/>
                        <a:pt x="3019" y="593"/>
                        <a:pt x="3027" y="593"/>
                      </a:cubicBezTo>
                      <a:cubicBezTo>
                        <a:pt x="3043" y="593"/>
                        <a:pt x="3051" y="601"/>
                        <a:pt x="3051" y="593"/>
                      </a:cubicBezTo>
                      <a:cubicBezTo>
                        <a:pt x="3067" y="593"/>
                        <a:pt x="3122" y="553"/>
                        <a:pt x="3130" y="490"/>
                      </a:cubicBezTo>
                      <a:cubicBezTo>
                        <a:pt x="3130" y="459"/>
                        <a:pt x="3130" y="443"/>
                        <a:pt x="3146" y="443"/>
                      </a:cubicBezTo>
                      <a:cubicBezTo>
                        <a:pt x="3146" y="443"/>
                        <a:pt x="3146" y="443"/>
                        <a:pt x="3154" y="451"/>
                      </a:cubicBezTo>
                      <a:lnTo>
                        <a:pt x="3162" y="451"/>
                      </a:lnTo>
                      <a:cubicBezTo>
                        <a:pt x="3170" y="451"/>
                        <a:pt x="3170" y="451"/>
                        <a:pt x="3170" y="451"/>
                      </a:cubicBezTo>
                      <a:cubicBezTo>
                        <a:pt x="3177" y="451"/>
                        <a:pt x="3186" y="451"/>
                        <a:pt x="3186" y="443"/>
                      </a:cubicBezTo>
                      <a:cubicBezTo>
                        <a:pt x="3193" y="443"/>
                        <a:pt x="3193" y="435"/>
                        <a:pt x="3186" y="427"/>
                      </a:cubicBezTo>
                      <a:cubicBezTo>
                        <a:pt x="3186" y="419"/>
                        <a:pt x="3186" y="403"/>
                        <a:pt x="3186" y="395"/>
                      </a:cubicBezTo>
                      <a:cubicBezTo>
                        <a:pt x="3177" y="372"/>
                        <a:pt x="3177" y="356"/>
                        <a:pt x="3177" y="332"/>
                      </a:cubicBezTo>
                      <a:cubicBezTo>
                        <a:pt x="3177" y="308"/>
                        <a:pt x="3154" y="301"/>
                        <a:pt x="3146" y="301"/>
                      </a:cubicBezTo>
                      <a:cubicBezTo>
                        <a:pt x="3146" y="292"/>
                        <a:pt x="3146" y="292"/>
                        <a:pt x="3138" y="292"/>
                      </a:cubicBezTo>
                      <a:lnTo>
                        <a:pt x="3130" y="292"/>
                      </a:lnTo>
                      <a:cubicBezTo>
                        <a:pt x="3122" y="292"/>
                        <a:pt x="3106" y="292"/>
                        <a:pt x="3106" y="308"/>
                      </a:cubicBezTo>
                      <a:cubicBezTo>
                        <a:pt x="3106" y="316"/>
                        <a:pt x="3098" y="324"/>
                        <a:pt x="3091" y="324"/>
                      </a:cubicBezTo>
                      <a:cubicBezTo>
                        <a:pt x="3091" y="324"/>
                        <a:pt x="3083" y="324"/>
                        <a:pt x="3083" y="332"/>
                      </a:cubicBezTo>
                      <a:cubicBezTo>
                        <a:pt x="3083" y="332"/>
                        <a:pt x="3083" y="332"/>
                        <a:pt x="3083" y="340"/>
                      </a:cubicBezTo>
                      <a:cubicBezTo>
                        <a:pt x="3098" y="364"/>
                        <a:pt x="3114" y="395"/>
                        <a:pt x="3091" y="419"/>
                      </a:cubicBezTo>
                      <a:cubicBezTo>
                        <a:pt x="3075" y="427"/>
                        <a:pt x="3067" y="435"/>
                        <a:pt x="3059" y="435"/>
                      </a:cubicBezTo>
                      <a:lnTo>
                        <a:pt x="3051" y="427"/>
                      </a:lnTo>
                      <a:cubicBezTo>
                        <a:pt x="3051" y="419"/>
                        <a:pt x="3051" y="411"/>
                        <a:pt x="3051" y="395"/>
                      </a:cubicBezTo>
                      <a:cubicBezTo>
                        <a:pt x="3051" y="372"/>
                        <a:pt x="3059" y="364"/>
                        <a:pt x="3067" y="348"/>
                      </a:cubicBezTo>
                      <a:cubicBezTo>
                        <a:pt x="3075" y="340"/>
                        <a:pt x="3075" y="332"/>
                        <a:pt x="3067" y="316"/>
                      </a:cubicBezTo>
                      <a:cubicBezTo>
                        <a:pt x="3059" y="308"/>
                        <a:pt x="3051" y="308"/>
                        <a:pt x="3051" y="301"/>
                      </a:cubicBezTo>
                      <a:cubicBezTo>
                        <a:pt x="3043" y="292"/>
                        <a:pt x="3035" y="285"/>
                        <a:pt x="3027" y="285"/>
                      </a:cubicBezTo>
                      <a:cubicBezTo>
                        <a:pt x="3027" y="285"/>
                        <a:pt x="3019" y="285"/>
                        <a:pt x="3019" y="292"/>
                      </a:cubicBezTo>
                      <a:cubicBezTo>
                        <a:pt x="3011" y="292"/>
                        <a:pt x="3004" y="301"/>
                        <a:pt x="2996" y="301"/>
                      </a:cubicBezTo>
                      <a:cubicBezTo>
                        <a:pt x="2980" y="308"/>
                        <a:pt x="2964" y="316"/>
                        <a:pt x="2964" y="332"/>
                      </a:cubicBezTo>
                      <a:cubicBezTo>
                        <a:pt x="2964" y="340"/>
                        <a:pt x="2956" y="340"/>
                        <a:pt x="2956" y="340"/>
                      </a:cubicBezTo>
                      <a:cubicBezTo>
                        <a:pt x="2948" y="340"/>
                        <a:pt x="2940" y="332"/>
                        <a:pt x="2924" y="324"/>
                      </a:cubicBezTo>
                      <a:cubicBezTo>
                        <a:pt x="2917" y="324"/>
                        <a:pt x="2909" y="316"/>
                        <a:pt x="2901" y="316"/>
                      </a:cubicBezTo>
                      <a:lnTo>
                        <a:pt x="2901" y="316"/>
                      </a:lnTo>
                      <a:cubicBezTo>
                        <a:pt x="2893" y="340"/>
                        <a:pt x="2869" y="364"/>
                        <a:pt x="2846" y="364"/>
                      </a:cubicBezTo>
                      <a:cubicBezTo>
                        <a:pt x="2838" y="364"/>
                        <a:pt x="2830" y="364"/>
                        <a:pt x="2822" y="356"/>
                      </a:cubicBezTo>
                      <a:cubicBezTo>
                        <a:pt x="2790" y="340"/>
                        <a:pt x="2766" y="316"/>
                        <a:pt x="2758" y="292"/>
                      </a:cubicBezTo>
                      <a:lnTo>
                        <a:pt x="2758" y="285"/>
                      </a:lnTo>
                      <a:lnTo>
                        <a:pt x="2758" y="285"/>
                      </a:lnTo>
                      <a:cubicBezTo>
                        <a:pt x="2766" y="285"/>
                        <a:pt x="2766" y="285"/>
                        <a:pt x="2766" y="285"/>
                      </a:cubicBezTo>
                      <a:lnTo>
                        <a:pt x="2766" y="285"/>
                      </a:lnTo>
                      <a:cubicBezTo>
                        <a:pt x="2774" y="292"/>
                        <a:pt x="2782" y="301"/>
                        <a:pt x="2798" y="301"/>
                      </a:cubicBezTo>
                      <a:cubicBezTo>
                        <a:pt x="2806" y="308"/>
                        <a:pt x="2814" y="308"/>
                        <a:pt x="2822" y="308"/>
                      </a:cubicBezTo>
                      <a:cubicBezTo>
                        <a:pt x="2830" y="316"/>
                        <a:pt x="2830" y="316"/>
                        <a:pt x="2846" y="308"/>
                      </a:cubicBezTo>
                      <a:cubicBezTo>
                        <a:pt x="2853" y="308"/>
                        <a:pt x="2861" y="308"/>
                        <a:pt x="2869" y="301"/>
                      </a:cubicBezTo>
                      <a:cubicBezTo>
                        <a:pt x="2885" y="301"/>
                        <a:pt x="2901" y="292"/>
                        <a:pt x="2909" y="277"/>
                      </a:cubicBezTo>
                      <a:cubicBezTo>
                        <a:pt x="2924" y="245"/>
                        <a:pt x="2940" y="237"/>
                        <a:pt x="2972" y="237"/>
                      </a:cubicBezTo>
                      <a:cubicBezTo>
                        <a:pt x="2996" y="229"/>
                        <a:pt x="3011" y="221"/>
                        <a:pt x="3019" y="214"/>
                      </a:cubicBezTo>
                      <a:cubicBezTo>
                        <a:pt x="3019" y="206"/>
                        <a:pt x="3011" y="206"/>
                        <a:pt x="3011" y="198"/>
                      </a:cubicBezTo>
                      <a:cubicBezTo>
                        <a:pt x="2996" y="190"/>
                        <a:pt x="2988" y="174"/>
                        <a:pt x="2988" y="166"/>
                      </a:cubicBezTo>
                      <a:cubicBezTo>
                        <a:pt x="2988" y="158"/>
                        <a:pt x="2996" y="158"/>
                        <a:pt x="3011" y="166"/>
                      </a:cubicBezTo>
                      <a:cubicBezTo>
                        <a:pt x="3019" y="166"/>
                        <a:pt x="3027" y="174"/>
                        <a:pt x="3027" y="174"/>
                      </a:cubicBezTo>
                      <a:cubicBezTo>
                        <a:pt x="3043" y="182"/>
                        <a:pt x="3059" y="190"/>
                        <a:pt x="3067" y="190"/>
                      </a:cubicBezTo>
                      <a:cubicBezTo>
                        <a:pt x="3075" y="190"/>
                        <a:pt x="3075" y="190"/>
                        <a:pt x="3075" y="190"/>
                      </a:cubicBezTo>
                      <a:cubicBezTo>
                        <a:pt x="3083" y="190"/>
                        <a:pt x="3091" y="190"/>
                        <a:pt x="3098" y="198"/>
                      </a:cubicBezTo>
                      <a:cubicBezTo>
                        <a:pt x="3098" y="198"/>
                        <a:pt x="3098" y="198"/>
                        <a:pt x="3106" y="198"/>
                      </a:cubicBezTo>
                      <a:cubicBezTo>
                        <a:pt x="3106" y="206"/>
                        <a:pt x="3114" y="206"/>
                        <a:pt x="3122" y="206"/>
                      </a:cubicBezTo>
                      <a:cubicBezTo>
                        <a:pt x="3122" y="206"/>
                        <a:pt x="3114" y="206"/>
                        <a:pt x="3114" y="198"/>
                      </a:cubicBezTo>
                      <a:cubicBezTo>
                        <a:pt x="3098" y="182"/>
                        <a:pt x="3091" y="166"/>
                        <a:pt x="3083" y="150"/>
                      </a:cubicBezTo>
                      <a:cubicBezTo>
                        <a:pt x="3075" y="134"/>
                        <a:pt x="3075" y="119"/>
                        <a:pt x="3067" y="111"/>
                      </a:cubicBezTo>
                      <a:cubicBezTo>
                        <a:pt x="3059" y="103"/>
                        <a:pt x="3051" y="103"/>
                        <a:pt x="3043" y="95"/>
                      </a:cubicBezTo>
                      <a:cubicBezTo>
                        <a:pt x="3027" y="87"/>
                        <a:pt x="3019" y="79"/>
                        <a:pt x="3011" y="63"/>
                      </a:cubicBezTo>
                      <a:cubicBezTo>
                        <a:pt x="3004" y="39"/>
                        <a:pt x="3004" y="24"/>
                        <a:pt x="3004" y="24"/>
                      </a:cubicBezTo>
                      <a:cubicBezTo>
                        <a:pt x="2719" y="87"/>
                        <a:pt x="1818" y="292"/>
                        <a:pt x="1011" y="403"/>
                      </a:cubicBezTo>
                      <a:cubicBezTo>
                        <a:pt x="1011" y="403"/>
                        <a:pt x="964" y="411"/>
                        <a:pt x="932" y="411"/>
                      </a:cubicBezTo>
                      <a:cubicBezTo>
                        <a:pt x="924" y="411"/>
                        <a:pt x="917" y="411"/>
                        <a:pt x="917" y="411"/>
                      </a:cubicBezTo>
                      <a:cubicBezTo>
                        <a:pt x="909" y="403"/>
                        <a:pt x="901" y="403"/>
                        <a:pt x="893" y="403"/>
                      </a:cubicBezTo>
                      <a:cubicBezTo>
                        <a:pt x="901" y="443"/>
                        <a:pt x="901" y="490"/>
                        <a:pt x="885" y="514"/>
                      </a:cubicBezTo>
                      <a:cubicBezTo>
                        <a:pt x="877" y="538"/>
                        <a:pt x="861" y="545"/>
                        <a:pt x="853" y="545"/>
                      </a:cubicBezTo>
                      <a:cubicBezTo>
                        <a:pt x="845" y="553"/>
                        <a:pt x="837" y="553"/>
                        <a:pt x="830" y="577"/>
                      </a:cubicBezTo>
                      <a:cubicBezTo>
                        <a:pt x="822" y="617"/>
                        <a:pt x="782" y="672"/>
                        <a:pt x="766" y="672"/>
                      </a:cubicBezTo>
                      <a:lnTo>
                        <a:pt x="758" y="672"/>
                      </a:lnTo>
                      <a:cubicBezTo>
                        <a:pt x="758" y="656"/>
                        <a:pt x="735" y="632"/>
                        <a:pt x="711" y="632"/>
                      </a:cubicBezTo>
                      <a:cubicBezTo>
                        <a:pt x="695" y="632"/>
                        <a:pt x="687" y="640"/>
                        <a:pt x="679" y="648"/>
                      </a:cubicBezTo>
                      <a:cubicBezTo>
                        <a:pt x="656" y="672"/>
                        <a:pt x="656" y="688"/>
                        <a:pt x="656" y="712"/>
                      </a:cubicBezTo>
                      <a:cubicBezTo>
                        <a:pt x="648" y="735"/>
                        <a:pt x="648" y="751"/>
                        <a:pt x="616" y="759"/>
                      </a:cubicBezTo>
                      <a:cubicBezTo>
                        <a:pt x="584" y="759"/>
                        <a:pt x="577" y="743"/>
                        <a:pt x="577" y="727"/>
                      </a:cubicBezTo>
                      <a:cubicBezTo>
                        <a:pt x="569" y="719"/>
                        <a:pt x="569" y="719"/>
                        <a:pt x="561" y="719"/>
                      </a:cubicBezTo>
                      <a:lnTo>
                        <a:pt x="553" y="719"/>
                      </a:lnTo>
                      <a:lnTo>
                        <a:pt x="553" y="727"/>
                      </a:lnTo>
                      <a:cubicBezTo>
                        <a:pt x="553" y="735"/>
                        <a:pt x="553" y="751"/>
                        <a:pt x="545" y="759"/>
                      </a:cubicBezTo>
                      <a:cubicBezTo>
                        <a:pt x="537" y="775"/>
                        <a:pt x="521" y="775"/>
                        <a:pt x="505" y="783"/>
                      </a:cubicBezTo>
                      <a:cubicBezTo>
                        <a:pt x="490" y="783"/>
                        <a:pt x="482" y="783"/>
                        <a:pt x="482" y="798"/>
                      </a:cubicBezTo>
                      <a:cubicBezTo>
                        <a:pt x="482" y="838"/>
                        <a:pt x="466" y="870"/>
                        <a:pt x="434" y="870"/>
                      </a:cubicBezTo>
                      <a:cubicBezTo>
                        <a:pt x="403" y="870"/>
                        <a:pt x="355" y="933"/>
                        <a:pt x="316" y="972"/>
                      </a:cubicBezTo>
                      <a:cubicBezTo>
                        <a:pt x="308" y="980"/>
                        <a:pt x="300" y="988"/>
                        <a:pt x="292" y="996"/>
                      </a:cubicBezTo>
                      <a:cubicBezTo>
                        <a:pt x="284" y="1004"/>
                        <a:pt x="276" y="1012"/>
                        <a:pt x="260" y="1012"/>
                      </a:cubicBezTo>
                      <a:cubicBezTo>
                        <a:pt x="260" y="1012"/>
                        <a:pt x="253" y="1004"/>
                        <a:pt x="245" y="1004"/>
                      </a:cubicBezTo>
                      <a:cubicBezTo>
                        <a:pt x="237" y="1004"/>
                        <a:pt x="229" y="1004"/>
                        <a:pt x="221" y="1004"/>
                      </a:cubicBezTo>
                      <a:cubicBezTo>
                        <a:pt x="205" y="1004"/>
                        <a:pt x="189" y="1012"/>
                        <a:pt x="173" y="1020"/>
                      </a:cubicBezTo>
                      <a:cubicBezTo>
                        <a:pt x="142" y="1043"/>
                        <a:pt x="126" y="1051"/>
                        <a:pt x="110" y="1051"/>
                      </a:cubicBezTo>
                      <a:cubicBezTo>
                        <a:pt x="94" y="1051"/>
                        <a:pt x="94" y="1051"/>
                        <a:pt x="94" y="1067"/>
                      </a:cubicBezTo>
                      <a:cubicBezTo>
                        <a:pt x="102" y="1075"/>
                        <a:pt x="102" y="1083"/>
                        <a:pt x="102" y="1083"/>
                      </a:cubicBezTo>
                      <a:cubicBezTo>
                        <a:pt x="110" y="1115"/>
                        <a:pt x="110" y="1138"/>
                        <a:pt x="94" y="1154"/>
                      </a:cubicBezTo>
                      <a:cubicBezTo>
                        <a:pt x="87" y="1162"/>
                        <a:pt x="63" y="1170"/>
                        <a:pt x="47" y="1170"/>
                      </a:cubicBezTo>
                      <a:cubicBezTo>
                        <a:pt x="23" y="1170"/>
                        <a:pt x="7" y="1178"/>
                        <a:pt x="7" y="1186"/>
                      </a:cubicBezTo>
                      <a:cubicBezTo>
                        <a:pt x="7" y="1194"/>
                        <a:pt x="7" y="1209"/>
                        <a:pt x="7" y="1233"/>
                      </a:cubicBezTo>
                      <a:cubicBezTo>
                        <a:pt x="7" y="1249"/>
                        <a:pt x="7" y="1273"/>
                        <a:pt x="7" y="1289"/>
                      </a:cubicBezTo>
                      <a:cubicBezTo>
                        <a:pt x="126" y="1273"/>
                        <a:pt x="126" y="1273"/>
                        <a:pt x="126" y="1273"/>
                      </a:cubicBezTo>
                      <a:cubicBezTo>
                        <a:pt x="308" y="1257"/>
                        <a:pt x="426" y="1241"/>
                        <a:pt x="450" y="1241"/>
                      </a:cubicBezTo>
                      <a:cubicBezTo>
                        <a:pt x="505" y="1241"/>
                        <a:pt x="529" y="1225"/>
                        <a:pt x="553" y="1202"/>
                      </a:cubicBezTo>
                      <a:cubicBezTo>
                        <a:pt x="561" y="1194"/>
                        <a:pt x="569" y="1186"/>
                        <a:pt x="584" y="1178"/>
                      </a:cubicBezTo>
                      <a:cubicBezTo>
                        <a:pt x="632" y="1154"/>
                        <a:pt x="774" y="1083"/>
                        <a:pt x="814" y="1075"/>
                      </a:cubicBezTo>
                      <a:cubicBezTo>
                        <a:pt x="837" y="1067"/>
                        <a:pt x="1130" y="1028"/>
                        <a:pt x="1209" y="1028"/>
                      </a:cubicBezTo>
                      <a:cubicBezTo>
                        <a:pt x="1225" y="1028"/>
                        <a:pt x="1233" y="1028"/>
                        <a:pt x="1233" y="1036"/>
                      </a:cubicBezTo>
                      <a:cubicBezTo>
                        <a:pt x="1233" y="1043"/>
                        <a:pt x="1233" y="1043"/>
                        <a:pt x="1233" y="1051"/>
                      </a:cubicBezTo>
                      <a:lnTo>
                        <a:pt x="1233" y="1059"/>
                      </a:lnTo>
                      <a:cubicBezTo>
                        <a:pt x="1233" y="1059"/>
                        <a:pt x="1241" y="1059"/>
                        <a:pt x="1257" y="1067"/>
                      </a:cubicBezTo>
                      <a:cubicBezTo>
                        <a:pt x="1264" y="1067"/>
                        <a:pt x="1272" y="1067"/>
                        <a:pt x="1280" y="1067"/>
                      </a:cubicBezTo>
                      <a:cubicBezTo>
                        <a:pt x="1288" y="1067"/>
                        <a:pt x="1288" y="1067"/>
                        <a:pt x="1296" y="1067"/>
                      </a:cubicBezTo>
                      <a:cubicBezTo>
                        <a:pt x="1312" y="1067"/>
                        <a:pt x="1320" y="1067"/>
                        <a:pt x="1328" y="1075"/>
                      </a:cubicBezTo>
                      <a:cubicBezTo>
                        <a:pt x="1343" y="1091"/>
                        <a:pt x="1367" y="1154"/>
                        <a:pt x="1367" y="1170"/>
                      </a:cubicBezTo>
                      <a:lnTo>
                        <a:pt x="1810" y="1099"/>
                      </a:lnTo>
                      <a:close/>
                      <a:moveTo>
                        <a:pt x="3083" y="340"/>
                      </a:moveTo>
                      <a:lnTo>
                        <a:pt x="3083" y="340"/>
                      </a:lnTo>
                      <a:cubicBezTo>
                        <a:pt x="3075" y="348"/>
                        <a:pt x="3075" y="348"/>
                        <a:pt x="3075" y="356"/>
                      </a:cubicBezTo>
                      <a:cubicBezTo>
                        <a:pt x="3067" y="364"/>
                        <a:pt x="3059" y="372"/>
                        <a:pt x="3059" y="395"/>
                      </a:cubicBezTo>
                      <a:cubicBezTo>
                        <a:pt x="3051" y="411"/>
                        <a:pt x="3059" y="419"/>
                        <a:pt x="3059" y="427"/>
                      </a:cubicBezTo>
                      <a:lnTo>
                        <a:pt x="3059" y="427"/>
                      </a:lnTo>
                      <a:cubicBezTo>
                        <a:pt x="3067" y="427"/>
                        <a:pt x="3083" y="411"/>
                        <a:pt x="3083" y="411"/>
                      </a:cubicBezTo>
                      <a:cubicBezTo>
                        <a:pt x="3106" y="395"/>
                        <a:pt x="3091" y="364"/>
                        <a:pt x="3083" y="340"/>
                      </a:cubicBezTo>
                      <a:close/>
                      <a:moveTo>
                        <a:pt x="3027" y="16"/>
                      </a:moveTo>
                      <a:lnTo>
                        <a:pt x="3027" y="16"/>
                      </a:lnTo>
                      <a:lnTo>
                        <a:pt x="3027" y="16"/>
                      </a:lnTo>
                      <a:cubicBezTo>
                        <a:pt x="3035" y="24"/>
                        <a:pt x="3035" y="24"/>
                        <a:pt x="3043" y="24"/>
                      </a:cubicBezTo>
                      <a:cubicBezTo>
                        <a:pt x="3059" y="32"/>
                        <a:pt x="3067" y="39"/>
                        <a:pt x="3075" y="71"/>
                      </a:cubicBezTo>
                      <a:cubicBezTo>
                        <a:pt x="3083" y="95"/>
                        <a:pt x="3098" y="111"/>
                        <a:pt x="3106" y="119"/>
                      </a:cubicBezTo>
                      <a:cubicBezTo>
                        <a:pt x="3114" y="126"/>
                        <a:pt x="3122" y="134"/>
                        <a:pt x="3122" y="142"/>
                      </a:cubicBezTo>
                      <a:cubicBezTo>
                        <a:pt x="3138" y="166"/>
                        <a:pt x="3146" y="182"/>
                        <a:pt x="3170" y="221"/>
                      </a:cubicBezTo>
                      <a:cubicBezTo>
                        <a:pt x="3193" y="261"/>
                        <a:pt x="3209" y="292"/>
                        <a:pt x="3225" y="308"/>
                      </a:cubicBezTo>
                      <a:cubicBezTo>
                        <a:pt x="3233" y="316"/>
                        <a:pt x="3249" y="316"/>
                        <a:pt x="3249" y="324"/>
                      </a:cubicBezTo>
                      <a:cubicBezTo>
                        <a:pt x="3249" y="316"/>
                        <a:pt x="3249" y="316"/>
                        <a:pt x="3249" y="316"/>
                      </a:cubicBezTo>
                      <a:cubicBezTo>
                        <a:pt x="3225" y="285"/>
                        <a:pt x="3209" y="269"/>
                        <a:pt x="3186" y="237"/>
                      </a:cubicBezTo>
                      <a:cubicBezTo>
                        <a:pt x="3177" y="221"/>
                        <a:pt x="3170" y="206"/>
                        <a:pt x="3162" y="182"/>
                      </a:cubicBezTo>
                      <a:cubicBezTo>
                        <a:pt x="3146" y="158"/>
                        <a:pt x="3130" y="134"/>
                        <a:pt x="3122" y="126"/>
                      </a:cubicBezTo>
                      <a:cubicBezTo>
                        <a:pt x="3114" y="111"/>
                        <a:pt x="3106" y="103"/>
                        <a:pt x="3098" y="87"/>
                      </a:cubicBezTo>
                      <a:cubicBezTo>
                        <a:pt x="3098" y="71"/>
                        <a:pt x="3091" y="48"/>
                        <a:pt x="3075" y="32"/>
                      </a:cubicBezTo>
                      <a:cubicBezTo>
                        <a:pt x="3067" y="16"/>
                        <a:pt x="3067" y="16"/>
                        <a:pt x="3059" y="8"/>
                      </a:cubicBezTo>
                      <a:cubicBezTo>
                        <a:pt x="3051" y="8"/>
                        <a:pt x="3043" y="16"/>
                        <a:pt x="3027" y="1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3" name="Freeform 639">
                  <a:extLst>
                    <a:ext uri="{FF2B5EF4-FFF2-40B4-BE49-F238E27FC236}">
                      <a16:creationId xmlns:a16="http://schemas.microsoft.com/office/drawing/2014/main" id="{CE7EC3C8-FEE7-5142-ABB7-12C7327396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39000" y="4343060"/>
                  <a:ext cx="786244" cy="1043688"/>
                </a:xfrm>
                <a:custGeom>
                  <a:avLst/>
                  <a:gdLst>
                    <a:gd name="T0" fmla="*/ 751 w 1495"/>
                    <a:gd name="T1" fmla="*/ 1929 h 1985"/>
                    <a:gd name="T2" fmla="*/ 1218 w 1495"/>
                    <a:gd name="T3" fmla="*/ 1826 h 1985"/>
                    <a:gd name="T4" fmla="*/ 1321 w 1495"/>
                    <a:gd name="T5" fmla="*/ 1684 h 1985"/>
                    <a:gd name="T6" fmla="*/ 1376 w 1495"/>
                    <a:gd name="T7" fmla="*/ 1510 h 1985"/>
                    <a:gd name="T8" fmla="*/ 1360 w 1495"/>
                    <a:gd name="T9" fmla="*/ 1423 h 1985"/>
                    <a:gd name="T10" fmla="*/ 1486 w 1495"/>
                    <a:gd name="T11" fmla="*/ 1399 h 1985"/>
                    <a:gd name="T12" fmla="*/ 1494 w 1495"/>
                    <a:gd name="T13" fmla="*/ 1194 h 1985"/>
                    <a:gd name="T14" fmla="*/ 1455 w 1495"/>
                    <a:gd name="T15" fmla="*/ 1115 h 1985"/>
                    <a:gd name="T16" fmla="*/ 1344 w 1495"/>
                    <a:gd name="T17" fmla="*/ 807 h 1985"/>
                    <a:gd name="T18" fmla="*/ 1123 w 1495"/>
                    <a:gd name="T19" fmla="*/ 807 h 1985"/>
                    <a:gd name="T20" fmla="*/ 1099 w 1495"/>
                    <a:gd name="T21" fmla="*/ 854 h 1985"/>
                    <a:gd name="T22" fmla="*/ 1020 w 1495"/>
                    <a:gd name="T23" fmla="*/ 965 h 1985"/>
                    <a:gd name="T24" fmla="*/ 933 w 1495"/>
                    <a:gd name="T25" fmla="*/ 822 h 1985"/>
                    <a:gd name="T26" fmla="*/ 1020 w 1495"/>
                    <a:gd name="T27" fmla="*/ 704 h 1985"/>
                    <a:gd name="T28" fmla="*/ 1083 w 1495"/>
                    <a:gd name="T29" fmla="*/ 609 h 1985"/>
                    <a:gd name="T30" fmla="*/ 1075 w 1495"/>
                    <a:gd name="T31" fmla="*/ 435 h 1985"/>
                    <a:gd name="T32" fmla="*/ 1004 w 1495"/>
                    <a:gd name="T33" fmla="*/ 293 h 1985"/>
                    <a:gd name="T34" fmla="*/ 996 w 1495"/>
                    <a:gd name="T35" fmla="*/ 214 h 1985"/>
                    <a:gd name="T36" fmla="*/ 767 w 1495"/>
                    <a:gd name="T37" fmla="*/ 103 h 1985"/>
                    <a:gd name="T38" fmla="*/ 649 w 1495"/>
                    <a:gd name="T39" fmla="*/ 56 h 1985"/>
                    <a:gd name="T40" fmla="*/ 506 w 1495"/>
                    <a:gd name="T41" fmla="*/ 16 h 1985"/>
                    <a:gd name="T42" fmla="*/ 419 w 1495"/>
                    <a:gd name="T43" fmla="*/ 143 h 1985"/>
                    <a:gd name="T44" fmla="*/ 427 w 1495"/>
                    <a:gd name="T45" fmla="*/ 214 h 1985"/>
                    <a:gd name="T46" fmla="*/ 340 w 1495"/>
                    <a:gd name="T47" fmla="*/ 277 h 1985"/>
                    <a:gd name="T48" fmla="*/ 332 w 1495"/>
                    <a:gd name="T49" fmla="*/ 482 h 1985"/>
                    <a:gd name="T50" fmla="*/ 309 w 1495"/>
                    <a:gd name="T51" fmla="*/ 451 h 1985"/>
                    <a:gd name="T52" fmla="*/ 285 w 1495"/>
                    <a:gd name="T53" fmla="*/ 403 h 1985"/>
                    <a:gd name="T54" fmla="*/ 261 w 1495"/>
                    <a:gd name="T55" fmla="*/ 324 h 1985"/>
                    <a:gd name="T56" fmla="*/ 190 w 1495"/>
                    <a:gd name="T57" fmla="*/ 451 h 1985"/>
                    <a:gd name="T58" fmla="*/ 119 w 1495"/>
                    <a:gd name="T59" fmla="*/ 538 h 1985"/>
                    <a:gd name="T60" fmla="*/ 103 w 1495"/>
                    <a:gd name="T61" fmla="*/ 648 h 1985"/>
                    <a:gd name="T62" fmla="*/ 48 w 1495"/>
                    <a:gd name="T63" fmla="*/ 838 h 1985"/>
                    <a:gd name="T64" fmla="*/ 56 w 1495"/>
                    <a:gd name="T65" fmla="*/ 973 h 1985"/>
                    <a:gd name="T66" fmla="*/ 63 w 1495"/>
                    <a:gd name="T67" fmla="*/ 1154 h 1985"/>
                    <a:gd name="T68" fmla="*/ 182 w 1495"/>
                    <a:gd name="T69" fmla="*/ 1660 h 1985"/>
                    <a:gd name="T70" fmla="*/ 48 w 1495"/>
                    <a:gd name="T71" fmla="*/ 1977 h 1985"/>
                    <a:gd name="T72" fmla="*/ 712 w 1495"/>
                    <a:gd name="T73" fmla="*/ 1905 h 19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95" h="1985">
                      <a:moveTo>
                        <a:pt x="751" y="1929"/>
                      </a:moveTo>
                      <a:lnTo>
                        <a:pt x="751" y="1929"/>
                      </a:lnTo>
                      <a:cubicBezTo>
                        <a:pt x="767" y="1953"/>
                        <a:pt x="1083" y="1874"/>
                        <a:pt x="1210" y="1834"/>
                      </a:cubicBezTo>
                      <a:cubicBezTo>
                        <a:pt x="1210" y="1834"/>
                        <a:pt x="1210" y="1826"/>
                        <a:pt x="1218" y="1826"/>
                      </a:cubicBezTo>
                      <a:cubicBezTo>
                        <a:pt x="1241" y="1787"/>
                        <a:pt x="1249" y="1747"/>
                        <a:pt x="1273" y="1739"/>
                      </a:cubicBezTo>
                      <a:cubicBezTo>
                        <a:pt x="1289" y="1724"/>
                        <a:pt x="1297" y="1692"/>
                        <a:pt x="1321" y="1684"/>
                      </a:cubicBezTo>
                      <a:cubicBezTo>
                        <a:pt x="1313" y="1660"/>
                        <a:pt x="1305" y="1629"/>
                        <a:pt x="1297" y="1613"/>
                      </a:cubicBezTo>
                      <a:cubicBezTo>
                        <a:pt x="1289" y="1597"/>
                        <a:pt x="1328" y="1557"/>
                        <a:pt x="1376" y="1510"/>
                      </a:cubicBezTo>
                      <a:cubicBezTo>
                        <a:pt x="1376" y="1510"/>
                        <a:pt x="1376" y="1502"/>
                        <a:pt x="1368" y="1486"/>
                      </a:cubicBezTo>
                      <a:cubicBezTo>
                        <a:pt x="1360" y="1455"/>
                        <a:pt x="1344" y="1455"/>
                        <a:pt x="1360" y="1423"/>
                      </a:cubicBezTo>
                      <a:cubicBezTo>
                        <a:pt x="1376" y="1399"/>
                        <a:pt x="1360" y="1368"/>
                        <a:pt x="1399" y="1376"/>
                      </a:cubicBezTo>
                      <a:cubicBezTo>
                        <a:pt x="1439" y="1384"/>
                        <a:pt x="1479" y="1391"/>
                        <a:pt x="1486" y="1399"/>
                      </a:cubicBezTo>
                      <a:cubicBezTo>
                        <a:pt x="1486" y="1391"/>
                        <a:pt x="1479" y="1384"/>
                        <a:pt x="1479" y="1384"/>
                      </a:cubicBezTo>
                      <a:cubicBezTo>
                        <a:pt x="1479" y="1344"/>
                        <a:pt x="1486" y="1273"/>
                        <a:pt x="1494" y="1194"/>
                      </a:cubicBezTo>
                      <a:cubicBezTo>
                        <a:pt x="1494" y="1202"/>
                        <a:pt x="1494" y="1202"/>
                        <a:pt x="1486" y="1178"/>
                      </a:cubicBezTo>
                      <a:cubicBezTo>
                        <a:pt x="1479" y="1146"/>
                        <a:pt x="1471" y="1162"/>
                        <a:pt x="1455" y="1115"/>
                      </a:cubicBezTo>
                      <a:cubicBezTo>
                        <a:pt x="1439" y="1067"/>
                        <a:pt x="1408" y="980"/>
                        <a:pt x="1392" y="941"/>
                      </a:cubicBezTo>
                      <a:cubicBezTo>
                        <a:pt x="1376" y="909"/>
                        <a:pt x="1352" y="846"/>
                        <a:pt x="1344" y="807"/>
                      </a:cubicBezTo>
                      <a:cubicBezTo>
                        <a:pt x="1336" y="775"/>
                        <a:pt x="1265" y="735"/>
                        <a:pt x="1234" y="735"/>
                      </a:cubicBezTo>
                      <a:cubicBezTo>
                        <a:pt x="1202" y="743"/>
                        <a:pt x="1139" y="783"/>
                        <a:pt x="1123" y="807"/>
                      </a:cubicBezTo>
                      <a:cubicBezTo>
                        <a:pt x="1123" y="807"/>
                        <a:pt x="1115" y="822"/>
                        <a:pt x="1107" y="814"/>
                      </a:cubicBezTo>
                      <a:cubicBezTo>
                        <a:pt x="1099" y="807"/>
                        <a:pt x="1099" y="830"/>
                        <a:pt x="1099" y="854"/>
                      </a:cubicBezTo>
                      <a:cubicBezTo>
                        <a:pt x="1099" y="878"/>
                        <a:pt x="1083" y="885"/>
                        <a:pt x="1068" y="909"/>
                      </a:cubicBezTo>
                      <a:cubicBezTo>
                        <a:pt x="1052" y="933"/>
                        <a:pt x="1028" y="957"/>
                        <a:pt x="1020" y="965"/>
                      </a:cubicBezTo>
                      <a:cubicBezTo>
                        <a:pt x="1020" y="980"/>
                        <a:pt x="965" y="980"/>
                        <a:pt x="941" y="949"/>
                      </a:cubicBezTo>
                      <a:cubicBezTo>
                        <a:pt x="909" y="917"/>
                        <a:pt x="909" y="846"/>
                        <a:pt x="933" y="822"/>
                      </a:cubicBezTo>
                      <a:cubicBezTo>
                        <a:pt x="957" y="807"/>
                        <a:pt x="981" y="830"/>
                        <a:pt x="996" y="791"/>
                      </a:cubicBezTo>
                      <a:cubicBezTo>
                        <a:pt x="1012" y="751"/>
                        <a:pt x="1020" y="727"/>
                        <a:pt x="1020" y="704"/>
                      </a:cubicBezTo>
                      <a:cubicBezTo>
                        <a:pt x="1020" y="688"/>
                        <a:pt x="1020" y="656"/>
                        <a:pt x="1044" y="648"/>
                      </a:cubicBezTo>
                      <a:cubicBezTo>
                        <a:pt x="1068" y="640"/>
                        <a:pt x="1075" y="648"/>
                        <a:pt x="1083" y="609"/>
                      </a:cubicBezTo>
                      <a:cubicBezTo>
                        <a:pt x="1091" y="577"/>
                        <a:pt x="1091" y="554"/>
                        <a:pt x="1075" y="522"/>
                      </a:cubicBezTo>
                      <a:cubicBezTo>
                        <a:pt x="1060" y="490"/>
                        <a:pt x="1075" y="474"/>
                        <a:pt x="1075" y="435"/>
                      </a:cubicBezTo>
                      <a:cubicBezTo>
                        <a:pt x="1075" y="403"/>
                        <a:pt x="1044" y="356"/>
                        <a:pt x="1028" y="340"/>
                      </a:cubicBezTo>
                      <a:cubicBezTo>
                        <a:pt x="1012" y="332"/>
                        <a:pt x="988" y="308"/>
                        <a:pt x="1004" y="293"/>
                      </a:cubicBezTo>
                      <a:cubicBezTo>
                        <a:pt x="1028" y="277"/>
                        <a:pt x="1052" y="253"/>
                        <a:pt x="1036" y="237"/>
                      </a:cubicBezTo>
                      <a:cubicBezTo>
                        <a:pt x="1028" y="229"/>
                        <a:pt x="1004" y="229"/>
                        <a:pt x="996" y="214"/>
                      </a:cubicBezTo>
                      <a:cubicBezTo>
                        <a:pt x="988" y="190"/>
                        <a:pt x="981" y="166"/>
                        <a:pt x="949" y="158"/>
                      </a:cubicBezTo>
                      <a:cubicBezTo>
                        <a:pt x="917" y="150"/>
                        <a:pt x="783" y="103"/>
                        <a:pt x="767" y="103"/>
                      </a:cubicBezTo>
                      <a:cubicBezTo>
                        <a:pt x="751" y="103"/>
                        <a:pt x="743" y="111"/>
                        <a:pt x="735" y="79"/>
                      </a:cubicBezTo>
                      <a:cubicBezTo>
                        <a:pt x="720" y="56"/>
                        <a:pt x="672" y="47"/>
                        <a:pt x="649" y="56"/>
                      </a:cubicBezTo>
                      <a:cubicBezTo>
                        <a:pt x="625" y="56"/>
                        <a:pt x="601" y="47"/>
                        <a:pt x="593" y="32"/>
                      </a:cubicBezTo>
                      <a:cubicBezTo>
                        <a:pt x="577" y="24"/>
                        <a:pt x="530" y="0"/>
                        <a:pt x="506" y="16"/>
                      </a:cubicBezTo>
                      <a:cubicBezTo>
                        <a:pt x="475" y="32"/>
                        <a:pt x="459" y="71"/>
                        <a:pt x="443" y="79"/>
                      </a:cubicBezTo>
                      <a:cubicBezTo>
                        <a:pt x="435" y="87"/>
                        <a:pt x="403" y="111"/>
                        <a:pt x="419" y="143"/>
                      </a:cubicBezTo>
                      <a:cubicBezTo>
                        <a:pt x="435" y="174"/>
                        <a:pt x="459" y="166"/>
                        <a:pt x="459" y="190"/>
                      </a:cubicBezTo>
                      <a:cubicBezTo>
                        <a:pt x="459" y="206"/>
                        <a:pt x="459" y="214"/>
                        <a:pt x="427" y="214"/>
                      </a:cubicBezTo>
                      <a:cubicBezTo>
                        <a:pt x="403" y="214"/>
                        <a:pt x="380" y="221"/>
                        <a:pt x="372" y="237"/>
                      </a:cubicBezTo>
                      <a:cubicBezTo>
                        <a:pt x="356" y="253"/>
                        <a:pt x="348" y="229"/>
                        <a:pt x="340" y="277"/>
                      </a:cubicBezTo>
                      <a:cubicBezTo>
                        <a:pt x="340" y="316"/>
                        <a:pt x="348" y="364"/>
                        <a:pt x="348" y="403"/>
                      </a:cubicBezTo>
                      <a:cubicBezTo>
                        <a:pt x="356" y="435"/>
                        <a:pt x="348" y="490"/>
                        <a:pt x="332" y="482"/>
                      </a:cubicBezTo>
                      <a:cubicBezTo>
                        <a:pt x="316" y="467"/>
                        <a:pt x="324" y="419"/>
                        <a:pt x="316" y="411"/>
                      </a:cubicBezTo>
                      <a:cubicBezTo>
                        <a:pt x="301" y="411"/>
                        <a:pt x="309" y="435"/>
                        <a:pt x="309" y="451"/>
                      </a:cubicBezTo>
                      <a:cubicBezTo>
                        <a:pt x="309" y="467"/>
                        <a:pt x="316" y="514"/>
                        <a:pt x="301" y="482"/>
                      </a:cubicBezTo>
                      <a:cubicBezTo>
                        <a:pt x="285" y="458"/>
                        <a:pt x="285" y="435"/>
                        <a:pt x="285" y="403"/>
                      </a:cubicBezTo>
                      <a:cubicBezTo>
                        <a:pt x="293" y="372"/>
                        <a:pt x="293" y="324"/>
                        <a:pt x="285" y="316"/>
                      </a:cubicBezTo>
                      <a:cubicBezTo>
                        <a:pt x="277" y="308"/>
                        <a:pt x="261" y="308"/>
                        <a:pt x="261" y="324"/>
                      </a:cubicBezTo>
                      <a:cubicBezTo>
                        <a:pt x="261" y="340"/>
                        <a:pt x="238" y="387"/>
                        <a:pt x="222" y="403"/>
                      </a:cubicBezTo>
                      <a:cubicBezTo>
                        <a:pt x="206" y="419"/>
                        <a:pt x="238" y="458"/>
                        <a:pt x="190" y="451"/>
                      </a:cubicBezTo>
                      <a:cubicBezTo>
                        <a:pt x="151" y="435"/>
                        <a:pt x="158" y="435"/>
                        <a:pt x="151" y="467"/>
                      </a:cubicBezTo>
                      <a:cubicBezTo>
                        <a:pt x="143" y="498"/>
                        <a:pt x="135" y="538"/>
                        <a:pt x="119" y="538"/>
                      </a:cubicBezTo>
                      <a:cubicBezTo>
                        <a:pt x="111" y="538"/>
                        <a:pt x="71" y="554"/>
                        <a:pt x="79" y="585"/>
                      </a:cubicBezTo>
                      <a:cubicBezTo>
                        <a:pt x="95" y="609"/>
                        <a:pt x="111" y="625"/>
                        <a:pt x="103" y="648"/>
                      </a:cubicBezTo>
                      <a:cubicBezTo>
                        <a:pt x="95" y="664"/>
                        <a:pt x="119" y="743"/>
                        <a:pt x="103" y="767"/>
                      </a:cubicBezTo>
                      <a:cubicBezTo>
                        <a:pt x="87" y="783"/>
                        <a:pt x="63" y="822"/>
                        <a:pt x="48" y="838"/>
                      </a:cubicBezTo>
                      <a:cubicBezTo>
                        <a:pt x="32" y="862"/>
                        <a:pt x="0" y="885"/>
                        <a:pt x="24" y="901"/>
                      </a:cubicBezTo>
                      <a:cubicBezTo>
                        <a:pt x="48" y="925"/>
                        <a:pt x="63" y="941"/>
                        <a:pt x="56" y="973"/>
                      </a:cubicBezTo>
                      <a:cubicBezTo>
                        <a:pt x="56" y="1004"/>
                        <a:pt x="71" y="1036"/>
                        <a:pt x="56" y="1051"/>
                      </a:cubicBezTo>
                      <a:cubicBezTo>
                        <a:pt x="40" y="1067"/>
                        <a:pt x="48" y="1131"/>
                        <a:pt x="63" y="1154"/>
                      </a:cubicBezTo>
                      <a:cubicBezTo>
                        <a:pt x="79" y="1170"/>
                        <a:pt x="95" y="1194"/>
                        <a:pt x="119" y="1233"/>
                      </a:cubicBezTo>
                      <a:cubicBezTo>
                        <a:pt x="143" y="1273"/>
                        <a:pt x="238" y="1510"/>
                        <a:pt x="182" y="1660"/>
                      </a:cubicBezTo>
                      <a:cubicBezTo>
                        <a:pt x="127" y="1803"/>
                        <a:pt x="135" y="1834"/>
                        <a:pt x="127" y="1858"/>
                      </a:cubicBezTo>
                      <a:cubicBezTo>
                        <a:pt x="119" y="1874"/>
                        <a:pt x="79" y="1945"/>
                        <a:pt x="48" y="1977"/>
                      </a:cubicBezTo>
                      <a:lnTo>
                        <a:pt x="40" y="1984"/>
                      </a:lnTo>
                      <a:cubicBezTo>
                        <a:pt x="712" y="1905"/>
                        <a:pt x="712" y="1905"/>
                        <a:pt x="712" y="1905"/>
                      </a:cubicBezTo>
                      <a:cubicBezTo>
                        <a:pt x="712" y="1905"/>
                        <a:pt x="728" y="1897"/>
                        <a:pt x="751" y="19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4" name="Freeform 640">
                  <a:extLst>
                    <a:ext uri="{FF2B5EF4-FFF2-40B4-BE49-F238E27FC236}">
                      <a16:creationId xmlns:a16="http://schemas.microsoft.com/office/drawing/2014/main" id="{57E68AA9-9AE4-B946-8BA2-035461484D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39000" y="4347698"/>
                  <a:ext cx="786244" cy="1039049"/>
                </a:xfrm>
                <a:custGeom>
                  <a:avLst/>
                  <a:gdLst>
                    <a:gd name="T0" fmla="*/ 119 w 1495"/>
                    <a:gd name="T1" fmla="*/ 1858 h 1977"/>
                    <a:gd name="T2" fmla="*/ 71 w 1495"/>
                    <a:gd name="T3" fmla="*/ 1162 h 1977"/>
                    <a:gd name="T4" fmla="*/ 24 w 1495"/>
                    <a:gd name="T5" fmla="*/ 901 h 1977"/>
                    <a:gd name="T6" fmla="*/ 103 w 1495"/>
                    <a:gd name="T7" fmla="*/ 751 h 1977"/>
                    <a:gd name="T8" fmla="*/ 79 w 1495"/>
                    <a:gd name="T9" fmla="*/ 553 h 1977"/>
                    <a:gd name="T10" fmla="*/ 158 w 1495"/>
                    <a:gd name="T11" fmla="*/ 427 h 1977"/>
                    <a:gd name="T12" fmla="*/ 222 w 1495"/>
                    <a:gd name="T13" fmla="*/ 395 h 1977"/>
                    <a:gd name="T14" fmla="*/ 301 w 1495"/>
                    <a:gd name="T15" fmla="*/ 474 h 1977"/>
                    <a:gd name="T16" fmla="*/ 309 w 1495"/>
                    <a:gd name="T17" fmla="*/ 403 h 1977"/>
                    <a:gd name="T18" fmla="*/ 340 w 1495"/>
                    <a:gd name="T19" fmla="*/ 466 h 1977"/>
                    <a:gd name="T20" fmla="*/ 364 w 1495"/>
                    <a:gd name="T21" fmla="*/ 221 h 1977"/>
                    <a:gd name="T22" fmla="*/ 411 w 1495"/>
                    <a:gd name="T23" fmla="*/ 135 h 1977"/>
                    <a:gd name="T24" fmla="*/ 530 w 1495"/>
                    <a:gd name="T25" fmla="*/ 0 h 1977"/>
                    <a:gd name="T26" fmla="*/ 735 w 1495"/>
                    <a:gd name="T27" fmla="*/ 71 h 1977"/>
                    <a:gd name="T28" fmla="*/ 878 w 1495"/>
                    <a:gd name="T29" fmla="*/ 119 h 1977"/>
                    <a:gd name="T30" fmla="*/ 1044 w 1495"/>
                    <a:gd name="T31" fmla="*/ 237 h 1977"/>
                    <a:gd name="T32" fmla="*/ 1075 w 1495"/>
                    <a:gd name="T33" fmla="*/ 427 h 1977"/>
                    <a:gd name="T34" fmla="*/ 1044 w 1495"/>
                    <a:gd name="T35" fmla="*/ 648 h 1977"/>
                    <a:gd name="T36" fmla="*/ 917 w 1495"/>
                    <a:gd name="T37" fmla="*/ 854 h 1977"/>
                    <a:gd name="T38" fmla="*/ 1068 w 1495"/>
                    <a:gd name="T39" fmla="*/ 901 h 1977"/>
                    <a:gd name="T40" fmla="*/ 1123 w 1495"/>
                    <a:gd name="T41" fmla="*/ 799 h 1977"/>
                    <a:gd name="T42" fmla="*/ 1455 w 1495"/>
                    <a:gd name="T43" fmla="*/ 1107 h 1977"/>
                    <a:gd name="T44" fmla="*/ 1494 w 1495"/>
                    <a:gd name="T45" fmla="*/ 1186 h 1977"/>
                    <a:gd name="T46" fmla="*/ 1423 w 1495"/>
                    <a:gd name="T47" fmla="*/ 1376 h 1977"/>
                    <a:gd name="T48" fmla="*/ 1368 w 1495"/>
                    <a:gd name="T49" fmla="*/ 1455 h 1977"/>
                    <a:gd name="T50" fmla="*/ 1305 w 1495"/>
                    <a:gd name="T51" fmla="*/ 1605 h 1977"/>
                    <a:gd name="T52" fmla="*/ 1297 w 1495"/>
                    <a:gd name="T53" fmla="*/ 1707 h 1977"/>
                    <a:gd name="T54" fmla="*/ 1210 w 1495"/>
                    <a:gd name="T55" fmla="*/ 1834 h 1977"/>
                    <a:gd name="T56" fmla="*/ 24 w 1495"/>
                    <a:gd name="T57" fmla="*/ 1976 h 1977"/>
                    <a:gd name="T58" fmla="*/ 143 w 1495"/>
                    <a:gd name="T59" fmla="*/ 490 h 1977"/>
                    <a:gd name="T60" fmla="*/ 103 w 1495"/>
                    <a:gd name="T61" fmla="*/ 640 h 1977"/>
                    <a:gd name="T62" fmla="*/ 40 w 1495"/>
                    <a:gd name="T63" fmla="*/ 846 h 1977"/>
                    <a:gd name="T64" fmla="*/ 56 w 1495"/>
                    <a:gd name="T65" fmla="*/ 1043 h 1977"/>
                    <a:gd name="T66" fmla="*/ 135 w 1495"/>
                    <a:gd name="T67" fmla="*/ 1818 h 1977"/>
                    <a:gd name="T68" fmla="*/ 712 w 1495"/>
                    <a:gd name="T69" fmla="*/ 1889 h 1977"/>
                    <a:gd name="T70" fmla="*/ 1210 w 1495"/>
                    <a:gd name="T71" fmla="*/ 1810 h 1977"/>
                    <a:gd name="T72" fmla="*/ 1305 w 1495"/>
                    <a:gd name="T73" fmla="*/ 1636 h 1977"/>
                    <a:gd name="T74" fmla="*/ 1360 w 1495"/>
                    <a:gd name="T75" fmla="*/ 1415 h 1977"/>
                    <a:gd name="T76" fmla="*/ 1479 w 1495"/>
                    <a:gd name="T77" fmla="*/ 1383 h 1977"/>
                    <a:gd name="T78" fmla="*/ 1486 w 1495"/>
                    <a:gd name="T79" fmla="*/ 1186 h 1977"/>
                    <a:gd name="T80" fmla="*/ 1392 w 1495"/>
                    <a:gd name="T81" fmla="*/ 941 h 1977"/>
                    <a:gd name="T82" fmla="*/ 1107 w 1495"/>
                    <a:gd name="T83" fmla="*/ 806 h 1977"/>
                    <a:gd name="T84" fmla="*/ 1044 w 1495"/>
                    <a:gd name="T85" fmla="*/ 933 h 1977"/>
                    <a:gd name="T86" fmla="*/ 933 w 1495"/>
                    <a:gd name="T87" fmla="*/ 814 h 1977"/>
                    <a:gd name="T88" fmla="*/ 1060 w 1495"/>
                    <a:gd name="T89" fmla="*/ 632 h 1977"/>
                    <a:gd name="T90" fmla="*/ 1028 w 1495"/>
                    <a:gd name="T91" fmla="*/ 340 h 1977"/>
                    <a:gd name="T92" fmla="*/ 1036 w 1495"/>
                    <a:gd name="T93" fmla="*/ 237 h 1977"/>
                    <a:gd name="T94" fmla="*/ 767 w 1495"/>
                    <a:gd name="T95" fmla="*/ 95 h 1977"/>
                    <a:gd name="T96" fmla="*/ 649 w 1495"/>
                    <a:gd name="T97" fmla="*/ 48 h 1977"/>
                    <a:gd name="T98" fmla="*/ 467 w 1495"/>
                    <a:gd name="T99" fmla="*/ 55 h 1977"/>
                    <a:gd name="T100" fmla="*/ 459 w 1495"/>
                    <a:gd name="T101" fmla="*/ 182 h 1977"/>
                    <a:gd name="T102" fmla="*/ 348 w 1495"/>
                    <a:gd name="T103" fmla="*/ 269 h 1977"/>
                    <a:gd name="T104" fmla="*/ 316 w 1495"/>
                    <a:gd name="T105" fmla="*/ 435 h 1977"/>
                    <a:gd name="T106" fmla="*/ 309 w 1495"/>
                    <a:gd name="T107" fmla="*/ 450 h 1977"/>
                    <a:gd name="T108" fmla="*/ 285 w 1495"/>
                    <a:gd name="T109" fmla="*/ 308 h 1977"/>
                    <a:gd name="T110" fmla="*/ 206 w 1495"/>
                    <a:gd name="T111" fmla="*/ 443 h 1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495" h="1977">
                      <a:moveTo>
                        <a:pt x="24" y="1976"/>
                      </a:moveTo>
                      <a:lnTo>
                        <a:pt x="24" y="1976"/>
                      </a:lnTo>
                      <a:cubicBezTo>
                        <a:pt x="40" y="1976"/>
                        <a:pt x="40" y="1976"/>
                        <a:pt x="40" y="1976"/>
                      </a:cubicBezTo>
                      <a:cubicBezTo>
                        <a:pt x="40" y="1969"/>
                        <a:pt x="40" y="1969"/>
                        <a:pt x="48" y="1969"/>
                      </a:cubicBezTo>
                      <a:cubicBezTo>
                        <a:pt x="71" y="1937"/>
                        <a:pt x="103" y="1889"/>
                        <a:pt x="119" y="1858"/>
                      </a:cubicBezTo>
                      <a:cubicBezTo>
                        <a:pt x="119" y="1858"/>
                        <a:pt x="119" y="1850"/>
                        <a:pt x="127" y="1850"/>
                      </a:cubicBezTo>
                      <a:cubicBezTo>
                        <a:pt x="127" y="1842"/>
                        <a:pt x="127" y="1834"/>
                        <a:pt x="135" y="1818"/>
                      </a:cubicBezTo>
                      <a:cubicBezTo>
                        <a:pt x="135" y="1787"/>
                        <a:pt x="143" y="1739"/>
                        <a:pt x="182" y="1644"/>
                      </a:cubicBezTo>
                      <a:cubicBezTo>
                        <a:pt x="229" y="1510"/>
                        <a:pt x="143" y="1273"/>
                        <a:pt x="119" y="1225"/>
                      </a:cubicBezTo>
                      <a:cubicBezTo>
                        <a:pt x="103" y="1202"/>
                        <a:pt x="87" y="1178"/>
                        <a:pt x="71" y="1162"/>
                      </a:cubicBezTo>
                      <a:cubicBezTo>
                        <a:pt x="71" y="1154"/>
                        <a:pt x="63" y="1154"/>
                        <a:pt x="63" y="1146"/>
                      </a:cubicBezTo>
                      <a:cubicBezTo>
                        <a:pt x="48" y="1123"/>
                        <a:pt x="32" y="1059"/>
                        <a:pt x="56" y="1043"/>
                      </a:cubicBezTo>
                      <a:cubicBezTo>
                        <a:pt x="63" y="1036"/>
                        <a:pt x="56" y="1020"/>
                        <a:pt x="56" y="1004"/>
                      </a:cubicBezTo>
                      <a:cubicBezTo>
                        <a:pt x="56" y="988"/>
                        <a:pt x="56" y="980"/>
                        <a:pt x="56" y="965"/>
                      </a:cubicBezTo>
                      <a:cubicBezTo>
                        <a:pt x="56" y="933"/>
                        <a:pt x="48" y="925"/>
                        <a:pt x="24" y="901"/>
                      </a:cubicBezTo>
                      <a:lnTo>
                        <a:pt x="24" y="901"/>
                      </a:lnTo>
                      <a:cubicBezTo>
                        <a:pt x="0" y="877"/>
                        <a:pt x="24" y="862"/>
                        <a:pt x="32" y="846"/>
                      </a:cubicBezTo>
                      <a:cubicBezTo>
                        <a:pt x="40" y="838"/>
                        <a:pt x="48" y="838"/>
                        <a:pt x="48" y="830"/>
                      </a:cubicBezTo>
                      <a:cubicBezTo>
                        <a:pt x="56" y="822"/>
                        <a:pt x="63" y="814"/>
                        <a:pt x="71" y="799"/>
                      </a:cubicBezTo>
                      <a:cubicBezTo>
                        <a:pt x="79" y="783"/>
                        <a:pt x="87" y="767"/>
                        <a:pt x="103" y="751"/>
                      </a:cubicBezTo>
                      <a:cubicBezTo>
                        <a:pt x="111" y="743"/>
                        <a:pt x="103" y="712"/>
                        <a:pt x="103" y="688"/>
                      </a:cubicBezTo>
                      <a:cubicBezTo>
                        <a:pt x="95" y="664"/>
                        <a:pt x="95" y="648"/>
                        <a:pt x="103" y="632"/>
                      </a:cubicBezTo>
                      <a:cubicBezTo>
                        <a:pt x="103" y="625"/>
                        <a:pt x="103" y="609"/>
                        <a:pt x="87" y="601"/>
                      </a:cubicBezTo>
                      <a:cubicBezTo>
                        <a:pt x="87" y="593"/>
                        <a:pt x="79" y="585"/>
                        <a:pt x="79" y="577"/>
                      </a:cubicBezTo>
                      <a:cubicBezTo>
                        <a:pt x="71" y="569"/>
                        <a:pt x="71" y="561"/>
                        <a:pt x="79" y="553"/>
                      </a:cubicBezTo>
                      <a:cubicBezTo>
                        <a:pt x="87" y="538"/>
                        <a:pt x="111" y="530"/>
                        <a:pt x="119" y="530"/>
                      </a:cubicBezTo>
                      <a:cubicBezTo>
                        <a:pt x="127" y="530"/>
                        <a:pt x="135" y="506"/>
                        <a:pt x="135" y="482"/>
                      </a:cubicBezTo>
                      <a:cubicBezTo>
                        <a:pt x="143" y="474"/>
                        <a:pt x="143" y="466"/>
                        <a:pt x="143" y="459"/>
                      </a:cubicBezTo>
                      <a:cubicBezTo>
                        <a:pt x="151" y="450"/>
                        <a:pt x="151" y="443"/>
                        <a:pt x="151" y="443"/>
                      </a:cubicBezTo>
                      <a:cubicBezTo>
                        <a:pt x="151" y="435"/>
                        <a:pt x="151" y="427"/>
                        <a:pt x="158" y="427"/>
                      </a:cubicBezTo>
                      <a:cubicBezTo>
                        <a:pt x="166" y="427"/>
                        <a:pt x="174" y="427"/>
                        <a:pt x="182" y="435"/>
                      </a:cubicBezTo>
                      <a:cubicBezTo>
                        <a:pt x="190" y="435"/>
                        <a:pt x="190" y="435"/>
                        <a:pt x="190" y="435"/>
                      </a:cubicBezTo>
                      <a:cubicBezTo>
                        <a:pt x="198" y="435"/>
                        <a:pt x="198" y="435"/>
                        <a:pt x="206" y="435"/>
                      </a:cubicBezTo>
                      <a:cubicBezTo>
                        <a:pt x="214" y="435"/>
                        <a:pt x="214" y="435"/>
                        <a:pt x="214" y="419"/>
                      </a:cubicBezTo>
                      <a:cubicBezTo>
                        <a:pt x="214" y="411"/>
                        <a:pt x="214" y="403"/>
                        <a:pt x="222" y="395"/>
                      </a:cubicBezTo>
                      <a:cubicBezTo>
                        <a:pt x="238" y="379"/>
                        <a:pt x="253" y="332"/>
                        <a:pt x="261" y="316"/>
                      </a:cubicBezTo>
                      <a:cubicBezTo>
                        <a:pt x="261" y="300"/>
                        <a:pt x="269" y="300"/>
                        <a:pt x="277" y="300"/>
                      </a:cubicBezTo>
                      <a:cubicBezTo>
                        <a:pt x="277" y="300"/>
                        <a:pt x="285" y="300"/>
                        <a:pt x="293" y="308"/>
                      </a:cubicBezTo>
                      <a:cubicBezTo>
                        <a:pt x="293" y="316"/>
                        <a:pt x="293" y="372"/>
                        <a:pt x="293" y="395"/>
                      </a:cubicBezTo>
                      <a:cubicBezTo>
                        <a:pt x="293" y="427"/>
                        <a:pt x="285" y="450"/>
                        <a:pt x="301" y="474"/>
                      </a:cubicBezTo>
                      <a:cubicBezTo>
                        <a:pt x="309" y="474"/>
                        <a:pt x="309" y="482"/>
                        <a:pt x="309" y="482"/>
                      </a:cubicBezTo>
                      <a:cubicBezTo>
                        <a:pt x="309" y="474"/>
                        <a:pt x="309" y="459"/>
                        <a:pt x="309" y="459"/>
                      </a:cubicBezTo>
                      <a:cubicBezTo>
                        <a:pt x="301" y="450"/>
                        <a:pt x="301" y="443"/>
                        <a:pt x="301" y="443"/>
                      </a:cubicBezTo>
                      <a:cubicBezTo>
                        <a:pt x="301" y="435"/>
                        <a:pt x="301" y="435"/>
                        <a:pt x="301" y="435"/>
                      </a:cubicBezTo>
                      <a:cubicBezTo>
                        <a:pt x="301" y="419"/>
                        <a:pt x="301" y="411"/>
                        <a:pt x="309" y="403"/>
                      </a:cubicBezTo>
                      <a:cubicBezTo>
                        <a:pt x="309" y="403"/>
                        <a:pt x="309" y="403"/>
                        <a:pt x="316" y="403"/>
                      </a:cubicBezTo>
                      <a:cubicBezTo>
                        <a:pt x="324" y="403"/>
                        <a:pt x="324" y="419"/>
                        <a:pt x="324" y="435"/>
                      </a:cubicBezTo>
                      <a:cubicBezTo>
                        <a:pt x="324" y="450"/>
                        <a:pt x="324" y="466"/>
                        <a:pt x="332" y="466"/>
                      </a:cubicBezTo>
                      <a:lnTo>
                        <a:pt x="332" y="466"/>
                      </a:lnTo>
                      <a:cubicBezTo>
                        <a:pt x="340" y="466"/>
                        <a:pt x="340" y="466"/>
                        <a:pt x="340" y="466"/>
                      </a:cubicBezTo>
                      <a:cubicBezTo>
                        <a:pt x="348" y="459"/>
                        <a:pt x="348" y="427"/>
                        <a:pt x="348" y="395"/>
                      </a:cubicBezTo>
                      <a:cubicBezTo>
                        <a:pt x="348" y="379"/>
                        <a:pt x="348" y="364"/>
                        <a:pt x="340" y="348"/>
                      </a:cubicBezTo>
                      <a:cubicBezTo>
                        <a:pt x="340" y="324"/>
                        <a:pt x="332" y="293"/>
                        <a:pt x="340" y="269"/>
                      </a:cubicBezTo>
                      <a:cubicBezTo>
                        <a:pt x="340" y="237"/>
                        <a:pt x="348" y="229"/>
                        <a:pt x="356" y="229"/>
                      </a:cubicBezTo>
                      <a:cubicBezTo>
                        <a:pt x="364" y="229"/>
                        <a:pt x="364" y="229"/>
                        <a:pt x="364" y="221"/>
                      </a:cubicBezTo>
                      <a:cubicBezTo>
                        <a:pt x="380" y="206"/>
                        <a:pt x="403" y="198"/>
                        <a:pt x="427" y="198"/>
                      </a:cubicBezTo>
                      <a:cubicBezTo>
                        <a:pt x="451" y="198"/>
                        <a:pt x="451" y="198"/>
                        <a:pt x="459" y="182"/>
                      </a:cubicBezTo>
                      <a:lnTo>
                        <a:pt x="459" y="182"/>
                      </a:lnTo>
                      <a:cubicBezTo>
                        <a:pt x="459" y="174"/>
                        <a:pt x="451" y="166"/>
                        <a:pt x="443" y="158"/>
                      </a:cubicBezTo>
                      <a:cubicBezTo>
                        <a:pt x="435" y="158"/>
                        <a:pt x="427" y="150"/>
                        <a:pt x="411" y="135"/>
                      </a:cubicBezTo>
                      <a:cubicBezTo>
                        <a:pt x="411" y="126"/>
                        <a:pt x="411" y="119"/>
                        <a:pt x="411" y="103"/>
                      </a:cubicBezTo>
                      <a:cubicBezTo>
                        <a:pt x="419" y="87"/>
                        <a:pt x="435" y="71"/>
                        <a:pt x="443" y="71"/>
                      </a:cubicBezTo>
                      <a:cubicBezTo>
                        <a:pt x="443" y="63"/>
                        <a:pt x="451" y="55"/>
                        <a:pt x="459" y="48"/>
                      </a:cubicBezTo>
                      <a:cubicBezTo>
                        <a:pt x="467" y="32"/>
                        <a:pt x="482" y="16"/>
                        <a:pt x="498" y="0"/>
                      </a:cubicBezTo>
                      <a:cubicBezTo>
                        <a:pt x="506" y="0"/>
                        <a:pt x="514" y="0"/>
                        <a:pt x="530" y="0"/>
                      </a:cubicBezTo>
                      <a:cubicBezTo>
                        <a:pt x="554" y="0"/>
                        <a:pt x="585" y="16"/>
                        <a:pt x="593" y="24"/>
                      </a:cubicBezTo>
                      <a:cubicBezTo>
                        <a:pt x="601" y="32"/>
                        <a:pt x="617" y="39"/>
                        <a:pt x="641" y="39"/>
                      </a:cubicBezTo>
                      <a:lnTo>
                        <a:pt x="649" y="39"/>
                      </a:lnTo>
                      <a:cubicBezTo>
                        <a:pt x="656" y="39"/>
                        <a:pt x="656" y="39"/>
                        <a:pt x="664" y="39"/>
                      </a:cubicBezTo>
                      <a:cubicBezTo>
                        <a:pt x="696" y="39"/>
                        <a:pt x="728" y="48"/>
                        <a:pt x="735" y="71"/>
                      </a:cubicBezTo>
                      <a:cubicBezTo>
                        <a:pt x="743" y="87"/>
                        <a:pt x="751" y="87"/>
                        <a:pt x="751" y="87"/>
                      </a:cubicBezTo>
                      <a:cubicBezTo>
                        <a:pt x="759" y="87"/>
                        <a:pt x="759" y="87"/>
                        <a:pt x="759" y="87"/>
                      </a:cubicBezTo>
                      <a:cubicBezTo>
                        <a:pt x="767" y="87"/>
                        <a:pt x="767" y="87"/>
                        <a:pt x="767" y="87"/>
                      </a:cubicBezTo>
                      <a:lnTo>
                        <a:pt x="767" y="87"/>
                      </a:lnTo>
                      <a:cubicBezTo>
                        <a:pt x="783" y="87"/>
                        <a:pt x="822" y="103"/>
                        <a:pt x="878" y="119"/>
                      </a:cubicBezTo>
                      <a:cubicBezTo>
                        <a:pt x="909" y="135"/>
                        <a:pt x="941" y="142"/>
                        <a:pt x="949" y="142"/>
                      </a:cubicBezTo>
                      <a:cubicBezTo>
                        <a:pt x="981" y="158"/>
                        <a:pt x="996" y="190"/>
                        <a:pt x="1004" y="198"/>
                      </a:cubicBezTo>
                      <a:cubicBezTo>
                        <a:pt x="1004" y="213"/>
                        <a:pt x="1012" y="213"/>
                        <a:pt x="1028" y="221"/>
                      </a:cubicBezTo>
                      <a:cubicBezTo>
                        <a:pt x="1028" y="221"/>
                        <a:pt x="1036" y="229"/>
                        <a:pt x="1044" y="229"/>
                      </a:cubicBezTo>
                      <a:lnTo>
                        <a:pt x="1044" y="237"/>
                      </a:lnTo>
                      <a:cubicBezTo>
                        <a:pt x="1044" y="253"/>
                        <a:pt x="1020" y="277"/>
                        <a:pt x="1012" y="293"/>
                      </a:cubicBezTo>
                      <a:cubicBezTo>
                        <a:pt x="1004" y="293"/>
                        <a:pt x="1004" y="293"/>
                        <a:pt x="1004" y="300"/>
                      </a:cubicBezTo>
                      <a:cubicBezTo>
                        <a:pt x="1004" y="308"/>
                        <a:pt x="1020" y="324"/>
                        <a:pt x="1028" y="332"/>
                      </a:cubicBezTo>
                      <a:lnTo>
                        <a:pt x="1028" y="332"/>
                      </a:lnTo>
                      <a:cubicBezTo>
                        <a:pt x="1044" y="340"/>
                        <a:pt x="1075" y="395"/>
                        <a:pt x="1075" y="427"/>
                      </a:cubicBezTo>
                      <a:cubicBezTo>
                        <a:pt x="1075" y="443"/>
                        <a:pt x="1075" y="450"/>
                        <a:pt x="1075" y="459"/>
                      </a:cubicBezTo>
                      <a:cubicBezTo>
                        <a:pt x="1068" y="482"/>
                        <a:pt x="1068" y="490"/>
                        <a:pt x="1083" y="514"/>
                      </a:cubicBezTo>
                      <a:cubicBezTo>
                        <a:pt x="1099" y="546"/>
                        <a:pt x="1091" y="569"/>
                        <a:pt x="1083" y="609"/>
                      </a:cubicBezTo>
                      <a:cubicBezTo>
                        <a:pt x="1075" y="632"/>
                        <a:pt x="1075" y="632"/>
                        <a:pt x="1060" y="640"/>
                      </a:cubicBezTo>
                      <a:cubicBezTo>
                        <a:pt x="1052" y="640"/>
                        <a:pt x="1052" y="640"/>
                        <a:pt x="1044" y="648"/>
                      </a:cubicBezTo>
                      <a:cubicBezTo>
                        <a:pt x="1028" y="656"/>
                        <a:pt x="1020" y="680"/>
                        <a:pt x="1020" y="696"/>
                      </a:cubicBezTo>
                      <a:cubicBezTo>
                        <a:pt x="1020" y="712"/>
                        <a:pt x="1020" y="743"/>
                        <a:pt x="996" y="783"/>
                      </a:cubicBezTo>
                      <a:cubicBezTo>
                        <a:pt x="988" y="806"/>
                        <a:pt x="973" y="814"/>
                        <a:pt x="957" y="814"/>
                      </a:cubicBezTo>
                      <a:cubicBezTo>
                        <a:pt x="949" y="814"/>
                        <a:pt x="941" y="814"/>
                        <a:pt x="933" y="822"/>
                      </a:cubicBezTo>
                      <a:cubicBezTo>
                        <a:pt x="925" y="822"/>
                        <a:pt x="917" y="838"/>
                        <a:pt x="917" y="854"/>
                      </a:cubicBezTo>
                      <a:cubicBezTo>
                        <a:pt x="917" y="885"/>
                        <a:pt x="925" y="917"/>
                        <a:pt x="941" y="933"/>
                      </a:cubicBezTo>
                      <a:cubicBezTo>
                        <a:pt x="957" y="957"/>
                        <a:pt x="988" y="965"/>
                        <a:pt x="1004" y="965"/>
                      </a:cubicBezTo>
                      <a:cubicBezTo>
                        <a:pt x="1012" y="965"/>
                        <a:pt x="1020" y="965"/>
                        <a:pt x="1020" y="957"/>
                      </a:cubicBezTo>
                      <a:cubicBezTo>
                        <a:pt x="1028" y="949"/>
                        <a:pt x="1036" y="941"/>
                        <a:pt x="1044" y="933"/>
                      </a:cubicBezTo>
                      <a:cubicBezTo>
                        <a:pt x="1052" y="925"/>
                        <a:pt x="1060" y="909"/>
                        <a:pt x="1068" y="901"/>
                      </a:cubicBezTo>
                      <a:cubicBezTo>
                        <a:pt x="1068" y="893"/>
                        <a:pt x="1075" y="893"/>
                        <a:pt x="1075" y="885"/>
                      </a:cubicBezTo>
                      <a:cubicBezTo>
                        <a:pt x="1083" y="870"/>
                        <a:pt x="1091" y="862"/>
                        <a:pt x="1091" y="846"/>
                      </a:cubicBezTo>
                      <a:cubicBezTo>
                        <a:pt x="1091" y="822"/>
                        <a:pt x="1091" y="814"/>
                        <a:pt x="1099" y="806"/>
                      </a:cubicBezTo>
                      <a:cubicBezTo>
                        <a:pt x="1099" y="799"/>
                        <a:pt x="1107" y="799"/>
                        <a:pt x="1107" y="806"/>
                      </a:cubicBezTo>
                      <a:cubicBezTo>
                        <a:pt x="1115" y="806"/>
                        <a:pt x="1123" y="799"/>
                        <a:pt x="1123" y="799"/>
                      </a:cubicBezTo>
                      <a:cubicBezTo>
                        <a:pt x="1131" y="767"/>
                        <a:pt x="1194" y="727"/>
                        <a:pt x="1234" y="727"/>
                      </a:cubicBezTo>
                      <a:cubicBezTo>
                        <a:pt x="1273" y="719"/>
                        <a:pt x="1344" y="767"/>
                        <a:pt x="1344" y="799"/>
                      </a:cubicBezTo>
                      <a:cubicBezTo>
                        <a:pt x="1352" y="838"/>
                        <a:pt x="1376" y="901"/>
                        <a:pt x="1392" y="933"/>
                      </a:cubicBezTo>
                      <a:cubicBezTo>
                        <a:pt x="1408" y="965"/>
                        <a:pt x="1431" y="1028"/>
                        <a:pt x="1447" y="1075"/>
                      </a:cubicBezTo>
                      <a:cubicBezTo>
                        <a:pt x="1455" y="1091"/>
                        <a:pt x="1455" y="1099"/>
                        <a:pt x="1455" y="1107"/>
                      </a:cubicBezTo>
                      <a:cubicBezTo>
                        <a:pt x="1471" y="1130"/>
                        <a:pt x="1471" y="1138"/>
                        <a:pt x="1479" y="1146"/>
                      </a:cubicBezTo>
                      <a:cubicBezTo>
                        <a:pt x="1479" y="1154"/>
                        <a:pt x="1486" y="1154"/>
                        <a:pt x="1486" y="1170"/>
                      </a:cubicBezTo>
                      <a:cubicBezTo>
                        <a:pt x="1494" y="1178"/>
                        <a:pt x="1494" y="1178"/>
                        <a:pt x="1494" y="1178"/>
                      </a:cubicBezTo>
                      <a:cubicBezTo>
                        <a:pt x="1494" y="1186"/>
                        <a:pt x="1494" y="1186"/>
                        <a:pt x="1494" y="1186"/>
                      </a:cubicBezTo>
                      <a:lnTo>
                        <a:pt x="1494" y="1186"/>
                      </a:lnTo>
                      <a:cubicBezTo>
                        <a:pt x="1486" y="1249"/>
                        <a:pt x="1479" y="1328"/>
                        <a:pt x="1486" y="1376"/>
                      </a:cubicBezTo>
                      <a:cubicBezTo>
                        <a:pt x="1486" y="1376"/>
                        <a:pt x="1494" y="1383"/>
                        <a:pt x="1486" y="1391"/>
                      </a:cubicBezTo>
                      <a:cubicBezTo>
                        <a:pt x="1486" y="1407"/>
                        <a:pt x="1486" y="1407"/>
                        <a:pt x="1486" y="1407"/>
                      </a:cubicBezTo>
                      <a:cubicBezTo>
                        <a:pt x="1479" y="1391"/>
                        <a:pt x="1479" y="1391"/>
                        <a:pt x="1479" y="1391"/>
                      </a:cubicBezTo>
                      <a:cubicBezTo>
                        <a:pt x="1479" y="1383"/>
                        <a:pt x="1447" y="1383"/>
                        <a:pt x="1423" y="1376"/>
                      </a:cubicBezTo>
                      <a:cubicBezTo>
                        <a:pt x="1415" y="1376"/>
                        <a:pt x="1408" y="1376"/>
                        <a:pt x="1399" y="1376"/>
                      </a:cubicBezTo>
                      <a:lnTo>
                        <a:pt x="1392" y="1376"/>
                      </a:lnTo>
                      <a:cubicBezTo>
                        <a:pt x="1376" y="1376"/>
                        <a:pt x="1376" y="1376"/>
                        <a:pt x="1376" y="1391"/>
                      </a:cubicBezTo>
                      <a:cubicBezTo>
                        <a:pt x="1376" y="1399"/>
                        <a:pt x="1368" y="1407"/>
                        <a:pt x="1368" y="1415"/>
                      </a:cubicBezTo>
                      <a:cubicBezTo>
                        <a:pt x="1360" y="1431"/>
                        <a:pt x="1360" y="1439"/>
                        <a:pt x="1368" y="1455"/>
                      </a:cubicBezTo>
                      <a:cubicBezTo>
                        <a:pt x="1368" y="1463"/>
                        <a:pt x="1368" y="1470"/>
                        <a:pt x="1376" y="1478"/>
                      </a:cubicBezTo>
                      <a:cubicBezTo>
                        <a:pt x="1376" y="1494"/>
                        <a:pt x="1376" y="1502"/>
                        <a:pt x="1376" y="1502"/>
                      </a:cubicBezTo>
                      <a:lnTo>
                        <a:pt x="1376" y="1502"/>
                      </a:lnTo>
                      <a:cubicBezTo>
                        <a:pt x="1376" y="1510"/>
                        <a:pt x="1376" y="1510"/>
                        <a:pt x="1376" y="1510"/>
                      </a:cubicBezTo>
                      <a:cubicBezTo>
                        <a:pt x="1305" y="1573"/>
                        <a:pt x="1297" y="1597"/>
                        <a:pt x="1305" y="1605"/>
                      </a:cubicBezTo>
                      <a:cubicBezTo>
                        <a:pt x="1305" y="1613"/>
                        <a:pt x="1305" y="1629"/>
                        <a:pt x="1313" y="1636"/>
                      </a:cubicBezTo>
                      <a:cubicBezTo>
                        <a:pt x="1313" y="1652"/>
                        <a:pt x="1321" y="1660"/>
                        <a:pt x="1321" y="1676"/>
                      </a:cubicBezTo>
                      <a:cubicBezTo>
                        <a:pt x="1321" y="1684"/>
                        <a:pt x="1321" y="1684"/>
                        <a:pt x="1321" y="1684"/>
                      </a:cubicBezTo>
                      <a:lnTo>
                        <a:pt x="1321" y="1684"/>
                      </a:lnTo>
                      <a:cubicBezTo>
                        <a:pt x="1313" y="1684"/>
                        <a:pt x="1305" y="1700"/>
                        <a:pt x="1297" y="1707"/>
                      </a:cubicBezTo>
                      <a:cubicBezTo>
                        <a:pt x="1289" y="1716"/>
                        <a:pt x="1281" y="1723"/>
                        <a:pt x="1273" y="1731"/>
                      </a:cubicBezTo>
                      <a:cubicBezTo>
                        <a:pt x="1257" y="1739"/>
                        <a:pt x="1249" y="1763"/>
                        <a:pt x="1241" y="1787"/>
                      </a:cubicBezTo>
                      <a:cubicBezTo>
                        <a:pt x="1234" y="1795"/>
                        <a:pt x="1226" y="1802"/>
                        <a:pt x="1218" y="1818"/>
                      </a:cubicBezTo>
                      <a:cubicBezTo>
                        <a:pt x="1218" y="1826"/>
                        <a:pt x="1218" y="1826"/>
                        <a:pt x="1218" y="1834"/>
                      </a:cubicBezTo>
                      <a:cubicBezTo>
                        <a:pt x="1210" y="1834"/>
                        <a:pt x="1210" y="1834"/>
                        <a:pt x="1210" y="1834"/>
                      </a:cubicBezTo>
                      <a:lnTo>
                        <a:pt x="1210" y="1834"/>
                      </a:lnTo>
                      <a:cubicBezTo>
                        <a:pt x="1107" y="1866"/>
                        <a:pt x="846" y="1929"/>
                        <a:pt x="767" y="1929"/>
                      </a:cubicBezTo>
                      <a:cubicBezTo>
                        <a:pt x="759" y="1929"/>
                        <a:pt x="751" y="1929"/>
                        <a:pt x="751" y="1921"/>
                      </a:cubicBezTo>
                      <a:cubicBezTo>
                        <a:pt x="728" y="1897"/>
                        <a:pt x="712" y="1897"/>
                        <a:pt x="712" y="1897"/>
                      </a:cubicBezTo>
                      <a:lnTo>
                        <a:pt x="24" y="1976"/>
                      </a:lnTo>
                      <a:close/>
                      <a:moveTo>
                        <a:pt x="158" y="435"/>
                      </a:moveTo>
                      <a:lnTo>
                        <a:pt x="158" y="435"/>
                      </a:lnTo>
                      <a:cubicBezTo>
                        <a:pt x="158" y="435"/>
                        <a:pt x="158" y="435"/>
                        <a:pt x="158" y="443"/>
                      </a:cubicBezTo>
                      <a:cubicBezTo>
                        <a:pt x="158" y="450"/>
                        <a:pt x="158" y="450"/>
                        <a:pt x="151" y="459"/>
                      </a:cubicBezTo>
                      <a:cubicBezTo>
                        <a:pt x="151" y="466"/>
                        <a:pt x="151" y="474"/>
                        <a:pt x="143" y="490"/>
                      </a:cubicBezTo>
                      <a:cubicBezTo>
                        <a:pt x="135" y="514"/>
                        <a:pt x="135" y="530"/>
                        <a:pt x="119" y="538"/>
                      </a:cubicBezTo>
                      <a:cubicBezTo>
                        <a:pt x="111" y="538"/>
                        <a:pt x="95" y="546"/>
                        <a:pt x="87" y="553"/>
                      </a:cubicBezTo>
                      <a:cubicBezTo>
                        <a:pt x="79" y="561"/>
                        <a:pt x="79" y="569"/>
                        <a:pt x="87" y="577"/>
                      </a:cubicBezTo>
                      <a:cubicBezTo>
                        <a:pt x="87" y="577"/>
                        <a:pt x="95" y="585"/>
                        <a:pt x="95" y="593"/>
                      </a:cubicBezTo>
                      <a:cubicBezTo>
                        <a:pt x="103" y="609"/>
                        <a:pt x="111" y="625"/>
                        <a:pt x="103" y="640"/>
                      </a:cubicBezTo>
                      <a:cubicBezTo>
                        <a:pt x="103" y="648"/>
                        <a:pt x="103" y="672"/>
                        <a:pt x="111" y="688"/>
                      </a:cubicBezTo>
                      <a:cubicBezTo>
                        <a:pt x="111" y="719"/>
                        <a:pt x="119" y="743"/>
                        <a:pt x="103" y="759"/>
                      </a:cubicBezTo>
                      <a:cubicBezTo>
                        <a:pt x="95" y="767"/>
                        <a:pt x="87" y="790"/>
                        <a:pt x="71" y="806"/>
                      </a:cubicBezTo>
                      <a:cubicBezTo>
                        <a:pt x="63" y="814"/>
                        <a:pt x="63" y="822"/>
                        <a:pt x="56" y="830"/>
                      </a:cubicBezTo>
                      <a:cubicBezTo>
                        <a:pt x="48" y="838"/>
                        <a:pt x="48" y="846"/>
                        <a:pt x="40" y="846"/>
                      </a:cubicBezTo>
                      <a:cubicBezTo>
                        <a:pt x="24" y="870"/>
                        <a:pt x="16" y="877"/>
                        <a:pt x="24" y="893"/>
                      </a:cubicBezTo>
                      <a:cubicBezTo>
                        <a:pt x="32" y="893"/>
                        <a:pt x="32" y="893"/>
                        <a:pt x="32" y="893"/>
                      </a:cubicBezTo>
                      <a:cubicBezTo>
                        <a:pt x="48" y="917"/>
                        <a:pt x="63" y="925"/>
                        <a:pt x="63" y="965"/>
                      </a:cubicBezTo>
                      <a:cubicBezTo>
                        <a:pt x="63" y="980"/>
                        <a:pt x="63" y="988"/>
                        <a:pt x="63" y="1004"/>
                      </a:cubicBezTo>
                      <a:cubicBezTo>
                        <a:pt x="63" y="1020"/>
                        <a:pt x="71" y="1036"/>
                        <a:pt x="56" y="1043"/>
                      </a:cubicBezTo>
                      <a:cubicBezTo>
                        <a:pt x="48" y="1059"/>
                        <a:pt x="56" y="1123"/>
                        <a:pt x="71" y="1138"/>
                      </a:cubicBezTo>
                      <a:cubicBezTo>
                        <a:pt x="71" y="1146"/>
                        <a:pt x="79" y="1154"/>
                        <a:pt x="79" y="1162"/>
                      </a:cubicBezTo>
                      <a:cubicBezTo>
                        <a:pt x="95" y="1178"/>
                        <a:pt x="103" y="1194"/>
                        <a:pt x="127" y="1225"/>
                      </a:cubicBezTo>
                      <a:cubicBezTo>
                        <a:pt x="151" y="1273"/>
                        <a:pt x="238" y="1510"/>
                        <a:pt x="190" y="1652"/>
                      </a:cubicBezTo>
                      <a:cubicBezTo>
                        <a:pt x="151" y="1747"/>
                        <a:pt x="143" y="1795"/>
                        <a:pt x="135" y="1818"/>
                      </a:cubicBezTo>
                      <a:cubicBezTo>
                        <a:pt x="135" y="1834"/>
                        <a:pt x="135" y="1842"/>
                        <a:pt x="127" y="1850"/>
                      </a:cubicBezTo>
                      <a:cubicBezTo>
                        <a:pt x="127" y="1850"/>
                        <a:pt x="127" y="1858"/>
                        <a:pt x="127" y="1866"/>
                      </a:cubicBezTo>
                      <a:cubicBezTo>
                        <a:pt x="111" y="1889"/>
                        <a:pt x="79" y="1945"/>
                        <a:pt x="48" y="1969"/>
                      </a:cubicBezTo>
                      <a:lnTo>
                        <a:pt x="48" y="1969"/>
                      </a:lnTo>
                      <a:cubicBezTo>
                        <a:pt x="712" y="1889"/>
                        <a:pt x="712" y="1889"/>
                        <a:pt x="712" y="1889"/>
                      </a:cubicBezTo>
                      <a:lnTo>
                        <a:pt x="712" y="1889"/>
                      </a:lnTo>
                      <a:cubicBezTo>
                        <a:pt x="720" y="1889"/>
                        <a:pt x="735" y="1897"/>
                        <a:pt x="751" y="1921"/>
                      </a:cubicBezTo>
                      <a:cubicBezTo>
                        <a:pt x="751" y="1921"/>
                        <a:pt x="759" y="1921"/>
                        <a:pt x="767" y="1921"/>
                      </a:cubicBezTo>
                      <a:cubicBezTo>
                        <a:pt x="846" y="1921"/>
                        <a:pt x="1099" y="1858"/>
                        <a:pt x="1210" y="1826"/>
                      </a:cubicBezTo>
                      <a:cubicBezTo>
                        <a:pt x="1210" y="1826"/>
                        <a:pt x="1210" y="1818"/>
                        <a:pt x="1210" y="1810"/>
                      </a:cubicBezTo>
                      <a:cubicBezTo>
                        <a:pt x="1218" y="1802"/>
                        <a:pt x="1226" y="1795"/>
                        <a:pt x="1234" y="1779"/>
                      </a:cubicBezTo>
                      <a:cubicBezTo>
                        <a:pt x="1241" y="1755"/>
                        <a:pt x="1257" y="1731"/>
                        <a:pt x="1273" y="1723"/>
                      </a:cubicBezTo>
                      <a:cubicBezTo>
                        <a:pt x="1273" y="1723"/>
                        <a:pt x="1281" y="1716"/>
                        <a:pt x="1289" y="1707"/>
                      </a:cubicBezTo>
                      <a:cubicBezTo>
                        <a:pt x="1297" y="1692"/>
                        <a:pt x="1305" y="1684"/>
                        <a:pt x="1313" y="1676"/>
                      </a:cubicBezTo>
                      <a:cubicBezTo>
                        <a:pt x="1313" y="1660"/>
                        <a:pt x="1305" y="1652"/>
                        <a:pt x="1305" y="1636"/>
                      </a:cubicBezTo>
                      <a:cubicBezTo>
                        <a:pt x="1297" y="1629"/>
                        <a:pt x="1297" y="1613"/>
                        <a:pt x="1297" y="1613"/>
                      </a:cubicBezTo>
                      <a:cubicBezTo>
                        <a:pt x="1289" y="1597"/>
                        <a:pt x="1297" y="1581"/>
                        <a:pt x="1368" y="1502"/>
                      </a:cubicBezTo>
                      <a:cubicBezTo>
                        <a:pt x="1368" y="1502"/>
                        <a:pt x="1368" y="1494"/>
                        <a:pt x="1368" y="1486"/>
                      </a:cubicBezTo>
                      <a:cubicBezTo>
                        <a:pt x="1360" y="1470"/>
                        <a:pt x="1360" y="1463"/>
                        <a:pt x="1360" y="1455"/>
                      </a:cubicBezTo>
                      <a:cubicBezTo>
                        <a:pt x="1352" y="1439"/>
                        <a:pt x="1352" y="1431"/>
                        <a:pt x="1360" y="1415"/>
                      </a:cubicBezTo>
                      <a:cubicBezTo>
                        <a:pt x="1368" y="1407"/>
                        <a:pt x="1368" y="1399"/>
                        <a:pt x="1368" y="1391"/>
                      </a:cubicBezTo>
                      <a:cubicBezTo>
                        <a:pt x="1368" y="1376"/>
                        <a:pt x="1368" y="1368"/>
                        <a:pt x="1392" y="1368"/>
                      </a:cubicBezTo>
                      <a:lnTo>
                        <a:pt x="1399" y="1368"/>
                      </a:lnTo>
                      <a:cubicBezTo>
                        <a:pt x="1408" y="1368"/>
                        <a:pt x="1415" y="1368"/>
                        <a:pt x="1423" y="1368"/>
                      </a:cubicBezTo>
                      <a:cubicBezTo>
                        <a:pt x="1455" y="1376"/>
                        <a:pt x="1471" y="1376"/>
                        <a:pt x="1479" y="1383"/>
                      </a:cubicBezTo>
                      <a:lnTo>
                        <a:pt x="1479" y="1383"/>
                      </a:lnTo>
                      <a:lnTo>
                        <a:pt x="1479" y="1383"/>
                      </a:lnTo>
                      <a:cubicBezTo>
                        <a:pt x="1479" y="1376"/>
                        <a:pt x="1479" y="1376"/>
                        <a:pt x="1479" y="1376"/>
                      </a:cubicBezTo>
                      <a:cubicBezTo>
                        <a:pt x="1471" y="1336"/>
                        <a:pt x="1479" y="1257"/>
                        <a:pt x="1486" y="1194"/>
                      </a:cubicBezTo>
                      <a:lnTo>
                        <a:pt x="1486" y="1186"/>
                      </a:lnTo>
                      <a:cubicBezTo>
                        <a:pt x="1486" y="1170"/>
                        <a:pt x="1486" y="1170"/>
                        <a:pt x="1486" y="1170"/>
                      </a:cubicBezTo>
                      <a:cubicBezTo>
                        <a:pt x="1479" y="1162"/>
                        <a:pt x="1471" y="1154"/>
                        <a:pt x="1471" y="1146"/>
                      </a:cubicBezTo>
                      <a:cubicBezTo>
                        <a:pt x="1463" y="1146"/>
                        <a:pt x="1463" y="1138"/>
                        <a:pt x="1455" y="1107"/>
                      </a:cubicBezTo>
                      <a:cubicBezTo>
                        <a:pt x="1447" y="1099"/>
                        <a:pt x="1447" y="1091"/>
                        <a:pt x="1439" y="1075"/>
                      </a:cubicBezTo>
                      <a:cubicBezTo>
                        <a:pt x="1423" y="1028"/>
                        <a:pt x="1399" y="965"/>
                        <a:pt x="1392" y="941"/>
                      </a:cubicBezTo>
                      <a:cubicBezTo>
                        <a:pt x="1368" y="901"/>
                        <a:pt x="1344" y="838"/>
                        <a:pt x="1344" y="806"/>
                      </a:cubicBezTo>
                      <a:cubicBezTo>
                        <a:pt x="1336" y="775"/>
                        <a:pt x="1265" y="727"/>
                        <a:pt x="1234" y="735"/>
                      </a:cubicBezTo>
                      <a:cubicBezTo>
                        <a:pt x="1202" y="735"/>
                        <a:pt x="1139" y="775"/>
                        <a:pt x="1131" y="799"/>
                      </a:cubicBezTo>
                      <a:cubicBezTo>
                        <a:pt x="1131" y="799"/>
                        <a:pt x="1123" y="814"/>
                        <a:pt x="1115" y="814"/>
                      </a:cubicBezTo>
                      <a:cubicBezTo>
                        <a:pt x="1107" y="814"/>
                        <a:pt x="1107" y="814"/>
                        <a:pt x="1107" y="806"/>
                      </a:cubicBezTo>
                      <a:lnTo>
                        <a:pt x="1107" y="806"/>
                      </a:lnTo>
                      <a:cubicBezTo>
                        <a:pt x="1099" y="814"/>
                        <a:pt x="1099" y="838"/>
                        <a:pt x="1099" y="846"/>
                      </a:cubicBezTo>
                      <a:cubicBezTo>
                        <a:pt x="1099" y="862"/>
                        <a:pt x="1091" y="877"/>
                        <a:pt x="1083" y="885"/>
                      </a:cubicBezTo>
                      <a:cubicBezTo>
                        <a:pt x="1075" y="893"/>
                        <a:pt x="1075" y="901"/>
                        <a:pt x="1075" y="901"/>
                      </a:cubicBezTo>
                      <a:cubicBezTo>
                        <a:pt x="1068" y="917"/>
                        <a:pt x="1052" y="925"/>
                        <a:pt x="1044" y="933"/>
                      </a:cubicBezTo>
                      <a:cubicBezTo>
                        <a:pt x="1036" y="949"/>
                        <a:pt x="1028" y="957"/>
                        <a:pt x="1028" y="965"/>
                      </a:cubicBezTo>
                      <a:cubicBezTo>
                        <a:pt x="1020" y="972"/>
                        <a:pt x="1012" y="972"/>
                        <a:pt x="1004" y="972"/>
                      </a:cubicBezTo>
                      <a:cubicBezTo>
                        <a:pt x="981" y="972"/>
                        <a:pt x="957" y="965"/>
                        <a:pt x="933" y="941"/>
                      </a:cubicBezTo>
                      <a:cubicBezTo>
                        <a:pt x="917" y="925"/>
                        <a:pt x="909" y="885"/>
                        <a:pt x="909" y="854"/>
                      </a:cubicBezTo>
                      <a:cubicBezTo>
                        <a:pt x="909" y="838"/>
                        <a:pt x="917" y="822"/>
                        <a:pt x="933" y="814"/>
                      </a:cubicBezTo>
                      <a:cubicBezTo>
                        <a:pt x="941" y="806"/>
                        <a:pt x="949" y="806"/>
                        <a:pt x="957" y="806"/>
                      </a:cubicBezTo>
                      <a:cubicBezTo>
                        <a:pt x="973" y="806"/>
                        <a:pt x="981" y="806"/>
                        <a:pt x="996" y="783"/>
                      </a:cubicBezTo>
                      <a:cubicBezTo>
                        <a:pt x="1012" y="735"/>
                        <a:pt x="1012" y="712"/>
                        <a:pt x="1012" y="696"/>
                      </a:cubicBezTo>
                      <a:cubicBezTo>
                        <a:pt x="1012" y="680"/>
                        <a:pt x="1020" y="648"/>
                        <a:pt x="1044" y="640"/>
                      </a:cubicBezTo>
                      <a:cubicBezTo>
                        <a:pt x="1052" y="632"/>
                        <a:pt x="1052" y="632"/>
                        <a:pt x="1060" y="632"/>
                      </a:cubicBezTo>
                      <a:cubicBezTo>
                        <a:pt x="1068" y="632"/>
                        <a:pt x="1075" y="625"/>
                        <a:pt x="1075" y="601"/>
                      </a:cubicBezTo>
                      <a:cubicBezTo>
                        <a:pt x="1083" y="569"/>
                        <a:pt x="1091" y="553"/>
                        <a:pt x="1075" y="522"/>
                      </a:cubicBezTo>
                      <a:cubicBezTo>
                        <a:pt x="1060" y="498"/>
                        <a:pt x="1068" y="474"/>
                        <a:pt x="1068" y="459"/>
                      </a:cubicBezTo>
                      <a:cubicBezTo>
                        <a:pt x="1068" y="450"/>
                        <a:pt x="1068" y="443"/>
                        <a:pt x="1068" y="427"/>
                      </a:cubicBezTo>
                      <a:cubicBezTo>
                        <a:pt x="1068" y="395"/>
                        <a:pt x="1036" y="348"/>
                        <a:pt x="1028" y="340"/>
                      </a:cubicBezTo>
                      <a:lnTo>
                        <a:pt x="1028" y="340"/>
                      </a:lnTo>
                      <a:cubicBezTo>
                        <a:pt x="1012" y="324"/>
                        <a:pt x="996" y="308"/>
                        <a:pt x="996" y="300"/>
                      </a:cubicBezTo>
                      <a:cubicBezTo>
                        <a:pt x="996" y="293"/>
                        <a:pt x="996" y="285"/>
                        <a:pt x="1004" y="285"/>
                      </a:cubicBezTo>
                      <a:cubicBezTo>
                        <a:pt x="1020" y="269"/>
                        <a:pt x="1036" y="253"/>
                        <a:pt x="1036" y="237"/>
                      </a:cubicBezTo>
                      <a:lnTo>
                        <a:pt x="1036" y="237"/>
                      </a:lnTo>
                      <a:cubicBezTo>
                        <a:pt x="1028" y="229"/>
                        <a:pt x="1028" y="229"/>
                        <a:pt x="1020" y="229"/>
                      </a:cubicBezTo>
                      <a:cubicBezTo>
                        <a:pt x="1012" y="221"/>
                        <a:pt x="996" y="213"/>
                        <a:pt x="996" y="206"/>
                      </a:cubicBezTo>
                      <a:cubicBezTo>
                        <a:pt x="988" y="190"/>
                        <a:pt x="981" y="158"/>
                        <a:pt x="949" y="150"/>
                      </a:cubicBezTo>
                      <a:cubicBezTo>
                        <a:pt x="933" y="150"/>
                        <a:pt x="909" y="142"/>
                        <a:pt x="878" y="126"/>
                      </a:cubicBezTo>
                      <a:cubicBezTo>
                        <a:pt x="830" y="119"/>
                        <a:pt x="783" y="95"/>
                        <a:pt x="767" y="95"/>
                      </a:cubicBezTo>
                      <a:cubicBezTo>
                        <a:pt x="767" y="95"/>
                        <a:pt x="767" y="95"/>
                        <a:pt x="759" y="95"/>
                      </a:cubicBezTo>
                      <a:cubicBezTo>
                        <a:pt x="759" y="95"/>
                        <a:pt x="759" y="95"/>
                        <a:pt x="751" y="95"/>
                      </a:cubicBezTo>
                      <a:cubicBezTo>
                        <a:pt x="743" y="95"/>
                        <a:pt x="735" y="95"/>
                        <a:pt x="728" y="71"/>
                      </a:cubicBezTo>
                      <a:cubicBezTo>
                        <a:pt x="720" y="55"/>
                        <a:pt x="688" y="48"/>
                        <a:pt x="664" y="48"/>
                      </a:cubicBezTo>
                      <a:cubicBezTo>
                        <a:pt x="656" y="48"/>
                        <a:pt x="656" y="48"/>
                        <a:pt x="649" y="48"/>
                      </a:cubicBezTo>
                      <a:lnTo>
                        <a:pt x="641" y="48"/>
                      </a:lnTo>
                      <a:cubicBezTo>
                        <a:pt x="617" y="48"/>
                        <a:pt x="601" y="39"/>
                        <a:pt x="585" y="32"/>
                      </a:cubicBezTo>
                      <a:cubicBezTo>
                        <a:pt x="577" y="16"/>
                        <a:pt x="554" y="8"/>
                        <a:pt x="530" y="8"/>
                      </a:cubicBezTo>
                      <a:cubicBezTo>
                        <a:pt x="522" y="8"/>
                        <a:pt x="514" y="8"/>
                        <a:pt x="506" y="8"/>
                      </a:cubicBezTo>
                      <a:cubicBezTo>
                        <a:pt x="491" y="16"/>
                        <a:pt x="475" y="39"/>
                        <a:pt x="467" y="55"/>
                      </a:cubicBezTo>
                      <a:cubicBezTo>
                        <a:pt x="459" y="63"/>
                        <a:pt x="451" y="71"/>
                        <a:pt x="443" y="71"/>
                      </a:cubicBezTo>
                      <a:cubicBezTo>
                        <a:pt x="435" y="79"/>
                        <a:pt x="419" y="95"/>
                        <a:pt x="419" y="111"/>
                      </a:cubicBezTo>
                      <a:cubicBezTo>
                        <a:pt x="419" y="119"/>
                        <a:pt x="419" y="126"/>
                        <a:pt x="419" y="135"/>
                      </a:cubicBezTo>
                      <a:cubicBezTo>
                        <a:pt x="427" y="142"/>
                        <a:pt x="435" y="150"/>
                        <a:pt x="443" y="158"/>
                      </a:cubicBezTo>
                      <a:cubicBezTo>
                        <a:pt x="459" y="158"/>
                        <a:pt x="467" y="166"/>
                        <a:pt x="459" y="182"/>
                      </a:cubicBezTo>
                      <a:lnTo>
                        <a:pt x="459" y="182"/>
                      </a:lnTo>
                      <a:cubicBezTo>
                        <a:pt x="459" y="206"/>
                        <a:pt x="459" y="206"/>
                        <a:pt x="427" y="206"/>
                      </a:cubicBezTo>
                      <a:cubicBezTo>
                        <a:pt x="403" y="206"/>
                        <a:pt x="380" y="213"/>
                        <a:pt x="372" y="229"/>
                      </a:cubicBezTo>
                      <a:cubicBezTo>
                        <a:pt x="372" y="237"/>
                        <a:pt x="364" y="237"/>
                        <a:pt x="356" y="237"/>
                      </a:cubicBezTo>
                      <a:cubicBezTo>
                        <a:pt x="356" y="237"/>
                        <a:pt x="348" y="237"/>
                        <a:pt x="348" y="269"/>
                      </a:cubicBezTo>
                      <a:cubicBezTo>
                        <a:pt x="340" y="293"/>
                        <a:pt x="348" y="324"/>
                        <a:pt x="348" y="348"/>
                      </a:cubicBezTo>
                      <a:cubicBezTo>
                        <a:pt x="356" y="364"/>
                        <a:pt x="356" y="379"/>
                        <a:pt x="356" y="395"/>
                      </a:cubicBezTo>
                      <a:cubicBezTo>
                        <a:pt x="356" y="411"/>
                        <a:pt x="356" y="459"/>
                        <a:pt x="340" y="474"/>
                      </a:cubicBezTo>
                      <a:lnTo>
                        <a:pt x="332" y="474"/>
                      </a:lnTo>
                      <a:cubicBezTo>
                        <a:pt x="316" y="466"/>
                        <a:pt x="316" y="450"/>
                        <a:pt x="316" y="435"/>
                      </a:cubicBezTo>
                      <a:cubicBezTo>
                        <a:pt x="316" y="419"/>
                        <a:pt x="316" y="411"/>
                        <a:pt x="316" y="411"/>
                      </a:cubicBezTo>
                      <a:cubicBezTo>
                        <a:pt x="309" y="411"/>
                        <a:pt x="309" y="411"/>
                        <a:pt x="309" y="411"/>
                      </a:cubicBezTo>
                      <a:cubicBezTo>
                        <a:pt x="309" y="411"/>
                        <a:pt x="309" y="427"/>
                        <a:pt x="309" y="435"/>
                      </a:cubicBezTo>
                      <a:cubicBezTo>
                        <a:pt x="309" y="443"/>
                        <a:pt x="309" y="443"/>
                        <a:pt x="309" y="443"/>
                      </a:cubicBezTo>
                      <a:lnTo>
                        <a:pt x="309" y="450"/>
                      </a:lnTo>
                      <a:cubicBezTo>
                        <a:pt x="316" y="474"/>
                        <a:pt x="316" y="482"/>
                        <a:pt x="316" y="490"/>
                      </a:cubicBezTo>
                      <a:cubicBezTo>
                        <a:pt x="309" y="490"/>
                        <a:pt x="309" y="490"/>
                        <a:pt x="309" y="490"/>
                      </a:cubicBezTo>
                      <a:lnTo>
                        <a:pt x="301" y="482"/>
                      </a:lnTo>
                      <a:cubicBezTo>
                        <a:pt x="277" y="450"/>
                        <a:pt x="285" y="427"/>
                        <a:pt x="285" y="395"/>
                      </a:cubicBezTo>
                      <a:cubicBezTo>
                        <a:pt x="285" y="364"/>
                        <a:pt x="285" y="316"/>
                        <a:pt x="285" y="308"/>
                      </a:cubicBezTo>
                      <a:lnTo>
                        <a:pt x="277" y="308"/>
                      </a:lnTo>
                      <a:cubicBezTo>
                        <a:pt x="269" y="308"/>
                        <a:pt x="269" y="308"/>
                        <a:pt x="269" y="316"/>
                      </a:cubicBezTo>
                      <a:cubicBezTo>
                        <a:pt x="261" y="332"/>
                        <a:pt x="245" y="379"/>
                        <a:pt x="229" y="403"/>
                      </a:cubicBezTo>
                      <a:cubicBezTo>
                        <a:pt x="222" y="403"/>
                        <a:pt x="222" y="411"/>
                        <a:pt x="222" y="419"/>
                      </a:cubicBezTo>
                      <a:cubicBezTo>
                        <a:pt x="222" y="435"/>
                        <a:pt x="222" y="443"/>
                        <a:pt x="206" y="443"/>
                      </a:cubicBezTo>
                      <a:cubicBezTo>
                        <a:pt x="198" y="443"/>
                        <a:pt x="198" y="443"/>
                        <a:pt x="190" y="443"/>
                      </a:cubicBezTo>
                      <a:cubicBezTo>
                        <a:pt x="182" y="443"/>
                        <a:pt x="182" y="443"/>
                        <a:pt x="182" y="443"/>
                      </a:cubicBezTo>
                      <a:cubicBezTo>
                        <a:pt x="174" y="435"/>
                        <a:pt x="166" y="435"/>
                        <a:pt x="158" y="435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5" name="Freeform 641">
                  <a:extLst>
                    <a:ext uri="{FF2B5EF4-FFF2-40B4-BE49-F238E27FC236}">
                      <a16:creationId xmlns:a16="http://schemas.microsoft.com/office/drawing/2014/main" id="{99EADB5B-CF88-8243-A2F7-D7C7400B5B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2334" y="3985886"/>
                  <a:ext cx="1189805" cy="586784"/>
                </a:xfrm>
                <a:custGeom>
                  <a:avLst/>
                  <a:gdLst>
                    <a:gd name="T0" fmla="*/ 24 w 2263"/>
                    <a:gd name="T1" fmla="*/ 522 h 1116"/>
                    <a:gd name="T2" fmla="*/ 190 w 2263"/>
                    <a:gd name="T3" fmla="*/ 633 h 1116"/>
                    <a:gd name="T4" fmla="*/ 578 w 2263"/>
                    <a:gd name="T5" fmla="*/ 720 h 1116"/>
                    <a:gd name="T6" fmla="*/ 775 w 2263"/>
                    <a:gd name="T7" fmla="*/ 743 h 1116"/>
                    <a:gd name="T8" fmla="*/ 878 w 2263"/>
                    <a:gd name="T9" fmla="*/ 901 h 1116"/>
                    <a:gd name="T10" fmla="*/ 933 w 2263"/>
                    <a:gd name="T11" fmla="*/ 1028 h 1116"/>
                    <a:gd name="T12" fmla="*/ 973 w 2263"/>
                    <a:gd name="T13" fmla="*/ 1115 h 1116"/>
                    <a:gd name="T14" fmla="*/ 1044 w 2263"/>
                    <a:gd name="T15" fmla="*/ 988 h 1116"/>
                    <a:gd name="T16" fmla="*/ 1139 w 2263"/>
                    <a:gd name="T17" fmla="*/ 775 h 1116"/>
                    <a:gd name="T18" fmla="*/ 1218 w 2263"/>
                    <a:gd name="T19" fmla="*/ 751 h 1116"/>
                    <a:gd name="T20" fmla="*/ 1281 w 2263"/>
                    <a:gd name="T21" fmla="*/ 767 h 1116"/>
                    <a:gd name="T22" fmla="*/ 1265 w 2263"/>
                    <a:gd name="T23" fmla="*/ 830 h 1116"/>
                    <a:gd name="T24" fmla="*/ 1352 w 2263"/>
                    <a:gd name="T25" fmla="*/ 743 h 1116"/>
                    <a:gd name="T26" fmla="*/ 1526 w 2263"/>
                    <a:gd name="T27" fmla="*/ 641 h 1116"/>
                    <a:gd name="T28" fmla="*/ 1629 w 2263"/>
                    <a:gd name="T29" fmla="*/ 570 h 1116"/>
                    <a:gd name="T30" fmla="*/ 1740 w 2263"/>
                    <a:gd name="T31" fmla="*/ 585 h 1116"/>
                    <a:gd name="T32" fmla="*/ 1866 w 2263"/>
                    <a:gd name="T33" fmla="*/ 648 h 1116"/>
                    <a:gd name="T34" fmla="*/ 1937 w 2263"/>
                    <a:gd name="T35" fmla="*/ 577 h 1116"/>
                    <a:gd name="T36" fmla="*/ 2072 w 2263"/>
                    <a:gd name="T37" fmla="*/ 585 h 1116"/>
                    <a:gd name="T38" fmla="*/ 2159 w 2263"/>
                    <a:gd name="T39" fmla="*/ 577 h 1116"/>
                    <a:gd name="T40" fmla="*/ 2254 w 2263"/>
                    <a:gd name="T41" fmla="*/ 554 h 1116"/>
                    <a:gd name="T42" fmla="*/ 2198 w 2263"/>
                    <a:gd name="T43" fmla="*/ 522 h 1116"/>
                    <a:gd name="T44" fmla="*/ 2127 w 2263"/>
                    <a:gd name="T45" fmla="*/ 522 h 1116"/>
                    <a:gd name="T46" fmla="*/ 2024 w 2263"/>
                    <a:gd name="T47" fmla="*/ 435 h 1116"/>
                    <a:gd name="T48" fmla="*/ 1929 w 2263"/>
                    <a:gd name="T49" fmla="*/ 372 h 1116"/>
                    <a:gd name="T50" fmla="*/ 1795 w 2263"/>
                    <a:gd name="T51" fmla="*/ 364 h 1116"/>
                    <a:gd name="T52" fmla="*/ 1724 w 2263"/>
                    <a:gd name="T53" fmla="*/ 230 h 1116"/>
                    <a:gd name="T54" fmla="*/ 1503 w 2263"/>
                    <a:gd name="T55" fmla="*/ 301 h 1116"/>
                    <a:gd name="T56" fmla="*/ 1218 w 2263"/>
                    <a:gd name="T57" fmla="*/ 443 h 1116"/>
                    <a:gd name="T58" fmla="*/ 1099 w 2263"/>
                    <a:gd name="T59" fmla="*/ 411 h 1116"/>
                    <a:gd name="T60" fmla="*/ 933 w 2263"/>
                    <a:gd name="T61" fmla="*/ 380 h 1116"/>
                    <a:gd name="T62" fmla="*/ 728 w 2263"/>
                    <a:gd name="T63" fmla="*/ 269 h 1116"/>
                    <a:gd name="T64" fmla="*/ 625 w 2263"/>
                    <a:gd name="T65" fmla="*/ 340 h 1116"/>
                    <a:gd name="T66" fmla="*/ 696 w 2263"/>
                    <a:gd name="T67" fmla="*/ 143 h 1116"/>
                    <a:gd name="T68" fmla="*/ 791 w 2263"/>
                    <a:gd name="T69" fmla="*/ 56 h 1116"/>
                    <a:gd name="T70" fmla="*/ 672 w 2263"/>
                    <a:gd name="T71" fmla="*/ 32 h 1116"/>
                    <a:gd name="T72" fmla="*/ 546 w 2263"/>
                    <a:gd name="T73" fmla="*/ 174 h 1116"/>
                    <a:gd name="T74" fmla="*/ 514 w 2263"/>
                    <a:gd name="T75" fmla="*/ 158 h 1116"/>
                    <a:gd name="T76" fmla="*/ 435 w 2263"/>
                    <a:gd name="T77" fmla="*/ 261 h 1116"/>
                    <a:gd name="T78" fmla="*/ 269 w 2263"/>
                    <a:gd name="T79" fmla="*/ 348 h 1116"/>
                    <a:gd name="T80" fmla="*/ 72 w 2263"/>
                    <a:gd name="T81" fmla="*/ 459 h 1116"/>
                    <a:gd name="T82" fmla="*/ 24 w 2263"/>
                    <a:gd name="T83" fmla="*/ 522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263" h="1116">
                      <a:moveTo>
                        <a:pt x="24" y="522"/>
                      </a:moveTo>
                      <a:lnTo>
                        <a:pt x="24" y="522"/>
                      </a:lnTo>
                      <a:cubicBezTo>
                        <a:pt x="56" y="538"/>
                        <a:pt x="80" y="577"/>
                        <a:pt x="88" y="593"/>
                      </a:cubicBezTo>
                      <a:cubicBezTo>
                        <a:pt x="103" y="617"/>
                        <a:pt x="119" y="633"/>
                        <a:pt x="190" y="633"/>
                      </a:cubicBezTo>
                      <a:cubicBezTo>
                        <a:pt x="261" y="633"/>
                        <a:pt x="459" y="656"/>
                        <a:pt x="491" y="688"/>
                      </a:cubicBezTo>
                      <a:cubicBezTo>
                        <a:pt x="530" y="720"/>
                        <a:pt x="522" y="736"/>
                        <a:pt x="578" y="720"/>
                      </a:cubicBezTo>
                      <a:cubicBezTo>
                        <a:pt x="633" y="704"/>
                        <a:pt x="649" y="680"/>
                        <a:pt x="672" y="704"/>
                      </a:cubicBezTo>
                      <a:cubicBezTo>
                        <a:pt x="696" y="736"/>
                        <a:pt x="775" y="704"/>
                        <a:pt x="775" y="743"/>
                      </a:cubicBezTo>
                      <a:cubicBezTo>
                        <a:pt x="783" y="783"/>
                        <a:pt x="783" y="807"/>
                        <a:pt x="807" y="807"/>
                      </a:cubicBezTo>
                      <a:cubicBezTo>
                        <a:pt x="823" y="814"/>
                        <a:pt x="878" y="823"/>
                        <a:pt x="878" y="901"/>
                      </a:cubicBezTo>
                      <a:cubicBezTo>
                        <a:pt x="878" y="981"/>
                        <a:pt x="846" y="988"/>
                        <a:pt x="878" y="996"/>
                      </a:cubicBezTo>
                      <a:cubicBezTo>
                        <a:pt x="910" y="1004"/>
                        <a:pt x="933" y="996"/>
                        <a:pt x="933" y="1028"/>
                      </a:cubicBezTo>
                      <a:cubicBezTo>
                        <a:pt x="933" y="1060"/>
                        <a:pt x="933" y="1099"/>
                        <a:pt x="965" y="1115"/>
                      </a:cubicBezTo>
                      <a:cubicBezTo>
                        <a:pt x="973" y="1115"/>
                        <a:pt x="973" y="1115"/>
                        <a:pt x="973" y="1115"/>
                      </a:cubicBezTo>
                      <a:cubicBezTo>
                        <a:pt x="981" y="1099"/>
                        <a:pt x="981" y="1083"/>
                        <a:pt x="997" y="1067"/>
                      </a:cubicBezTo>
                      <a:cubicBezTo>
                        <a:pt x="1020" y="1028"/>
                        <a:pt x="1044" y="1004"/>
                        <a:pt x="1044" y="988"/>
                      </a:cubicBezTo>
                      <a:cubicBezTo>
                        <a:pt x="1044" y="965"/>
                        <a:pt x="1115" y="830"/>
                        <a:pt x="1115" y="799"/>
                      </a:cubicBezTo>
                      <a:cubicBezTo>
                        <a:pt x="1115" y="775"/>
                        <a:pt x="1131" y="751"/>
                        <a:pt x="1139" y="775"/>
                      </a:cubicBezTo>
                      <a:cubicBezTo>
                        <a:pt x="1147" y="791"/>
                        <a:pt x="1139" y="823"/>
                        <a:pt x="1163" y="807"/>
                      </a:cubicBezTo>
                      <a:cubicBezTo>
                        <a:pt x="1194" y="791"/>
                        <a:pt x="1194" y="767"/>
                        <a:pt x="1218" y="751"/>
                      </a:cubicBezTo>
                      <a:cubicBezTo>
                        <a:pt x="1242" y="727"/>
                        <a:pt x="1250" y="704"/>
                        <a:pt x="1265" y="720"/>
                      </a:cubicBezTo>
                      <a:cubicBezTo>
                        <a:pt x="1281" y="736"/>
                        <a:pt x="1305" y="743"/>
                        <a:pt x="1281" y="767"/>
                      </a:cubicBezTo>
                      <a:cubicBezTo>
                        <a:pt x="1258" y="783"/>
                        <a:pt x="1234" y="799"/>
                        <a:pt x="1242" y="814"/>
                      </a:cubicBezTo>
                      <a:cubicBezTo>
                        <a:pt x="1242" y="830"/>
                        <a:pt x="1250" y="854"/>
                        <a:pt x="1265" y="830"/>
                      </a:cubicBezTo>
                      <a:cubicBezTo>
                        <a:pt x="1273" y="807"/>
                        <a:pt x="1281" y="791"/>
                        <a:pt x="1297" y="783"/>
                      </a:cubicBezTo>
                      <a:cubicBezTo>
                        <a:pt x="1321" y="767"/>
                        <a:pt x="1352" y="759"/>
                        <a:pt x="1352" y="743"/>
                      </a:cubicBezTo>
                      <a:cubicBezTo>
                        <a:pt x="1352" y="720"/>
                        <a:pt x="1368" y="664"/>
                        <a:pt x="1416" y="664"/>
                      </a:cubicBezTo>
                      <a:cubicBezTo>
                        <a:pt x="1471" y="656"/>
                        <a:pt x="1487" y="648"/>
                        <a:pt x="1526" y="641"/>
                      </a:cubicBezTo>
                      <a:cubicBezTo>
                        <a:pt x="1566" y="641"/>
                        <a:pt x="1582" y="641"/>
                        <a:pt x="1589" y="617"/>
                      </a:cubicBezTo>
                      <a:cubicBezTo>
                        <a:pt x="1589" y="585"/>
                        <a:pt x="1605" y="570"/>
                        <a:pt x="1629" y="570"/>
                      </a:cubicBezTo>
                      <a:cubicBezTo>
                        <a:pt x="1653" y="570"/>
                        <a:pt x="1637" y="577"/>
                        <a:pt x="1669" y="577"/>
                      </a:cubicBezTo>
                      <a:cubicBezTo>
                        <a:pt x="1700" y="577"/>
                        <a:pt x="1708" y="577"/>
                        <a:pt x="1740" y="585"/>
                      </a:cubicBezTo>
                      <a:cubicBezTo>
                        <a:pt x="1771" y="593"/>
                        <a:pt x="1771" y="585"/>
                        <a:pt x="1803" y="617"/>
                      </a:cubicBezTo>
                      <a:cubicBezTo>
                        <a:pt x="1842" y="641"/>
                        <a:pt x="1835" y="664"/>
                        <a:pt x="1866" y="648"/>
                      </a:cubicBezTo>
                      <a:cubicBezTo>
                        <a:pt x="1890" y="633"/>
                        <a:pt x="1874" y="617"/>
                        <a:pt x="1890" y="601"/>
                      </a:cubicBezTo>
                      <a:cubicBezTo>
                        <a:pt x="1898" y="577"/>
                        <a:pt x="1914" y="570"/>
                        <a:pt x="1937" y="577"/>
                      </a:cubicBezTo>
                      <a:cubicBezTo>
                        <a:pt x="1945" y="585"/>
                        <a:pt x="1985" y="585"/>
                        <a:pt x="2016" y="585"/>
                      </a:cubicBezTo>
                      <a:cubicBezTo>
                        <a:pt x="2040" y="585"/>
                        <a:pt x="2064" y="577"/>
                        <a:pt x="2072" y="585"/>
                      </a:cubicBezTo>
                      <a:cubicBezTo>
                        <a:pt x="2088" y="585"/>
                        <a:pt x="2135" y="577"/>
                        <a:pt x="2135" y="577"/>
                      </a:cubicBezTo>
                      <a:cubicBezTo>
                        <a:pt x="2143" y="577"/>
                        <a:pt x="2135" y="577"/>
                        <a:pt x="2159" y="577"/>
                      </a:cubicBezTo>
                      <a:cubicBezTo>
                        <a:pt x="2182" y="577"/>
                        <a:pt x="2182" y="577"/>
                        <a:pt x="2214" y="585"/>
                      </a:cubicBezTo>
                      <a:cubicBezTo>
                        <a:pt x="2254" y="585"/>
                        <a:pt x="2254" y="577"/>
                        <a:pt x="2254" y="554"/>
                      </a:cubicBezTo>
                      <a:cubicBezTo>
                        <a:pt x="2262" y="538"/>
                        <a:pt x="2254" y="506"/>
                        <a:pt x="2238" y="506"/>
                      </a:cubicBezTo>
                      <a:cubicBezTo>
                        <a:pt x="2222" y="498"/>
                        <a:pt x="2214" y="506"/>
                        <a:pt x="2198" y="522"/>
                      </a:cubicBezTo>
                      <a:cubicBezTo>
                        <a:pt x="2182" y="538"/>
                        <a:pt x="2175" y="561"/>
                        <a:pt x="2159" y="546"/>
                      </a:cubicBezTo>
                      <a:cubicBezTo>
                        <a:pt x="2135" y="538"/>
                        <a:pt x="2135" y="522"/>
                        <a:pt x="2127" y="522"/>
                      </a:cubicBezTo>
                      <a:cubicBezTo>
                        <a:pt x="2111" y="522"/>
                        <a:pt x="2080" y="498"/>
                        <a:pt x="2064" y="483"/>
                      </a:cubicBezTo>
                      <a:cubicBezTo>
                        <a:pt x="2040" y="467"/>
                        <a:pt x="2032" y="459"/>
                        <a:pt x="2024" y="435"/>
                      </a:cubicBezTo>
                      <a:cubicBezTo>
                        <a:pt x="2024" y="411"/>
                        <a:pt x="2024" y="364"/>
                        <a:pt x="2001" y="364"/>
                      </a:cubicBezTo>
                      <a:cubicBezTo>
                        <a:pt x="1977" y="364"/>
                        <a:pt x="1945" y="364"/>
                        <a:pt x="1929" y="372"/>
                      </a:cubicBezTo>
                      <a:cubicBezTo>
                        <a:pt x="1914" y="380"/>
                        <a:pt x="1866" y="372"/>
                        <a:pt x="1851" y="372"/>
                      </a:cubicBezTo>
                      <a:cubicBezTo>
                        <a:pt x="1842" y="364"/>
                        <a:pt x="1835" y="364"/>
                        <a:pt x="1795" y="364"/>
                      </a:cubicBezTo>
                      <a:cubicBezTo>
                        <a:pt x="1756" y="372"/>
                        <a:pt x="1740" y="348"/>
                        <a:pt x="1740" y="293"/>
                      </a:cubicBezTo>
                      <a:cubicBezTo>
                        <a:pt x="1740" y="237"/>
                        <a:pt x="1756" y="230"/>
                        <a:pt x="1724" y="230"/>
                      </a:cubicBezTo>
                      <a:cubicBezTo>
                        <a:pt x="1700" y="237"/>
                        <a:pt x="1661" y="253"/>
                        <a:pt x="1637" y="269"/>
                      </a:cubicBezTo>
                      <a:cubicBezTo>
                        <a:pt x="1613" y="285"/>
                        <a:pt x="1574" y="309"/>
                        <a:pt x="1503" y="301"/>
                      </a:cubicBezTo>
                      <a:cubicBezTo>
                        <a:pt x="1431" y="293"/>
                        <a:pt x="1321" y="348"/>
                        <a:pt x="1289" y="388"/>
                      </a:cubicBezTo>
                      <a:cubicBezTo>
                        <a:pt x="1265" y="427"/>
                        <a:pt x="1250" y="443"/>
                        <a:pt x="1218" y="443"/>
                      </a:cubicBezTo>
                      <a:cubicBezTo>
                        <a:pt x="1194" y="443"/>
                        <a:pt x="1139" y="451"/>
                        <a:pt x="1131" y="435"/>
                      </a:cubicBezTo>
                      <a:cubicBezTo>
                        <a:pt x="1131" y="411"/>
                        <a:pt x="1123" y="403"/>
                        <a:pt x="1099" y="411"/>
                      </a:cubicBezTo>
                      <a:cubicBezTo>
                        <a:pt x="1076" y="427"/>
                        <a:pt x="1036" y="459"/>
                        <a:pt x="1020" y="451"/>
                      </a:cubicBezTo>
                      <a:cubicBezTo>
                        <a:pt x="997" y="435"/>
                        <a:pt x="957" y="427"/>
                        <a:pt x="933" y="380"/>
                      </a:cubicBezTo>
                      <a:cubicBezTo>
                        <a:pt x="918" y="340"/>
                        <a:pt x="854" y="309"/>
                        <a:pt x="831" y="293"/>
                      </a:cubicBezTo>
                      <a:cubicBezTo>
                        <a:pt x="815" y="269"/>
                        <a:pt x="752" y="261"/>
                        <a:pt x="728" y="269"/>
                      </a:cubicBezTo>
                      <a:cubicBezTo>
                        <a:pt x="704" y="277"/>
                        <a:pt x="665" y="285"/>
                        <a:pt x="649" y="309"/>
                      </a:cubicBezTo>
                      <a:cubicBezTo>
                        <a:pt x="633" y="324"/>
                        <a:pt x="625" y="372"/>
                        <a:pt x="625" y="340"/>
                      </a:cubicBezTo>
                      <a:cubicBezTo>
                        <a:pt x="617" y="309"/>
                        <a:pt x="601" y="285"/>
                        <a:pt x="625" y="253"/>
                      </a:cubicBezTo>
                      <a:cubicBezTo>
                        <a:pt x="649" y="222"/>
                        <a:pt x="665" y="174"/>
                        <a:pt x="696" y="143"/>
                      </a:cubicBezTo>
                      <a:cubicBezTo>
                        <a:pt x="728" y="111"/>
                        <a:pt x="744" y="79"/>
                        <a:pt x="759" y="71"/>
                      </a:cubicBezTo>
                      <a:cubicBezTo>
                        <a:pt x="767" y="56"/>
                        <a:pt x="752" y="56"/>
                        <a:pt x="791" y="56"/>
                      </a:cubicBezTo>
                      <a:cubicBezTo>
                        <a:pt x="831" y="56"/>
                        <a:pt x="831" y="32"/>
                        <a:pt x="815" y="16"/>
                      </a:cubicBezTo>
                      <a:cubicBezTo>
                        <a:pt x="799" y="8"/>
                        <a:pt x="704" y="0"/>
                        <a:pt x="672" y="32"/>
                      </a:cubicBezTo>
                      <a:cubicBezTo>
                        <a:pt x="633" y="56"/>
                        <a:pt x="586" y="87"/>
                        <a:pt x="570" y="119"/>
                      </a:cubicBezTo>
                      <a:cubicBezTo>
                        <a:pt x="554" y="150"/>
                        <a:pt x="554" y="166"/>
                        <a:pt x="546" y="174"/>
                      </a:cubicBezTo>
                      <a:cubicBezTo>
                        <a:pt x="538" y="190"/>
                        <a:pt x="538" y="182"/>
                        <a:pt x="530" y="166"/>
                      </a:cubicBezTo>
                      <a:cubicBezTo>
                        <a:pt x="522" y="150"/>
                        <a:pt x="522" y="143"/>
                        <a:pt x="514" y="158"/>
                      </a:cubicBezTo>
                      <a:cubicBezTo>
                        <a:pt x="506" y="174"/>
                        <a:pt x="483" y="198"/>
                        <a:pt x="459" y="222"/>
                      </a:cubicBezTo>
                      <a:cubicBezTo>
                        <a:pt x="443" y="245"/>
                        <a:pt x="475" y="245"/>
                        <a:pt x="435" y="261"/>
                      </a:cubicBezTo>
                      <a:cubicBezTo>
                        <a:pt x="388" y="285"/>
                        <a:pt x="356" y="301"/>
                        <a:pt x="325" y="324"/>
                      </a:cubicBezTo>
                      <a:cubicBezTo>
                        <a:pt x="293" y="348"/>
                        <a:pt x="293" y="356"/>
                        <a:pt x="269" y="348"/>
                      </a:cubicBezTo>
                      <a:cubicBezTo>
                        <a:pt x="246" y="348"/>
                        <a:pt x="222" y="348"/>
                        <a:pt x="198" y="364"/>
                      </a:cubicBezTo>
                      <a:cubicBezTo>
                        <a:pt x="175" y="372"/>
                        <a:pt x="103" y="419"/>
                        <a:pt x="72" y="459"/>
                      </a:cubicBezTo>
                      <a:cubicBezTo>
                        <a:pt x="48" y="490"/>
                        <a:pt x="32" y="498"/>
                        <a:pt x="0" y="498"/>
                      </a:cubicBezTo>
                      <a:cubicBezTo>
                        <a:pt x="8" y="506"/>
                        <a:pt x="16" y="514"/>
                        <a:pt x="24" y="5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6" name="Freeform 642">
                  <a:extLst>
                    <a:ext uri="{FF2B5EF4-FFF2-40B4-BE49-F238E27FC236}">
                      <a16:creationId xmlns:a16="http://schemas.microsoft.com/office/drawing/2014/main" id="{FE0610B0-30F8-9A4E-8901-55042225B6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0015" y="3990525"/>
                  <a:ext cx="1194442" cy="586784"/>
                </a:xfrm>
                <a:custGeom>
                  <a:avLst/>
                  <a:gdLst>
                    <a:gd name="T0" fmla="*/ 940 w 2270"/>
                    <a:gd name="T1" fmla="*/ 1020 h 1116"/>
                    <a:gd name="T2" fmla="*/ 814 w 2270"/>
                    <a:gd name="T3" fmla="*/ 806 h 1116"/>
                    <a:gd name="T4" fmla="*/ 664 w 2270"/>
                    <a:gd name="T5" fmla="*/ 688 h 1116"/>
                    <a:gd name="T6" fmla="*/ 197 w 2270"/>
                    <a:gd name="T7" fmla="*/ 633 h 1116"/>
                    <a:gd name="T8" fmla="*/ 0 w 2270"/>
                    <a:gd name="T9" fmla="*/ 482 h 1116"/>
                    <a:gd name="T10" fmla="*/ 284 w 2270"/>
                    <a:gd name="T11" fmla="*/ 340 h 1116"/>
                    <a:gd name="T12" fmla="*/ 466 w 2270"/>
                    <a:gd name="T13" fmla="*/ 214 h 1116"/>
                    <a:gd name="T14" fmla="*/ 545 w 2270"/>
                    <a:gd name="T15" fmla="*/ 174 h 1116"/>
                    <a:gd name="T16" fmla="*/ 766 w 2270"/>
                    <a:gd name="T17" fmla="*/ 0 h 1116"/>
                    <a:gd name="T18" fmla="*/ 751 w 2270"/>
                    <a:gd name="T19" fmla="*/ 79 h 1116"/>
                    <a:gd name="T20" fmla="*/ 632 w 2270"/>
                    <a:gd name="T21" fmla="*/ 340 h 1116"/>
                    <a:gd name="T22" fmla="*/ 838 w 2270"/>
                    <a:gd name="T23" fmla="*/ 285 h 1116"/>
                    <a:gd name="T24" fmla="*/ 1083 w 2270"/>
                    <a:gd name="T25" fmla="*/ 419 h 1116"/>
                    <a:gd name="T26" fmla="*/ 1296 w 2270"/>
                    <a:gd name="T27" fmla="*/ 372 h 1116"/>
                    <a:gd name="T28" fmla="*/ 1644 w 2270"/>
                    <a:gd name="T29" fmla="*/ 253 h 1116"/>
                    <a:gd name="T30" fmla="*/ 1763 w 2270"/>
                    <a:gd name="T31" fmla="*/ 348 h 1116"/>
                    <a:gd name="T32" fmla="*/ 1936 w 2270"/>
                    <a:gd name="T33" fmla="*/ 364 h 1116"/>
                    <a:gd name="T34" fmla="*/ 2071 w 2270"/>
                    <a:gd name="T35" fmla="*/ 467 h 1116"/>
                    <a:gd name="T36" fmla="*/ 2189 w 2270"/>
                    <a:gd name="T37" fmla="*/ 522 h 1116"/>
                    <a:gd name="T38" fmla="*/ 2261 w 2270"/>
                    <a:gd name="T39" fmla="*/ 553 h 1116"/>
                    <a:gd name="T40" fmla="*/ 2142 w 2270"/>
                    <a:gd name="T41" fmla="*/ 577 h 1116"/>
                    <a:gd name="T42" fmla="*/ 1992 w 2270"/>
                    <a:gd name="T43" fmla="*/ 577 h 1116"/>
                    <a:gd name="T44" fmla="*/ 1810 w 2270"/>
                    <a:gd name="T45" fmla="*/ 609 h 1116"/>
                    <a:gd name="T46" fmla="*/ 1660 w 2270"/>
                    <a:gd name="T47" fmla="*/ 569 h 1116"/>
                    <a:gd name="T48" fmla="*/ 1486 w 2270"/>
                    <a:gd name="T49" fmla="*/ 648 h 1116"/>
                    <a:gd name="T50" fmla="*/ 1272 w 2270"/>
                    <a:gd name="T51" fmla="*/ 822 h 1116"/>
                    <a:gd name="T52" fmla="*/ 1272 w 2270"/>
                    <a:gd name="T53" fmla="*/ 719 h 1116"/>
                    <a:gd name="T54" fmla="*/ 1170 w 2270"/>
                    <a:gd name="T55" fmla="*/ 799 h 1116"/>
                    <a:gd name="T56" fmla="*/ 1090 w 2270"/>
                    <a:gd name="T57" fmla="*/ 901 h 1116"/>
                    <a:gd name="T58" fmla="*/ 664 w 2270"/>
                    <a:gd name="T59" fmla="*/ 680 h 1116"/>
                    <a:gd name="T60" fmla="*/ 814 w 2270"/>
                    <a:gd name="T61" fmla="*/ 799 h 1116"/>
                    <a:gd name="T62" fmla="*/ 909 w 2270"/>
                    <a:gd name="T63" fmla="*/ 988 h 1116"/>
                    <a:gd name="T64" fmla="*/ 1019 w 2270"/>
                    <a:gd name="T65" fmla="*/ 1028 h 1116"/>
                    <a:gd name="T66" fmla="*/ 1154 w 2270"/>
                    <a:gd name="T67" fmla="*/ 783 h 1116"/>
                    <a:gd name="T68" fmla="*/ 1265 w 2270"/>
                    <a:gd name="T69" fmla="*/ 704 h 1116"/>
                    <a:gd name="T70" fmla="*/ 1249 w 2270"/>
                    <a:gd name="T71" fmla="*/ 806 h 1116"/>
                    <a:gd name="T72" fmla="*/ 1359 w 2270"/>
                    <a:gd name="T73" fmla="*/ 735 h 1116"/>
                    <a:gd name="T74" fmla="*/ 1636 w 2270"/>
                    <a:gd name="T75" fmla="*/ 562 h 1116"/>
                    <a:gd name="T76" fmla="*/ 1747 w 2270"/>
                    <a:gd name="T77" fmla="*/ 577 h 1116"/>
                    <a:gd name="T78" fmla="*/ 1889 w 2270"/>
                    <a:gd name="T79" fmla="*/ 609 h 1116"/>
                    <a:gd name="T80" fmla="*/ 2079 w 2270"/>
                    <a:gd name="T81" fmla="*/ 569 h 1116"/>
                    <a:gd name="T82" fmla="*/ 2229 w 2270"/>
                    <a:gd name="T83" fmla="*/ 569 h 1116"/>
                    <a:gd name="T84" fmla="*/ 2205 w 2270"/>
                    <a:gd name="T85" fmla="*/ 514 h 1116"/>
                    <a:gd name="T86" fmla="*/ 2079 w 2270"/>
                    <a:gd name="T87" fmla="*/ 490 h 1116"/>
                    <a:gd name="T88" fmla="*/ 1992 w 2270"/>
                    <a:gd name="T89" fmla="*/ 356 h 1116"/>
                    <a:gd name="T90" fmla="*/ 1763 w 2270"/>
                    <a:gd name="T91" fmla="*/ 348 h 1116"/>
                    <a:gd name="T92" fmla="*/ 1644 w 2270"/>
                    <a:gd name="T93" fmla="*/ 261 h 1116"/>
                    <a:gd name="T94" fmla="*/ 1225 w 2270"/>
                    <a:gd name="T95" fmla="*/ 443 h 1116"/>
                    <a:gd name="T96" fmla="*/ 1083 w 2270"/>
                    <a:gd name="T97" fmla="*/ 419 h 1116"/>
                    <a:gd name="T98" fmla="*/ 838 w 2270"/>
                    <a:gd name="T99" fmla="*/ 285 h 1116"/>
                    <a:gd name="T100" fmla="*/ 632 w 2270"/>
                    <a:gd name="T101" fmla="*/ 348 h 1116"/>
                    <a:gd name="T102" fmla="*/ 751 w 2270"/>
                    <a:gd name="T103" fmla="*/ 79 h 1116"/>
                    <a:gd name="T104" fmla="*/ 766 w 2270"/>
                    <a:gd name="T105" fmla="*/ 8 h 1116"/>
                    <a:gd name="T106" fmla="*/ 545 w 2270"/>
                    <a:gd name="T107" fmla="*/ 182 h 1116"/>
                    <a:gd name="T108" fmla="*/ 474 w 2270"/>
                    <a:gd name="T109" fmla="*/ 214 h 1116"/>
                    <a:gd name="T110" fmla="*/ 284 w 2270"/>
                    <a:gd name="T111" fmla="*/ 348 h 1116"/>
                    <a:gd name="T112" fmla="*/ 31 w 2270"/>
                    <a:gd name="T113" fmla="*/ 506 h 1116"/>
                    <a:gd name="T114" fmla="*/ 513 w 2270"/>
                    <a:gd name="T115" fmla="*/ 696 h 1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270" h="1116">
                      <a:moveTo>
                        <a:pt x="988" y="1115"/>
                      </a:moveTo>
                      <a:lnTo>
                        <a:pt x="988" y="1115"/>
                      </a:lnTo>
                      <a:cubicBezTo>
                        <a:pt x="980" y="1115"/>
                        <a:pt x="980" y="1115"/>
                        <a:pt x="980" y="1115"/>
                      </a:cubicBezTo>
                      <a:lnTo>
                        <a:pt x="972" y="1107"/>
                      </a:lnTo>
                      <a:cubicBezTo>
                        <a:pt x="940" y="1091"/>
                        <a:pt x="940" y="1059"/>
                        <a:pt x="940" y="1028"/>
                      </a:cubicBezTo>
                      <a:lnTo>
                        <a:pt x="940" y="1020"/>
                      </a:lnTo>
                      <a:cubicBezTo>
                        <a:pt x="940" y="1004"/>
                        <a:pt x="932" y="1004"/>
                        <a:pt x="909" y="996"/>
                      </a:cubicBezTo>
                      <a:cubicBezTo>
                        <a:pt x="901" y="996"/>
                        <a:pt x="893" y="996"/>
                        <a:pt x="885" y="996"/>
                      </a:cubicBezTo>
                      <a:cubicBezTo>
                        <a:pt x="877" y="988"/>
                        <a:pt x="869" y="988"/>
                        <a:pt x="869" y="988"/>
                      </a:cubicBezTo>
                      <a:cubicBezTo>
                        <a:pt x="861" y="980"/>
                        <a:pt x="869" y="973"/>
                        <a:pt x="869" y="965"/>
                      </a:cubicBezTo>
                      <a:cubicBezTo>
                        <a:pt x="877" y="957"/>
                        <a:pt x="885" y="933"/>
                        <a:pt x="885" y="893"/>
                      </a:cubicBezTo>
                      <a:cubicBezTo>
                        <a:pt x="885" y="815"/>
                        <a:pt x="838" y="806"/>
                        <a:pt x="814" y="806"/>
                      </a:cubicBezTo>
                      <a:lnTo>
                        <a:pt x="814" y="806"/>
                      </a:lnTo>
                      <a:cubicBezTo>
                        <a:pt x="790" y="799"/>
                        <a:pt x="790" y="783"/>
                        <a:pt x="782" y="743"/>
                      </a:cubicBezTo>
                      <a:cubicBezTo>
                        <a:pt x="782" y="735"/>
                        <a:pt x="782" y="735"/>
                        <a:pt x="782" y="735"/>
                      </a:cubicBezTo>
                      <a:cubicBezTo>
                        <a:pt x="782" y="719"/>
                        <a:pt x="759" y="712"/>
                        <a:pt x="727" y="712"/>
                      </a:cubicBezTo>
                      <a:cubicBezTo>
                        <a:pt x="711" y="712"/>
                        <a:pt x="687" y="712"/>
                        <a:pt x="679" y="704"/>
                      </a:cubicBezTo>
                      <a:cubicBezTo>
                        <a:pt x="672" y="696"/>
                        <a:pt x="664" y="688"/>
                        <a:pt x="664" y="688"/>
                      </a:cubicBezTo>
                      <a:cubicBezTo>
                        <a:pt x="656" y="688"/>
                        <a:pt x="648" y="696"/>
                        <a:pt x="632" y="696"/>
                      </a:cubicBezTo>
                      <a:cubicBezTo>
                        <a:pt x="624" y="704"/>
                        <a:pt x="608" y="712"/>
                        <a:pt x="585" y="712"/>
                      </a:cubicBezTo>
                      <a:cubicBezTo>
                        <a:pt x="569" y="719"/>
                        <a:pt x="561" y="719"/>
                        <a:pt x="553" y="719"/>
                      </a:cubicBezTo>
                      <a:cubicBezTo>
                        <a:pt x="529" y="719"/>
                        <a:pt x="521" y="712"/>
                        <a:pt x="513" y="696"/>
                      </a:cubicBezTo>
                      <a:cubicBezTo>
                        <a:pt x="506" y="696"/>
                        <a:pt x="506" y="688"/>
                        <a:pt x="498" y="680"/>
                      </a:cubicBezTo>
                      <a:cubicBezTo>
                        <a:pt x="466" y="648"/>
                        <a:pt x="268" y="633"/>
                        <a:pt x="197" y="633"/>
                      </a:cubicBezTo>
                      <a:cubicBezTo>
                        <a:pt x="126" y="633"/>
                        <a:pt x="110" y="609"/>
                        <a:pt x="95" y="593"/>
                      </a:cubicBezTo>
                      <a:lnTo>
                        <a:pt x="95" y="593"/>
                      </a:lnTo>
                      <a:cubicBezTo>
                        <a:pt x="95" y="585"/>
                        <a:pt x="87" y="577"/>
                        <a:pt x="87" y="577"/>
                      </a:cubicBezTo>
                      <a:cubicBezTo>
                        <a:pt x="71" y="553"/>
                        <a:pt x="55" y="530"/>
                        <a:pt x="31" y="514"/>
                      </a:cubicBezTo>
                      <a:cubicBezTo>
                        <a:pt x="23" y="506"/>
                        <a:pt x="15" y="498"/>
                        <a:pt x="7" y="490"/>
                      </a:cubicBezTo>
                      <a:cubicBezTo>
                        <a:pt x="0" y="482"/>
                        <a:pt x="0" y="482"/>
                        <a:pt x="0" y="482"/>
                      </a:cubicBezTo>
                      <a:cubicBezTo>
                        <a:pt x="7" y="482"/>
                        <a:pt x="7" y="482"/>
                        <a:pt x="7" y="482"/>
                      </a:cubicBezTo>
                      <a:cubicBezTo>
                        <a:pt x="39" y="482"/>
                        <a:pt x="55" y="482"/>
                        <a:pt x="79" y="443"/>
                      </a:cubicBezTo>
                      <a:cubicBezTo>
                        <a:pt x="102" y="411"/>
                        <a:pt x="182" y="364"/>
                        <a:pt x="205" y="348"/>
                      </a:cubicBezTo>
                      <a:cubicBezTo>
                        <a:pt x="221" y="340"/>
                        <a:pt x="237" y="340"/>
                        <a:pt x="260" y="340"/>
                      </a:cubicBezTo>
                      <a:cubicBezTo>
                        <a:pt x="268" y="340"/>
                        <a:pt x="268" y="340"/>
                        <a:pt x="276" y="340"/>
                      </a:cubicBezTo>
                      <a:lnTo>
                        <a:pt x="284" y="340"/>
                      </a:lnTo>
                      <a:cubicBezTo>
                        <a:pt x="300" y="340"/>
                        <a:pt x="300" y="340"/>
                        <a:pt x="316" y="324"/>
                      </a:cubicBezTo>
                      <a:cubicBezTo>
                        <a:pt x="316" y="324"/>
                        <a:pt x="324" y="324"/>
                        <a:pt x="324" y="316"/>
                      </a:cubicBezTo>
                      <a:cubicBezTo>
                        <a:pt x="355" y="293"/>
                        <a:pt x="387" y="277"/>
                        <a:pt x="419" y="261"/>
                      </a:cubicBezTo>
                      <a:cubicBezTo>
                        <a:pt x="426" y="261"/>
                        <a:pt x="435" y="253"/>
                        <a:pt x="435" y="253"/>
                      </a:cubicBezTo>
                      <a:cubicBezTo>
                        <a:pt x="458" y="237"/>
                        <a:pt x="458" y="237"/>
                        <a:pt x="458" y="229"/>
                      </a:cubicBezTo>
                      <a:cubicBezTo>
                        <a:pt x="458" y="229"/>
                        <a:pt x="458" y="222"/>
                        <a:pt x="466" y="214"/>
                      </a:cubicBezTo>
                      <a:cubicBezTo>
                        <a:pt x="474" y="198"/>
                        <a:pt x="490" y="182"/>
                        <a:pt x="498" y="174"/>
                      </a:cubicBezTo>
                      <a:cubicBezTo>
                        <a:pt x="506" y="158"/>
                        <a:pt x="513" y="150"/>
                        <a:pt x="521" y="142"/>
                      </a:cubicBezTo>
                      <a:lnTo>
                        <a:pt x="529" y="135"/>
                      </a:lnTo>
                      <a:cubicBezTo>
                        <a:pt x="537" y="135"/>
                        <a:pt x="537" y="142"/>
                        <a:pt x="537" y="150"/>
                      </a:cubicBezTo>
                      <a:cubicBezTo>
                        <a:pt x="537" y="150"/>
                        <a:pt x="537" y="158"/>
                        <a:pt x="545" y="158"/>
                      </a:cubicBezTo>
                      <a:cubicBezTo>
                        <a:pt x="545" y="166"/>
                        <a:pt x="545" y="166"/>
                        <a:pt x="545" y="174"/>
                      </a:cubicBezTo>
                      <a:lnTo>
                        <a:pt x="553" y="166"/>
                      </a:lnTo>
                      <a:cubicBezTo>
                        <a:pt x="553" y="166"/>
                        <a:pt x="553" y="158"/>
                        <a:pt x="553" y="150"/>
                      </a:cubicBezTo>
                      <a:cubicBezTo>
                        <a:pt x="561" y="142"/>
                        <a:pt x="561" y="127"/>
                        <a:pt x="577" y="103"/>
                      </a:cubicBezTo>
                      <a:cubicBezTo>
                        <a:pt x="593" y="79"/>
                        <a:pt x="632" y="48"/>
                        <a:pt x="664" y="24"/>
                      </a:cubicBezTo>
                      <a:cubicBezTo>
                        <a:pt x="679" y="16"/>
                        <a:pt x="679" y="16"/>
                        <a:pt x="679" y="16"/>
                      </a:cubicBezTo>
                      <a:cubicBezTo>
                        <a:pt x="695" y="8"/>
                        <a:pt x="727" y="0"/>
                        <a:pt x="766" y="0"/>
                      </a:cubicBezTo>
                      <a:cubicBezTo>
                        <a:pt x="790" y="0"/>
                        <a:pt x="814" y="0"/>
                        <a:pt x="822" y="8"/>
                      </a:cubicBezTo>
                      <a:cubicBezTo>
                        <a:pt x="830" y="16"/>
                        <a:pt x="838" y="24"/>
                        <a:pt x="838" y="32"/>
                      </a:cubicBezTo>
                      <a:cubicBezTo>
                        <a:pt x="838" y="40"/>
                        <a:pt x="830" y="48"/>
                        <a:pt x="798" y="48"/>
                      </a:cubicBezTo>
                      <a:cubicBezTo>
                        <a:pt x="774" y="56"/>
                        <a:pt x="774" y="56"/>
                        <a:pt x="774" y="56"/>
                      </a:cubicBezTo>
                      <a:cubicBezTo>
                        <a:pt x="766" y="56"/>
                        <a:pt x="766" y="63"/>
                        <a:pt x="766" y="63"/>
                      </a:cubicBezTo>
                      <a:cubicBezTo>
                        <a:pt x="759" y="63"/>
                        <a:pt x="759" y="71"/>
                        <a:pt x="751" y="79"/>
                      </a:cubicBezTo>
                      <a:cubicBezTo>
                        <a:pt x="743" y="95"/>
                        <a:pt x="727" y="119"/>
                        <a:pt x="703" y="142"/>
                      </a:cubicBezTo>
                      <a:cubicBezTo>
                        <a:pt x="687" y="158"/>
                        <a:pt x="672" y="182"/>
                        <a:pt x="664" y="206"/>
                      </a:cubicBezTo>
                      <a:cubicBezTo>
                        <a:pt x="656" y="222"/>
                        <a:pt x="648" y="237"/>
                        <a:pt x="632" y="253"/>
                      </a:cubicBezTo>
                      <a:cubicBezTo>
                        <a:pt x="616" y="269"/>
                        <a:pt x="624" y="285"/>
                        <a:pt x="624" y="309"/>
                      </a:cubicBezTo>
                      <a:cubicBezTo>
                        <a:pt x="632" y="316"/>
                        <a:pt x="632" y="324"/>
                        <a:pt x="632" y="332"/>
                      </a:cubicBezTo>
                      <a:cubicBezTo>
                        <a:pt x="632" y="332"/>
                        <a:pt x="632" y="332"/>
                        <a:pt x="632" y="340"/>
                      </a:cubicBezTo>
                      <a:cubicBezTo>
                        <a:pt x="632" y="332"/>
                        <a:pt x="640" y="332"/>
                        <a:pt x="640" y="324"/>
                      </a:cubicBezTo>
                      <a:cubicBezTo>
                        <a:pt x="640" y="316"/>
                        <a:pt x="648" y="301"/>
                        <a:pt x="648" y="293"/>
                      </a:cubicBezTo>
                      <a:cubicBezTo>
                        <a:pt x="664" y="277"/>
                        <a:pt x="687" y="269"/>
                        <a:pt x="711" y="269"/>
                      </a:cubicBezTo>
                      <a:cubicBezTo>
                        <a:pt x="719" y="261"/>
                        <a:pt x="727" y="261"/>
                        <a:pt x="735" y="261"/>
                      </a:cubicBezTo>
                      <a:cubicBezTo>
                        <a:pt x="743" y="261"/>
                        <a:pt x="751" y="253"/>
                        <a:pt x="759" y="253"/>
                      </a:cubicBezTo>
                      <a:cubicBezTo>
                        <a:pt x="790" y="253"/>
                        <a:pt x="822" y="261"/>
                        <a:pt x="838" y="285"/>
                      </a:cubicBezTo>
                      <a:cubicBezTo>
                        <a:pt x="846" y="285"/>
                        <a:pt x="861" y="293"/>
                        <a:pt x="869" y="301"/>
                      </a:cubicBezTo>
                      <a:cubicBezTo>
                        <a:pt x="901" y="324"/>
                        <a:pt x="932" y="340"/>
                        <a:pt x="948" y="372"/>
                      </a:cubicBezTo>
                      <a:cubicBezTo>
                        <a:pt x="964" y="403"/>
                        <a:pt x="996" y="419"/>
                        <a:pt x="1019" y="427"/>
                      </a:cubicBezTo>
                      <a:cubicBezTo>
                        <a:pt x="1019" y="435"/>
                        <a:pt x="1019" y="435"/>
                        <a:pt x="1027" y="435"/>
                      </a:cubicBezTo>
                      <a:cubicBezTo>
                        <a:pt x="1027" y="435"/>
                        <a:pt x="1027" y="435"/>
                        <a:pt x="1035" y="435"/>
                      </a:cubicBezTo>
                      <a:cubicBezTo>
                        <a:pt x="1043" y="435"/>
                        <a:pt x="1067" y="427"/>
                        <a:pt x="1083" y="419"/>
                      </a:cubicBezTo>
                      <a:cubicBezTo>
                        <a:pt x="1090" y="411"/>
                        <a:pt x="1099" y="403"/>
                        <a:pt x="1106" y="403"/>
                      </a:cubicBezTo>
                      <a:cubicBezTo>
                        <a:pt x="1130" y="395"/>
                        <a:pt x="1138" y="403"/>
                        <a:pt x="1146" y="427"/>
                      </a:cubicBezTo>
                      <a:cubicBezTo>
                        <a:pt x="1146" y="435"/>
                        <a:pt x="1154" y="435"/>
                        <a:pt x="1178" y="435"/>
                      </a:cubicBezTo>
                      <a:cubicBezTo>
                        <a:pt x="1185" y="435"/>
                        <a:pt x="1193" y="435"/>
                        <a:pt x="1201" y="435"/>
                      </a:cubicBezTo>
                      <a:cubicBezTo>
                        <a:pt x="1209" y="435"/>
                        <a:pt x="1217" y="435"/>
                        <a:pt x="1225" y="435"/>
                      </a:cubicBezTo>
                      <a:cubicBezTo>
                        <a:pt x="1257" y="435"/>
                        <a:pt x="1265" y="419"/>
                        <a:pt x="1296" y="372"/>
                      </a:cubicBezTo>
                      <a:cubicBezTo>
                        <a:pt x="1320" y="340"/>
                        <a:pt x="1423" y="293"/>
                        <a:pt x="1494" y="293"/>
                      </a:cubicBezTo>
                      <a:cubicBezTo>
                        <a:pt x="1502" y="293"/>
                        <a:pt x="1510" y="293"/>
                        <a:pt x="1510" y="293"/>
                      </a:cubicBezTo>
                      <a:cubicBezTo>
                        <a:pt x="1518" y="293"/>
                        <a:pt x="1525" y="293"/>
                        <a:pt x="1541" y="293"/>
                      </a:cubicBezTo>
                      <a:cubicBezTo>
                        <a:pt x="1581" y="293"/>
                        <a:pt x="1612" y="277"/>
                        <a:pt x="1628" y="261"/>
                      </a:cubicBezTo>
                      <a:cubicBezTo>
                        <a:pt x="1636" y="261"/>
                        <a:pt x="1636" y="261"/>
                        <a:pt x="1644" y="261"/>
                      </a:cubicBezTo>
                      <a:cubicBezTo>
                        <a:pt x="1644" y="253"/>
                        <a:pt x="1644" y="253"/>
                        <a:pt x="1644" y="253"/>
                      </a:cubicBezTo>
                      <a:cubicBezTo>
                        <a:pt x="1676" y="237"/>
                        <a:pt x="1707" y="222"/>
                        <a:pt x="1731" y="222"/>
                      </a:cubicBezTo>
                      <a:cubicBezTo>
                        <a:pt x="1739" y="222"/>
                        <a:pt x="1739" y="222"/>
                        <a:pt x="1739" y="222"/>
                      </a:cubicBezTo>
                      <a:cubicBezTo>
                        <a:pt x="1747" y="222"/>
                        <a:pt x="1747" y="222"/>
                        <a:pt x="1755" y="222"/>
                      </a:cubicBezTo>
                      <a:cubicBezTo>
                        <a:pt x="1755" y="229"/>
                        <a:pt x="1755" y="237"/>
                        <a:pt x="1755" y="253"/>
                      </a:cubicBezTo>
                      <a:cubicBezTo>
                        <a:pt x="1755" y="261"/>
                        <a:pt x="1755" y="269"/>
                        <a:pt x="1755" y="285"/>
                      </a:cubicBezTo>
                      <a:cubicBezTo>
                        <a:pt x="1755" y="316"/>
                        <a:pt x="1755" y="340"/>
                        <a:pt x="1763" y="348"/>
                      </a:cubicBezTo>
                      <a:cubicBezTo>
                        <a:pt x="1770" y="356"/>
                        <a:pt x="1786" y="356"/>
                        <a:pt x="1802" y="356"/>
                      </a:cubicBezTo>
                      <a:cubicBezTo>
                        <a:pt x="1810" y="356"/>
                        <a:pt x="1826" y="356"/>
                        <a:pt x="1834" y="356"/>
                      </a:cubicBezTo>
                      <a:cubicBezTo>
                        <a:pt x="1834" y="356"/>
                        <a:pt x="1842" y="356"/>
                        <a:pt x="1849" y="356"/>
                      </a:cubicBezTo>
                      <a:cubicBezTo>
                        <a:pt x="1849" y="356"/>
                        <a:pt x="1858" y="356"/>
                        <a:pt x="1865" y="356"/>
                      </a:cubicBezTo>
                      <a:cubicBezTo>
                        <a:pt x="1865" y="364"/>
                        <a:pt x="1889" y="364"/>
                        <a:pt x="1913" y="364"/>
                      </a:cubicBezTo>
                      <a:cubicBezTo>
                        <a:pt x="1921" y="364"/>
                        <a:pt x="1929" y="364"/>
                        <a:pt x="1936" y="364"/>
                      </a:cubicBezTo>
                      <a:cubicBezTo>
                        <a:pt x="1944" y="356"/>
                        <a:pt x="1968" y="348"/>
                        <a:pt x="1992" y="348"/>
                      </a:cubicBezTo>
                      <a:cubicBezTo>
                        <a:pt x="2000" y="348"/>
                        <a:pt x="2000" y="348"/>
                        <a:pt x="2008" y="348"/>
                      </a:cubicBezTo>
                      <a:cubicBezTo>
                        <a:pt x="2031" y="356"/>
                        <a:pt x="2031" y="380"/>
                        <a:pt x="2031" y="403"/>
                      </a:cubicBezTo>
                      <a:cubicBezTo>
                        <a:pt x="2031" y="411"/>
                        <a:pt x="2039" y="419"/>
                        <a:pt x="2039" y="427"/>
                      </a:cubicBezTo>
                      <a:cubicBezTo>
                        <a:pt x="2039" y="451"/>
                        <a:pt x="2047" y="451"/>
                        <a:pt x="2063" y="467"/>
                      </a:cubicBezTo>
                      <a:cubicBezTo>
                        <a:pt x="2063" y="467"/>
                        <a:pt x="2063" y="467"/>
                        <a:pt x="2071" y="467"/>
                      </a:cubicBezTo>
                      <a:cubicBezTo>
                        <a:pt x="2071" y="475"/>
                        <a:pt x="2079" y="475"/>
                        <a:pt x="2087" y="482"/>
                      </a:cubicBezTo>
                      <a:cubicBezTo>
                        <a:pt x="2102" y="498"/>
                        <a:pt x="2126" y="514"/>
                        <a:pt x="2134" y="514"/>
                      </a:cubicBezTo>
                      <a:cubicBezTo>
                        <a:pt x="2142" y="514"/>
                        <a:pt x="2142" y="514"/>
                        <a:pt x="2150" y="522"/>
                      </a:cubicBezTo>
                      <a:cubicBezTo>
                        <a:pt x="2158" y="530"/>
                        <a:pt x="2158" y="530"/>
                        <a:pt x="2166" y="538"/>
                      </a:cubicBezTo>
                      <a:cubicBezTo>
                        <a:pt x="2166" y="538"/>
                        <a:pt x="2166" y="538"/>
                        <a:pt x="2174" y="538"/>
                      </a:cubicBezTo>
                      <a:cubicBezTo>
                        <a:pt x="2174" y="538"/>
                        <a:pt x="2182" y="530"/>
                        <a:pt x="2189" y="522"/>
                      </a:cubicBezTo>
                      <a:cubicBezTo>
                        <a:pt x="2197" y="522"/>
                        <a:pt x="2197" y="514"/>
                        <a:pt x="2205" y="514"/>
                      </a:cubicBezTo>
                      <a:cubicBezTo>
                        <a:pt x="2221" y="498"/>
                        <a:pt x="2229" y="490"/>
                        <a:pt x="2237" y="490"/>
                      </a:cubicBezTo>
                      <a:cubicBezTo>
                        <a:pt x="2245" y="490"/>
                        <a:pt x="2245" y="490"/>
                        <a:pt x="2245" y="490"/>
                      </a:cubicBezTo>
                      <a:cubicBezTo>
                        <a:pt x="2253" y="490"/>
                        <a:pt x="2253" y="498"/>
                        <a:pt x="2261" y="498"/>
                      </a:cubicBezTo>
                      <a:cubicBezTo>
                        <a:pt x="2269" y="514"/>
                        <a:pt x="2269" y="538"/>
                        <a:pt x="2269" y="546"/>
                      </a:cubicBezTo>
                      <a:cubicBezTo>
                        <a:pt x="2269" y="553"/>
                        <a:pt x="2269" y="553"/>
                        <a:pt x="2261" y="553"/>
                      </a:cubicBezTo>
                      <a:cubicBezTo>
                        <a:pt x="2261" y="569"/>
                        <a:pt x="2261" y="577"/>
                        <a:pt x="2237" y="577"/>
                      </a:cubicBezTo>
                      <a:cubicBezTo>
                        <a:pt x="2237" y="577"/>
                        <a:pt x="2229" y="577"/>
                        <a:pt x="2221" y="577"/>
                      </a:cubicBezTo>
                      <a:cubicBezTo>
                        <a:pt x="2213" y="577"/>
                        <a:pt x="2205" y="577"/>
                        <a:pt x="2205" y="577"/>
                      </a:cubicBezTo>
                      <a:cubicBezTo>
                        <a:pt x="2189" y="569"/>
                        <a:pt x="2182" y="569"/>
                        <a:pt x="2166" y="569"/>
                      </a:cubicBezTo>
                      <a:cubicBezTo>
                        <a:pt x="2150" y="569"/>
                        <a:pt x="2150" y="569"/>
                        <a:pt x="2150" y="569"/>
                      </a:cubicBezTo>
                      <a:cubicBezTo>
                        <a:pt x="2150" y="577"/>
                        <a:pt x="2150" y="577"/>
                        <a:pt x="2142" y="577"/>
                      </a:cubicBezTo>
                      <a:cubicBezTo>
                        <a:pt x="2142" y="577"/>
                        <a:pt x="2142" y="577"/>
                        <a:pt x="2134" y="577"/>
                      </a:cubicBezTo>
                      <a:cubicBezTo>
                        <a:pt x="2126" y="577"/>
                        <a:pt x="2110" y="577"/>
                        <a:pt x="2095" y="577"/>
                      </a:cubicBezTo>
                      <a:cubicBezTo>
                        <a:pt x="2087" y="577"/>
                        <a:pt x="2079" y="577"/>
                        <a:pt x="2079" y="577"/>
                      </a:cubicBezTo>
                      <a:cubicBezTo>
                        <a:pt x="2071" y="577"/>
                        <a:pt x="2071" y="577"/>
                        <a:pt x="2063" y="577"/>
                      </a:cubicBezTo>
                      <a:cubicBezTo>
                        <a:pt x="2055" y="577"/>
                        <a:pt x="2039" y="577"/>
                        <a:pt x="2031" y="577"/>
                      </a:cubicBezTo>
                      <a:cubicBezTo>
                        <a:pt x="2016" y="577"/>
                        <a:pt x="2000" y="577"/>
                        <a:pt x="1992" y="577"/>
                      </a:cubicBezTo>
                      <a:cubicBezTo>
                        <a:pt x="1960" y="577"/>
                        <a:pt x="1944" y="577"/>
                        <a:pt x="1936" y="569"/>
                      </a:cubicBezTo>
                      <a:cubicBezTo>
                        <a:pt x="1921" y="562"/>
                        <a:pt x="1913" y="569"/>
                        <a:pt x="1897" y="593"/>
                      </a:cubicBezTo>
                      <a:cubicBezTo>
                        <a:pt x="1897" y="601"/>
                        <a:pt x="1889" y="609"/>
                        <a:pt x="1889" y="609"/>
                      </a:cubicBezTo>
                      <a:cubicBezTo>
                        <a:pt x="1889" y="625"/>
                        <a:pt x="1889" y="633"/>
                        <a:pt x="1873" y="640"/>
                      </a:cubicBezTo>
                      <a:cubicBezTo>
                        <a:pt x="1849" y="656"/>
                        <a:pt x="1849" y="648"/>
                        <a:pt x="1834" y="633"/>
                      </a:cubicBezTo>
                      <a:cubicBezTo>
                        <a:pt x="1826" y="625"/>
                        <a:pt x="1826" y="617"/>
                        <a:pt x="1810" y="609"/>
                      </a:cubicBezTo>
                      <a:cubicBezTo>
                        <a:pt x="1786" y="593"/>
                        <a:pt x="1778" y="585"/>
                        <a:pt x="1763" y="585"/>
                      </a:cubicBezTo>
                      <a:cubicBezTo>
                        <a:pt x="1763" y="585"/>
                        <a:pt x="1755" y="585"/>
                        <a:pt x="1747" y="585"/>
                      </a:cubicBezTo>
                      <a:cubicBezTo>
                        <a:pt x="1739" y="585"/>
                        <a:pt x="1731" y="577"/>
                        <a:pt x="1731" y="577"/>
                      </a:cubicBezTo>
                      <a:cubicBezTo>
                        <a:pt x="1715" y="577"/>
                        <a:pt x="1707" y="569"/>
                        <a:pt x="1691" y="569"/>
                      </a:cubicBezTo>
                      <a:cubicBezTo>
                        <a:pt x="1683" y="569"/>
                        <a:pt x="1676" y="569"/>
                        <a:pt x="1676" y="569"/>
                      </a:cubicBezTo>
                      <a:cubicBezTo>
                        <a:pt x="1668" y="569"/>
                        <a:pt x="1668" y="569"/>
                        <a:pt x="1660" y="569"/>
                      </a:cubicBezTo>
                      <a:cubicBezTo>
                        <a:pt x="1652" y="569"/>
                        <a:pt x="1652" y="569"/>
                        <a:pt x="1652" y="569"/>
                      </a:cubicBezTo>
                      <a:cubicBezTo>
                        <a:pt x="1644" y="569"/>
                        <a:pt x="1644" y="569"/>
                        <a:pt x="1636" y="569"/>
                      </a:cubicBezTo>
                      <a:cubicBezTo>
                        <a:pt x="1612" y="569"/>
                        <a:pt x="1605" y="577"/>
                        <a:pt x="1596" y="609"/>
                      </a:cubicBezTo>
                      <a:cubicBezTo>
                        <a:pt x="1596" y="633"/>
                        <a:pt x="1573" y="640"/>
                        <a:pt x="1541" y="640"/>
                      </a:cubicBezTo>
                      <a:cubicBezTo>
                        <a:pt x="1533" y="640"/>
                        <a:pt x="1533" y="640"/>
                        <a:pt x="1533" y="640"/>
                      </a:cubicBezTo>
                      <a:cubicBezTo>
                        <a:pt x="1518" y="640"/>
                        <a:pt x="1502" y="640"/>
                        <a:pt x="1486" y="648"/>
                      </a:cubicBezTo>
                      <a:cubicBezTo>
                        <a:pt x="1470" y="648"/>
                        <a:pt x="1454" y="656"/>
                        <a:pt x="1423" y="656"/>
                      </a:cubicBezTo>
                      <a:cubicBezTo>
                        <a:pt x="1375" y="656"/>
                        <a:pt x="1359" y="712"/>
                        <a:pt x="1359" y="735"/>
                      </a:cubicBezTo>
                      <a:cubicBezTo>
                        <a:pt x="1359" y="751"/>
                        <a:pt x="1343" y="759"/>
                        <a:pt x="1320" y="767"/>
                      </a:cubicBezTo>
                      <a:cubicBezTo>
                        <a:pt x="1320" y="775"/>
                        <a:pt x="1312" y="775"/>
                        <a:pt x="1312" y="775"/>
                      </a:cubicBezTo>
                      <a:cubicBezTo>
                        <a:pt x="1288" y="783"/>
                        <a:pt x="1288" y="799"/>
                        <a:pt x="1280" y="815"/>
                      </a:cubicBezTo>
                      <a:cubicBezTo>
                        <a:pt x="1272" y="815"/>
                        <a:pt x="1272" y="822"/>
                        <a:pt x="1272" y="822"/>
                      </a:cubicBezTo>
                      <a:cubicBezTo>
                        <a:pt x="1272" y="830"/>
                        <a:pt x="1265" y="838"/>
                        <a:pt x="1257" y="838"/>
                      </a:cubicBezTo>
                      <a:cubicBezTo>
                        <a:pt x="1249" y="838"/>
                        <a:pt x="1249" y="830"/>
                        <a:pt x="1241" y="806"/>
                      </a:cubicBezTo>
                      <a:cubicBezTo>
                        <a:pt x="1241" y="791"/>
                        <a:pt x="1249" y="783"/>
                        <a:pt x="1265" y="767"/>
                      </a:cubicBezTo>
                      <a:cubicBezTo>
                        <a:pt x="1272" y="767"/>
                        <a:pt x="1280" y="759"/>
                        <a:pt x="1288" y="759"/>
                      </a:cubicBezTo>
                      <a:cubicBezTo>
                        <a:pt x="1288" y="751"/>
                        <a:pt x="1296" y="743"/>
                        <a:pt x="1296" y="743"/>
                      </a:cubicBezTo>
                      <a:cubicBezTo>
                        <a:pt x="1296" y="735"/>
                        <a:pt x="1280" y="728"/>
                        <a:pt x="1272" y="719"/>
                      </a:cubicBezTo>
                      <a:lnTo>
                        <a:pt x="1272" y="719"/>
                      </a:lnTo>
                      <a:cubicBezTo>
                        <a:pt x="1265" y="712"/>
                        <a:pt x="1265" y="712"/>
                        <a:pt x="1265" y="712"/>
                      </a:cubicBezTo>
                      <a:cubicBezTo>
                        <a:pt x="1257" y="712"/>
                        <a:pt x="1249" y="719"/>
                        <a:pt x="1241" y="728"/>
                      </a:cubicBezTo>
                      <a:cubicBezTo>
                        <a:pt x="1241" y="735"/>
                        <a:pt x="1233" y="735"/>
                        <a:pt x="1225" y="743"/>
                      </a:cubicBezTo>
                      <a:cubicBezTo>
                        <a:pt x="1217" y="751"/>
                        <a:pt x="1217" y="759"/>
                        <a:pt x="1209" y="767"/>
                      </a:cubicBezTo>
                      <a:cubicBezTo>
                        <a:pt x="1201" y="775"/>
                        <a:pt x="1185" y="791"/>
                        <a:pt x="1170" y="799"/>
                      </a:cubicBezTo>
                      <a:lnTo>
                        <a:pt x="1162" y="806"/>
                      </a:lnTo>
                      <a:cubicBezTo>
                        <a:pt x="1146" y="806"/>
                        <a:pt x="1146" y="791"/>
                        <a:pt x="1146" y="783"/>
                      </a:cubicBezTo>
                      <a:cubicBezTo>
                        <a:pt x="1146" y="775"/>
                        <a:pt x="1146" y="767"/>
                        <a:pt x="1138" y="767"/>
                      </a:cubicBezTo>
                      <a:cubicBezTo>
                        <a:pt x="1138" y="759"/>
                        <a:pt x="1138" y="759"/>
                        <a:pt x="1138" y="759"/>
                      </a:cubicBezTo>
                      <a:cubicBezTo>
                        <a:pt x="1138" y="759"/>
                        <a:pt x="1130" y="775"/>
                        <a:pt x="1130" y="791"/>
                      </a:cubicBezTo>
                      <a:cubicBezTo>
                        <a:pt x="1130" y="806"/>
                        <a:pt x="1106" y="854"/>
                        <a:pt x="1090" y="901"/>
                      </a:cubicBezTo>
                      <a:cubicBezTo>
                        <a:pt x="1075" y="933"/>
                        <a:pt x="1059" y="973"/>
                        <a:pt x="1059" y="980"/>
                      </a:cubicBezTo>
                      <a:cubicBezTo>
                        <a:pt x="1059" y="988"/>
                        <a:pt x="1043" y="1012"/>
                        <a:pt x="1027" y="1028"/>
                      </a:cubicBezTo>
                      <a:cubicBezTo>
                        <a:pt x="1019" y="1036"/>
                        <a:pt x="1012" y="1052"/>
                        <a:pt x="1004" y="1059"/>
                      </a:cubicBezTo>
                      <a:cubicBezTo>
                        <a:pt x="996" y="1075"/>
                        <a:pt x="988" y="1091"/>
                        <a:pt x="988" y="1107"/>
                      </a:cubicBezTo>
                      <a:cubicBezTo>
                        <a:pt x="988" y="1115"/>
                        <a:pt x="988" y="1115"/>
                        <a:pt x="988" y="1115"/>
                      </a:cubicBezTo>
                      <a:lnTo>
                        <a:pt x="664" y="680"/>
                      </a:lnTo>
                      <a:lnTo>
                        <a:pt x="664" y="680"/>
                      </a:lnTo>
                      <a:cubicBezTo>
                        <a:pt x="672" y="680"/>
                        <a:pt x="679" y="688"/>
                        <a:pt x="679" y="696"/>
                      </a:cubicBezTo>
                      <a:cubicBezTo>
                        <a:pt x="687" y="704"/>
                        <a:pt x="711" y="704"/>
                        <a:pt x="727" y="704"/>
                      </a:cubicBezTo>
                      <a:cubicBezTo>
                        <a:pt x="759" y="712"/>
                        <a:pt x="790" y="712"/>
                        <a:pt x="790" y="735"/>
                      </a:cubicBezTo>
                      <a:cubicBezTo>
                        <a:pt x="790" y="743"/>
                        <a:pt x="790" y="743"/>
                        <a:pt x="790" y="743"/>
                      </a:cubicBezTo>
                      <a:cubicBezTo>
                        <a:pt x="798" y="783"/>
                        <a:pt x="798" y="791"/>
                        <a:pt x="814" y="799"/>
                      </a:cubicBezTo>
                      <a:lnTo>
                        <a:pt x="814" y="799"/>
                      </a:lnTo>
                      <a:cubicBezTo>
                        <a:pt x="838" y="799"/>
                        <a:pt x="893" y="815"/>
                        <a:pt x="893" y="893"/>
                      </a:cubicBezTo>
                      <a:cubicBezTo>
                        <a:pt x="893" y="933"/>
                        <a:pt x="885" y="957"/>
                        <a:pt x="877" y="973"/>
                      </a:cubicBezTo>
                      <a:cubicBezTo>
                        <a:pt x="877" y="973"/>
                        <a:pt x="869" y="980"/>
                        <a:pt x="877" y="980"/>
                      </a:cubicBezTo>
                      <a:cubicBezTo>
                        <a:pt x="877" y="988"/>
                        <a:pt x="885" y="988"/>
                        <a:pt x="885" y="988"/>
                      </a:cubicBezTo>
                      <a:cubicBezTo>
                        <a:pt x="893" y="988"/>
                        <a:pt x="901" y="988"/>
                        <a:pt x="909" y="988"/>
                      </a:cubicBezTo>
                      <a:cubicBezTo>
                        <a:pt x="932" y="996"/>
                        <a:pt x="948" y="996"/>
                        <a:pt x="948" y="1020"/>
                      </a:cubicBezTo>
                      <a:lnTo>
                        <a:pt x="948" y="1028"/>
                      </a:lnTo>
                      <a:cubicBezTo>
                        <a:pt x="948" y="1059"/>
                        <a:pt x="948" y="1091"/>
                        <a:pt x="972" y="1099"/>
                      </a:cubicBezTo>
                      <a:cubicBezTo>
                        <a:pt x="980" y="1099"/>
                        <a:pt x="980" y="1107"/>
                        <a:pt x="980" y="1107"/>
                      </a:cubicBezTo>
                      <a:cubicBezTo>
                        <a:pt x="980" y="1091"/>
                        <a:pt x="988" y="1075"/>
                        <a:pt x="996" y="1059"/>
                      </a:cubicBezTo>
                      <a:cubicBezTo>
                        <a:pt x="1004" y="1044"/>
                        <a:pt x="1012" y="1036"/>
                        <a:pt x="1019" y="1028"/>
                      </a:cubicBezTo>
                      <a:cubicBezTo>
                        <a:pt x="1035" y="1004"/>
                        <a:pt x="1051" y="988"/>
                        <a:pt x="1051" y="980"/>
                      </a:cubicBezTo>
                      <a:cubicBezTo>
                        <a:pt x="1051" y="973"/>
                        <a:pt x="1059" y="941"/>
                        <a:pt x="1083" y="893"/>
                      </a:cubicBezTo>
                      <a:cubicBezTo>
                        <a:pt x="1099" y="854"/>
                        <a:pt x="1122" y="806"/>
                        <a:pt x="1122" y="791"/>
                      </a:cubicBezTo>
                      <a:cubicBezTo>
                        <a:pt x="1122" y="775"/>
                        <a:pt x="1122" y="751"/>
                        <a:pt x="1138" y="751"/>
                      </a:cubicBezTo>
                      <a:lnTo>
                        <a:pt x="1146" y="759"/>
                      </a:lnTo>
                      <a:cubicBezTo>
                        <a:pt x="1146" y="767"/>
                        <a:pt x="1154" y="775"/>
                        <a:pt x="1154" y="783"/>
                      </a:cubicBezTo>
                      <a:cubicBezTo>
                        <a:pt x="1154" y="791"/>
                        <a:pt x="1154" y="799"/>
                        <a:pt x="1162" y="799"/>
                      </a:cubicBezTo>
                      <a:cubicBezTo>
                        <a:pt x="1162" y="799"/>
                        <a:pt x="1162" y="799"/>
                        <a:pt x="1170" y="791"/>
                      </a:cubicBezTo>
                      <a:cubicBezTo>
                        <a:pt x="1185" y="783"/>
                        <a:pt x="1193" y="775"/>
                        <a:pt x="1201" y="759"/>
                      </a:cubicBezTo>
                      <a:cubicBezTo>
                        <a:pt x="1209" y="751"/>
                        <a:pt x="1217" y="743"/>
                        <a:pt x="1225" y="735"/>
                      </a:cubicBezTo>
                      <a:cubicBezTo>
                        <a:pt x="1233" y="735"/>
                        <a:pt x="1233" y="728"/>
                        <a:pt x="1241" y="719"/>
                      </a:cubicBezTo>
                      <a:cubicBezTo>
                        <a:pt x="1249" y="712"/>
                        <a:pt x="1257" y="704"/>
                        <a:pt x="1265" y="704"/>
                      </a:cubicBezTo>
                      <a:cubicBezTo>
                        <a:pt x="1265" y="704"/>
                        <a:pt x="1272" y="704"/>
                        <a:pt x="1272" y="712"/>
                      </a:cubicBezTo>
                      <a:lnTo>
                        <a:pt x="1280" y="712"/>
                      </a:lnTo>
                      <a:cubicBezTo>
                        <a:pt x="1288" y="728"/>
                        <a:pt x="1296" y="735"/>
                        <a:pt x="1296" y="743"/>
                      </a:cubicBezTo>
                      <a:cubicBezTo>
                        <a:pt x="1296" y="751"/>
                        <a:pt x="1296" y="751"/>
                        <a:pt x="1288" y="759"/>
                      </a:cubicBezTo>
                      <a:cubicBezTo>
                        <a:pt x="1280" y="767"/>
                        <a:pt x="1280" y="775"/>
                        <a:pt x="1272" y="775"/>
                      </a:cubicBezTo>
                      <a:cubicBezTo>
                        <a:pt x="1257" y="791"/>
                        <a:pt x="1249" y="799"/>
                        <a:pt x="1249" y="806"/>
                      </a:cubicBezTo>
                      <a:cubicBezTo>
                        <a:pt x="1257" y="822"/>
                        <a:pt x="1257" y="830"/>
                        <a:pt x="1257" y="830"/>
                      </a:cubicBezTo>
                      <a:cubicBezTo>
                        <a:pt x="1265" y="830"/>
                        <a:pt x="1265" y="822"/>
                        <a:pt x="1265" y="822"/>
                      </a:cubicBezTo>
                      <a:cubicBezTo>
                        <a:pt x="1265" y="815"/>
                        <a:pt x="1272" y="815"/>
                        <a:pt x="1272" y="806"/>
                      </a:cubicBezTo>
                      <a:cubicBezTo>
                        <a:pt x="1280" y="791"/>
                        <a:pt x="1288" y="783"/>
                        <a:pt x="1304" y="767"/>
                      </a:cubicBezTo>
                      <a:cubicBezTo>
                        <a:pt x="1312" y="767"/>
                        <a:pt x="1312" y="767"/>
                        <a:pt x="1320" y="759"/>
                      </a:cubicBezTo>
                      <a:cubicBezTo>
                        <a:pt x="1336" y="751"/>
                        <a:pt x="1359" y="743"/>
                        <a:pt x="1359" y="735"/>
                      </a:cubicBezTo>
                      <a:cubicBezTo>
                        <a:pt x="1359" y="712"/>
                        <a:pt x="1367" y="656"/>
                        <a:pt x="1423" y="648"/>
                      </a:cubicBezTo>
                      <a:cubicBezTo>
                        <a:pt x="1454" y="648"/>
                        <a:pt x="1470" y="640"/>
                        <a:pt x="1486" y="640"/>
                      </a:cubicBezTo>
                      <a:cubicBezTo>
                        <a:pt x="1502" y="640"/>
                        <a:pt x="1510" y="633"/>
                        <a:pt x="1533" y="633"/>
                      </a:cubicBezTo>
                      <a:cubicBezTo>
                        <a:pt x="1541" y="633"/>
                        <a:pt x="1541" y="633"/>
                        <a:pt x="1541" y="633"/>
                      </a:cubicBezTo>
                      <a:cubicBezTo>
                        <a:pt x="1573" y="633"/>
                        <a:pt x="1589" y="633"/>
                        <a:pt x="1589" y="601"/>
                      </a:cubicBezTo>
                      <a:cubicBezTo>
                        <a:pt x="1596" y="577"/>
                        <a:pt x="1605" y="562"/>
                        <a:pt x="1636" y="562"/>
                      </a:cubicBezTo>
                      <a:cubicBezTo>
                        <a:pt x="1644" y="562"/>
                        <a:pt x="1652" y="562"/>
                        <a:pt x="1652" y="562"/>
                      </a:cubicBezTo>
                      <a:cubicBezTo>
                        <a:pt x="1652" y="562"/>
                        <a:pt x="1652" y="562"/>
                        <a:pt x="1660" y="562"/>
                      </a:cubicBezTo>
                      <a:cubicBezTo>
                        <a:pt x="1668" y="562"/>
                        <a:pt x="1668" y="562"/>
                        <a:pt x="1676" y="562"/>
                      </a:cubicBezTo>
                      <a:cubicBezTo>
                        <a:pt x="1676" y="562"/>
                        <a:pt x="1683" y="562"/>
                        <a:pt x="1691" y="562"/>
                      </a:cubicBezTo>
                      <a:cubicBezTo>
                        <a:pt x="1707" y="562"/>
                        <a:pt x="1715" y="569"/>
                        <a:pt x="1731" y="569"/>
                      </a:cubicBezTo>
                      <a:cubicBezTo>
                        <a:pt x="1739" y="569"/>
                        <a:pt x="1739" y="577"/>
                        <a:pt x="1747" y="577"/>
                      </a:cubicBezTo>
                      <a:cubicBezTo>
                        <a:pt x="1755" y="577"/>
                        <a:pt x="1763" y="577"/>
                        <a:pt x="1763" y="577"/>
                      </a:cubicBezTo>
                      <a:cubicBezTo>
                        <a:pt x="1778" y="585"/>
                        <a:pt x="1786" y="585"/>
                        <a:pt x="1818" y="601"/>
                      </a:cubicBezTo>
                      <a:cubicBezTo>
                        <a:pt x="1826" y="617"/>
                        <a:pt x="1834" y="625"/>
                        <a:pt x="1842" y="625"/>
                      </a:cubicBezTo>
                      <a:cubicBezTo>
                        <a:pt x="1849" y="640"/>
                        <a:pt x="1849" y="640"/>
                        <a:pt x="1858" y="640"/>
                      </a:cubicBezTo>
                      <a:cubicBezTo>
                        <a:pt x="1858" y="640"/>
                        <a:pt x="1865" y="640"/>
                        <a:pt x="1873" y="640"/>
                      </a:cubicBezTo>
                      <a:cubicBezTo>
                        <a:pt x="1881" y="633"/>
                        <a:pt x="1881" y="625"/>
                        <a:pt x="1889" y="609"/>
                      </a:cubicBezTo>
                      <a:cubicBezTo>
                        <a:pt x="1889" y="601"/>
                        <a:pt x="1889" y="593"/>
                        <a:pt x="1889" y="585"/>
                      </a:cubicBezTo>
                      <a:cubicBezTo>
                        <a:pt x="1905" y="562"/>
                        <a:pt x="1921" y="553"/>
                        <a:pt x="1944" y="569"/>
                      </a:cubicBezTo>
                      <a:cubicBezTo>
                        <a:pt x="1952" y="569"/>
                        <a:pt x="1984" y="569"/>
                        <a:pt x="1992" y="569"/>
                      </a:cubicBezTo>
                      <a:cubicBezTo>
                        <a:pt x="2000" y="569"/>
                        <a:pt x="2016" y="569"/>
                        <a:pt x="2031" y="569"/>
                      </a:cubicBezTo>
                      <a:cubicBezTo>
                        <a:pt x="2039" y="569"/>
                        <a:pt x="2055" y="569"/>
                        <a:pt x="2063" y="569"/>
                      </a:cubicBezTo>
                      <a:cubicBezTo>
                        <a:pt x="2071" y="569"/>
                        <a:pt x="2071" y="569"/>
                        <a:pt x="2079" y="569"/>
                      </a:cubicBezTo>
                      <a:cubicBezTo>
                        <a:pt x="2079" y="569"/>
                        <a:pt x="2087" y="569"/>
                        <a:pt x="2095" y="569"/>
                      </a:cubicBezTo>
                      <a:cubicBezTo>
                        <a:pt x="2110" y="569"/>
                        <a:pt x="2126" y="569"/>
                        <a:pt x="2134" y="569"/>
                      </a:cubicBezTo>
                      <a:cubicBezTo>
                        <a:pt x="2142" y="569"/>
                        <a:pt x="2142" y="569"/>
                        <a:pt x="2142" y="569"/>
                      </a:cubicBezTo>
                      <a:cubicBezTo>
                        <a:pt x="2142" y="562"/>
                        <a:pt x="2150" y="562"/>
                        <a:pt x="2166" y="562"/>
                      </a:cubicBezTo>
                      <a:cubicBezTo>
                        <a:pt x="2182" y="562"/>
                        <a:pt x="2189" y="562"/>
                        <a:pt x="2205" y="569"/>
                      </a:cubicBezTo>
                      <a:cubicBezTo>
                        <a:pt x="2205" y="569"/>
                        <a:pt x="2213" y="569"/>
                        <a:pt x="2229" y="569"/>
                      </a:cubicBezTo>
                      <a:lnTo>
                        <a:pt x="2237" y="569"/>
                      </a:lnTo>
                      <a:cubicBezTo>
                        <a:pt x="2253" y="569"/>
                        <a:pt x="2253" y="562"/>
                        <a:pt x="2261" y="553"/>
                      </a:cubicBezTo>
                      <a:lnTo>
                        <a:pt x="2261" y="546"/>
                      </a:lnTo>
                      <a:cubicBezTo>
                        <a:pt x="2261" y="538"/>
                        <a:pt x="2261" y="514"/>
                        <a:pt x="2253" y="506"/>
                      </a:cubicBezTo>
                      <a:cubicBezTo>
                        <a:pt x="2253" y="498"/>
                        <a:pt x="2245" y="498"/>
                        <a:pt x="2245" y="498"/>
                      </a:cubicBezTo>
                      <a:cubicBezTo>
                        <a:pt x="2229" y="498"/>
                        <a:pt x="2229" y="498"/>
                        <a:pt x="2205" y="514"/>
                      </a:cubicBezTo>
                      <a:cubicBezTo>
                        <a:pt x="2205" y="522"/>
                        <a:pt x="2197" y="530"/>
                        <a:pt x="2197" y="530"/>
                      </a:cubicBezTo>
                      <a:cubicBezTo>
                        <a:pt x="2189" y="538"/>
                        <a:pt x="2182" y="546"/>
                        <a:pt x="2174" y="546"/>
                      </a:cubicBezTo>
                      <a:cubicBezTo>
                        <a:pt x="2166" y="546"/>
                        <a:pt x="2166" y="546"/>
                        <a:pt x="2158" y="538"/>
                      </a:cubicBezTo>
                      <a:cubicBezTo>
                        <a:pt x="2150" y="538"/>
                        <a:pt x="2150" y="530"/>
                        <a:pt x="2142" y="530"/>
                      </a:cubicBezTo>
                      <a:cubicBezTo>
                        <a:pt x="2142" y="522"/>
                        <a:pt x="2134" y="522"/>
                        <a:pt x="2134" y="522"/>
                      </a:cubicBezTo>
                      <a:cubicBezTo>
                        <a:pt x="2126" y="522"/>
                        <a:pt x="2102" y="506"/>
                        <a:pt x="2079" y="490"/>
                      </a:cubicBezTo>
                      <a:cubicBezTo>
                        <a:pt x="2079" y="482"/>
                        <a:pt x="2071" y="482"/>
                        <a:pt x="2063" y="475"/>
                      </a:cubicBezTo>
                      <a:cubicBezTo>
                        <a:pt x="2063" y="475"/>
                        <a:pt x="2063" y="475"/>
                        <a:pt x="2055" y="467"/>
                      </a:cubicBezTo>
                      <a:cubicBezTo>
                        <a:pt x="2039" y="459"/>
                        <a:pt x="2031" y="451"/>
                        <a:pt x="2031" y="427"/>
                      </a:cubicBezTo>
                      <a:cubicBezTo>
                        <a:pt x="2031" y="419"/>
                        <a:pt x="2031" y="411"/>
                        <a:pt x="2023" y="403"/>
                      </a:cubicBezTo>
                      <a:cubicBezTo>
                        <a:pt x="2023" y="380"/>
                        <a:pt x="2023" y="356"/>
                        <a:pt x="2008" y="356"/>
                      </a:cubicBezTo>
                      <a:cubicBezTo>
                        <a:pt x="2000" y="356"/>
                        <a:pt x="2000" y="356"/>
                        <a:pt x="1992" y="356"/>
                      </a:cubicBezTo>
                      <a:cubicBezTo>
                        <a:pt x="1968" y="356"/>
                        <a:pt x="1952" y="364"/>
                        <a:pt x="1936" y="372"/>
                      </a:cubicBezTo>
                      <a:cubicBezTo>
                        <a:pt x="1929" y="372"/>
                        <a:pt x="1921" y="372"/>
                        <a:pt x="1913" y="372"/>
                      </a:cubicBezTo>
                      <a:cubicBezTo>
                        <a:pt x="1889" y="372"/>
                        <a:pt x="1865" y="372"/>
                        <a:pt x="1858" y="364"/>
                      </a:cubicBezTo>
                      <a:cubicBezTo>
                        <a:pt x="1858" y="364"/>
                        <a:pt x="1849" y="364"/>
                        <a:pt x="1834" y="364"/>
                      </a:cubicBezTo>
                      <a:cubicBezTo>
                        <a:pt x="1826" y="364"/>
                        <a:pt x="1810" y="364"/>
                        <a:pt x="1802" y="364"/>
                      </a:cubicBezTo>
                      <a:cubicBezTo>
                        <a:pt x="1778" y="364"/>
                        <a:pt x="1770" y="356"/>
                        <a:pt x="1763" y="348"/>
                      </a:cubicBezTo>
                      <a:cubicBezTo>
                        <a:pt x="1747" y="340"/>
                        <a:pt x="1747" y="324"/>
                        <a:pt x="1747" y="285"/>
                      </a:cubicBezTo>
                      <a:cubicBezTo>
                        <a:pt x="1747" y="269"/>
                        <a:pt x="1747" y="261"/>
                        <a:pt x="1747" y="245"/>
                      </a:cubicBezTo>
                      <a:cubicBezTo>
                        <a:pt x="1747" y="237"/>
                        <a:pt x="1747" y="229"/>
                        <a:pt x="1747" y="229"/>
                      </a:cubicBezTo>
                      <a:cubicBezTo>
                        <a:pt x="1747" y="229"/>
                        <a:pt x="1739" y="229"/>
                        <a:pt x="1731" y="229"/>
                      </a:cubicBezTo>
                      <a:cubicBezTo>
                        <a:pt x="1707" y="229"/>
                        <a:pt x="1676" y="245"/>
                        <a:pt x="1652" y="261"/>
                      </a:cubicBezTo>
                      <a:cubicBezTo>
                        <a:pt x="1644" y="261"/>
                        <a:pt x="1644" y="261"/>
                        <a:pt x="1644" y="261"/>
                      </a:cubicBezTo>
                      <a:cubicBezTo>
                        <a:pt x="1644" y="269"/>
                        <a:pt x="1636" y="269"/>
                        <a:pt x="1636" y="269"/>
                      </a:cubicBezTo>
                      <a:cubicBezTo>
                        <a:pt x="1612" y="285"/>
                        <a:pt x="1581" y="301"/>
                        <a:pt x="1541" y="301"/>
                      </a:cubicBezTo>
                      <a:cubicBezTo>
                        <a:pt x="1525" y="301"/>
                        <a:pt x="1518" y="301"/>
                        <a:pt x="1510" y="301"/>
                      </a:cubicBezTo>
                      <a:cubicBezTo>
                        <a:pt x="1510" y="301"/>
                        <a:pt x="1502" y="293"/>
                        <a:pt x="1494" y="293"/>
                      </a:cubicBezTo>
                      <a:cubicBezTo>
                        <a:pt x="1423" y="293"/>
                        <a:pt x="1328" y="340"/>
                        <a:pt x="1304" y="380"/>
                      </a:cubicBezTo>
                      <a:cubicBezTo>
                        <a:pt x="1272" y="419"/>
                        <a:pt x="1257" y="443"/>
                        <a:pt x="1225" y="443"/>
                      </a:cubicBezTo>
                      <a:cubicBezTo>
                        <a:pt x="1217" y="443"/>
                        <a:pt x="1209" y="443"/>
                        <a:pt x="1201" y="443"/>
                      </a:cubicBezTo>
                      <a:cubicBezTo>
                        <a:pt x="1193" y="443"/>
                        <a:pt x="1185" y="443"/>
                        <a:pt x="1178" y="443"/>
                      </a:cubicBezTo>
                      <a:cubicBezTo>
                        <a:pt x="1154" y="443"/>
                        <a:pt x="1138" y="443"/>
                        <a:pt x="1138" y="427"/>
                      </a:cubicBezTo>
                      <a:cubicBezTo>
                        <a:pt x="1138" y="411"/>
                        <a:pt x="1130" y="403"/>
                        <a:pt x="1122" y="403"/>
                      </a:cubicBezTo>
                      <a:cubicBezTo>
                        <a:pt x="1114" y="403"/>
                        <a:pt x="1114" y="403"/>
                        <a:pt x="1106" y="411"/>
                      </a:cubicBezTo>
                      <a:cubicBezTo>
                        <a:pt x="1099" y="411"/>
                        <a:pt x="1090" y="419"/>
                        <a:pt x="1083" y="419"/>
                      </a:cubicBezTo>
                      <a:cubicBezTo>
                        <a:pt x="1067" y="435"/>
                        <a:pt x="1051" y="443"/>
                        <a:pt x="1035" y="443"/>
                      </a:cubicBezTo>
                      <a:cubicBezTo>
                        <a:pt x="1027" y="443"/>
                        <a:pt x="1027" y="443"/>
                        <a:pt x="1019" y="443"/>
                      </a:cubicBezTo>
                      <a:cubicBezTo>
                        <a:pt x="1019" y="443"/>
                        <a:pt x="1019" y="435"/>
                        <a:pt x="1012" y="435"/>
                      </a:cubicBezTo>
                      <a:cubicBezTo>
                        <a:pt x="988" y="427"/>
                        <a:pt x="956" y="411"/>
                        <a:pt x="940" y="372"/>
                      </a:cubicBezTo>
                      <a:cubicBezTo>
                        <a:pt x="925" y="348"/>
                        <a:pt x="893" y="324"/>
                        <a:pt x="869" y="309"/>
                      </a:cubicBezTo>
                      <a:cubicBezTo>
                        <a:pt x="853" y="301"/>
                        <a:pt x="846" y="293"/>
                        <a:pt x="838" y="285"/>
                      </a:cubicBezTo>
                      <a:cubicBezTo>
                        <a:pt x="822" y="269"/>
                        <a:pt x="782" y="261"/>
                        <a:pt x="759" y="261"/>
                      </a:cubicBezTo>
                      <a:cubicBezTo>
                        <a:pt x="751" y="261"/>
                        <a:pt x="743" y="261"/>
                        <a:pt x="735" y="269"/>
                      </a:cubicBezTo>
                      <a:cubicBezTo>
                        <a:pt x="727" y="269"/>
                        <a:pt x="719" y="269"/>
                        <a:pt x="711" y="277"/>
                      </a:cubicBezTo>
                      <a:cubicBezTo>
                        <a:pt x="687" y="277"/>
                        <a:pt x="664" y="285"/>
                        <a:pt x="656" y="301"/>
                      </a:cubicBezTo>
                      <a:cubicBezTo>
                        <a:pt x="656" y="309"/>
                        <a:pt x="648" y="316"/>
                        <a:pt x="648" y="324"/>
                      </a:cubicBezTo>
                      <a:cubicBezTo>
                        <a:pt x="640" y="340"/>
                        <a:pt x="640" y="348"/>
                        <a:pt x="632" y="348"/>
                      </a:cubicBezTo>
                      <a:cubicBezTo>
                        <a:pt x="632" y="348"/>
                        <a:pt x="624" y="340"/>
                        <a:pt x="624" y="332"/>
                      </a:cubicBezTo>
                      <a:cubicBezTo>
                        <a:pt x="624" y="324"/>
                        <a:pt x="624" y="316"/>
                        <a:pt x="616" y="309"/>
                      </a:cubicBezTo>
                      <a:cubicBezTo>
                        <a:pt x="616" y="293"/>
                        <a:pt x="608" y="269"/>
                        <a:pt x="624" y="245"/>
                      </a:cubicBezTo>
                      <a:cubicBezTo>
                        <a:pt x="640" y="229"/>
                        <a:pt x="648" y="214"/>
                        <a:pt x="656" y="198"/>
                      </a:cubicBezTo>
                      <a:cubicBezTo>
                        <a:pt x="672" y="174"/>
                        <a:pt x="679" y="150"/>
                        <a:pt x="703" y="135"/>
                      </a:cubicBezTo>
                      <a:cubicBezTo>
                        <a:pt x="727" y="111"/>
                        <a:pt x="735" y="87"/>
                        <a:pt x="751" y="79"/>
                      </a:cubicBezTo>
                      <a:cubicBezTo>
                        <a:pt x="751" y="71"/>
                        <a:pt x="759" y="63"/>
                        <a:pt x="759" y="56"/>
                      </a:cubicBezTo>
                      <a:lnTo>
                        <a:pt x="766" y="56"/>
                      </a:lnTo>
                      <a:cubicBezTo>
                        <a:pt x="766" y="48"/>
                        <a:pt x="774" y="48"/>
                        <a:pt x="798" y="40"/>
                      </a:cubicBezTo>
                      <a:cubicBezTo>
                        <a:pt x="814" y="40"/>
                        <a:pt x="830" y="40"/>
                        <a:pt x="830" y="32"/>
                      </a:cubicBezTo>
                      <a:cubicBezTo>
                        <a:pt x="830" y="24"/>
                        <a:pt x="830" y="24"/>
                        <a:pt x="822" y="16"/>
                      </a:cubicBezTo>
                      <a:cubicBezTo>
                        <a:pt x="814" y="8"/>
                        <a:pt x="790" y="8"/>
                        <a:pt x="766" y="8"/>
                      </a:cubicBezTo>
                      <a:cubicBezTo>
                        <a:pt x="727" y="8"/>
                        <a:pt x="695" y="16"/>
                        <a:pt x="679" y="24"/>
                      </a:cubicBezTo>
                      <a:cubicBezTo>
                        <a:pt x="672" y="32"/>
                        <a:pt x="672" y="32"/>
                        <a:pt x="672" y="32"/>
                      </a:cubicBezTo>
                      <a:cubicBezTo>
                        <a:pt x="640" y="56"/>
                        <a:pt x="593" y="79"/>
                        <a:pt x="577" y="111"/>
                      </a:cubicBezTo>
                      <a:cubicBezTo>
                        <a:pt x="569" y="127"/>
                        <a:pt x="569" y="142"/>
                        <a:pt x="561" y="150"/>
                      </a:cubicBezTo>
                      <a:cubicBezTo>
                        <a:pt x="561" y="158"/>
                        <a:pt x="561" y="166"/>
                        <a:pt x="561" y="174"/>
                      </a:cubicBezTo>
                      <a:cubicBezTo>
                        <a:pt x="553" y="174"/>
                        <a:pt x="553" y="182"/>
                        <a:pt x="545" y="182"/>
                      </a:cubicBezTo>
                      <a:cubicBezTo>
                        <a:pt x="545" y="182"/>
                        <a:pt x="537" y="174"/>
                        <a:pt x="537" y="158"/>
                      </a:cubicBezTo>
                      <a:cubicBezTo>
                        <a:pt x="529" y="158"/>
                        <a:pt x="529" y="150"/>
                        <a:pt x="529" y="150"/>
                      </a:cubicBezTo>
                      <a:lnTo>
                        <a:pt x="529" y="142"/>
                      </a:lnTo>
                      <a:cubicBezTo>
                        <a:pt x="529" y="142"/>
                        <a:pt x="529" y="150"/>
                        <a:pt x="521" y="150"/>
                      </a:cubicBezTo>
                      <a:cubicBezTo>
                        <a:pt x="521" y="158"/>
                        <a:pt x="513" y="166"/>
                        <a:pt x="506" y="174"/>
                      </a:cubicBezTo>
                      <a:cubicBezTo>
                        <a:pt x="490" y="190"/>
                        <a:pt x="482" y="206"/>
                        <a:pt x="474" y="214"/>
                      </a:cubicBezTo>
                      <a:cubicBezTo>
                        <a:pt x="466" y="222"/>
                        <a:pt x="466" y="229"/>
                        <a:pt x="466" y="229"/>
                      </a:cubicBezTo>
                      <a:cubicBezTo>
                        <a:pt x="466" y="237"/>
                        <a:pt x="466" y="245"/>
                        <a:pt x="442" y="261"/>
                      </a:cubicBezTo>
                      <a:cubicBezTo>
                        <a:pt x="435" y="261"/>
                        <a:pt x="426" y="261"/>
                        <a:pt x="426" y="269"/>
                      </a:cubicBezTo>
                      <a:cubicBezTo>
                        <a:pt x="387" y="285"/>
                        <a:pt x="355" y="301"/>
                        <a:pt x="332" y="324"/>
                      </a:cubicBezTo>
                      <a:cubicBezTo>
                        <a:pt x="324" y="324"/>
                        <a:pt x="324" y="332"/>
                        <a:pt x="316" y="332"/>
                      </a:cubicBezTo>
                      <a:cubicBezTo>
                        <a:pt x="300" y="348"/>
                        <a:pt x="300" y="348"/>
                        <a:pt x="284" y="348"/>
                      </a:cubicBezTo>
                      <a:lnTo>
                        <a:pt x="276" y="348"/>
                      </a:lnTo>
                      <a:cubicBezTo>
                        <a:pt x="268" y="348"/>
                        <a:pt x="268" y="348"/>
                        <a:pt x="260" y="348"/>
                      </a:cubicBezTo>
                      <a:cubicBezTo>
                        <a:pt x="237" y="348"/>
                        <a:pt x="221" y="348"/>
                        <a:pt x="205" y="356"/>
                      </a:cubicBezTo>
                      <a:cubicBezTo>
                        <a:pt x="182" y="372"/>
                        <a:pt x="110" y="411"/>
                        <a:pt x="87" y="451"/>
                      </a:cubicBezTo>
                      <a:cubicBezTo>
                        <a:pt x="63" y="482"/>
                        <a:pt x="47" y="490"/>
                        <a:pt x="15" y="490"/>
                      </a:cubicBezTo>
                      <a:cubicBezTo>
                        <a:pt x="23" y="498"/>
                        <a:pt x="31" y="506"/>
                        <a:pt x="31" y="506"/>
                      </a:cubicBezTo>
                      <a:cubicBezTo>
                        <a:pt x="55" y="522"/>
                        <a:pt x="79" y="553"/>
                        <a:pt x="87" y="569"/>
                      </a:cubicBezTo>
                      <a:cubicBezTo>
                        <a:pt x="95" y="577"/>
                        <a:pt x="95" y="585"/>
                        <a:pt x="102" y="585"/>
                      </a:cubicBezTo>
                      <a:lnTo>
                        <a:pt x="102" y="585"/>
                      </a:lnTo>
                      <a:cubicBezTo>
                        <a:pt x="110" y="601"/>
                        <a:pt x="126" y="625"/>
                        <a:pt x="197" y="625"/>
                      </a:cubicBezTo>
                      <a:cubicBezTo>
                        <a:pt x="268" y="625"/>
                        <a:pt x="466" y="640"/>
                        <a:pt x="506" y="680"/>
                      </a:cubicBezTo>
                      <a:cubicBezTo>
                        <a:pt x="506" y="680"/>
                        <a:pt x="513" y="688"/>
                        <a:pt x="513" y="696"/>
                      </a:cubicBezTo>
                      <a:cubicBezTo>
                        <a:pt x="529" y="704"/>
                        <a:pt x="537" y="712"/>
                        <a:pt x="553" y="712"/>
                      </a:cubicBezTo>
                      <a:cubicBezTo>
                        <a:pt x="561" y="712"/>
                        <a:pt x="569" y="712"/>
                        <a:pt x="585" y="704"/>
                      </a:cubicBezTo>
                      <a:cubicBezTo>
                        <a:pt x="600" y="704"/>
                        <a:pt x="616" y="696"/>
                        <a:pt x="632" y="696"/>
                      </a:cubicBezTo>
                      <a:cubicBezTo>
                        <a:pt x="640" y="688"/>
                        <a:pt x="648" y="680"/>
                        <a:pt x="664" y="680"/>
                      </a:cubicBezTo>
                      <a:lnTo>
                        <a:pt x="988" y="1115"/>
                      </a:lnTo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7" name="Freeform 668">
                  <a:extLst>
                    <a:ext uri="{FF2B5EF4-FFF2-40B4-BE49-F238E27FC236}">
                      <a16:creationId xmlns:a16="http://schemas.microsoft.com/office/drawing/2014/main" id="{C611250E-29DC-1C40-B545-0A3C5D8F30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900220" y="4159834"/>
                  <a:ext cx="1036730" cy="1097032"/>
                </a:xfrm>
                <a:custGeom>
                  <a:avLst/>
                  <a:gdLst>
                    <a:gd name="T0" fmla="*/ 538 w 1970"/>
                    <a:gd name="T1" fmla="*/ 48 h 2088"/>
                    <a:gd name="T2" fmla="*/ 332 w 1970"/>
                    <a:gd name="T3" fmla="*/ 143 h 2088"/>
                    <a:gd name="T4" fmla="*/ 245 w 1970"/>
                    <a:gd name="T5" fmla="*/ 111 h 2088"/>
                    <a:gd name="T6" fmla="*/ 174 w 1970"/>
                    <a:gd name="T7" fmla="*/ 182 h 2088"/>
                    <a:gd name="T8" fmla="*/ 206 w 1970"/>
                    <a:gd name="T9" fmla="*/ 395 h 2088"/>
                    <a:gd name="T10" fmla="*/ 32 w 1970"/>
                    <a:gd name="T11" fmla="*/ 585 h 2088"/>
                    <a:gd name="T12" fmla="*/ 32 w 1970"/>
                    <a:gd name="T13" fmla="*/ 688 h 2088"/>
                    <a:gd name="T14" fmla="*/ 71 w 1970"/>
                    <a:gd name="T15" fmla="*/ 815 h 2088"/>
                    <a:gd name="T16" fmla="*/ 64 w 1970"/>
                    <a:gd name="T17" fmla="*/ 917 h 2088"/>
                    <a:gd name="T18" fmla="*/ 55 w 1970"/>
                    <a:gd name="T19" fmla="*/ 965 h 2088"/>
                    <a:gd name="T20" fmla="*/ 87 w 1970"/>
                    <a:gd name="T21" fmla="*/ 1091 h 2088"/>
                    <a:gd name="T22" fmla="*/ 237 w 1970"/>
                    <a:gd name="T23" fmla="*/ 1194 h 2088"/>
                    <a:gd name="T24" fmla="*/ 348 w 1970"/>
                    <a:gd name="T25" fmla="*/ 1233 h 2088"/>
                    <a:gd name="T26" fmla="*/ 601 w 1970"/>
                    <a:gd name="T27" fmla="*/ 1518 h 2088"/>
                    <a:gd name="T28" fmla="*/ 625 w 1970"/>
                    <a:gd name="T29" fmla="*/ 1629 h 2088"/>
                    <a:gd name="T30" fmla="*/ 664 w 1970"/>
                    <a:gd name="T31" fmla="*/ 1708 h 2088"/>
                    <a:gd name="T32" fmla="*/ 664 w 1970"/>
                    <a:gd name="T33" fmla="*/ 1874 h 2088"/>
                    <a:gd name="T34" fmla="*/ 704 w 1970"/>
                    <a:gd name="T35" fmla="*/ 1945 h 2088"/>
                    <a:gd name="T36" fmla="*/ 735 w 1970"/>
                    <a:gd name="T37" fmla="*/ 2008 h 2088"/>
                    <a:gd name="T38" fmla="*/ 838 w 1970"/>
                    <a:gd name="T39" fmla="*/ 2048 h 2088"/>
                    <a:gd name="T40" fmla="*/ 1803 w 1970"/>
                    <a:gd name="T41" fmla="*/ 1803 h 2088"/>
                    <a:gd name="T42" fmla="*/ 1795 w 1970"/>
                    <a:gd name="T43" fmla="*/ 1486 h 2088"/>
                    <a:gd name="T44" fmla="*/ 1850 w 1970"/>
                    <a:gd name="T45" fmla="*/ 1170 h 2088"/>
                    <a:gd name="T46" fmla="*/ 1889 w 1970"/>
                    <a:gd name="T47" fmla="*/ 917 h 2088"/>
                    <a:gd name="T48" fmla="*/ 1929 w 1970"/>
                    <a:gd name="T49" fmla="*/ 806 h 2088"/>
                    <a:gd name="T50" fmla="*/ 1961 w 1970"/>
                    <a:gd name="T51" fmla="*/ 712 h 2088"/>
                    <a:gd name="T52" fmla="*/ 1961 w 1970"/>
                    <a:gd name="T53" fmla="*/ 672 h 2088"/>
                    <a:gd name="T54" fmla="*/ 1882 w 1970"/>
                    <a:gd name="T55" fmla="*/ 783 h 2088"/>
                    <a:gd name="T56" fmla="*/ 1850 w 1970"/>
                    <a:gd name="T57" fmla="*/ 886 h 2088"/>
                    <a:gd name="T58" fmla="*/ 1818 w 1970"/>
                    <a:gd name="T59" fmla="*/ 886 h 2088"/>
                    <a:gd name="T60" fmla="*/ 1771 w 1970"/>
                    <a:gd name="T61" fmla="*/ 965 h 2088"/>
                    <a:gd name="T62" fmla="*/ 1692 w 1970"/>
                    <a:gd name="T63" fmla="*/ 1052 h 2088"/>
                    <a:gd name="T64" fmla="*/ 1668 w 1970"/>
                    <a:gd name="T65" fmla="*/ 1052 h 2088"/>
                    <a:gd name="T66" fmla="*/ 1716 w 1970"/>
                    <a:gd name="T67" fmla="*/ 894 h 2088"/>
                    <a:gd name="T68" fmla="*/ 1779 w 1970"/>
                    <a:gd name="T69" fmla="*/ 806 h 2088"/>
                    <a:gd name="T70" fmla="*/ 1739 w 1970"/>
                    <a:gd name="T71" fmla="*/ 712 h 2088"/>
                    <a:gd name="T72" fmla="*/ 1684 w 1970"/>
                    <a:gd name="T73" fmla="*/ 672 h 2088"/>
                    <a:gd name="T74" fmla="*/ 1684 w 1970"/>
                    <a:gd name="T75" fmla="*/ 569 h 2088"/>
                    <a:gd name="T76" fmla="*/ 1581 w 1970"/>
                    <a:gd name="T77" fmla="*/ 411 h 2088"/>
                    <a:gd name="T78" fmla="*/ 1431 w 1970"/>
                    <a:gd name="T79" fmla="*/ 372 h 2088"/>
                    <a:gd name="T80" fmla="*/ 1352 w 1970"/>
                    <a:gd name="T81" fmla="*/ 395 h 2088"/>
                    <a:gd name="T82" fmla="*/ 1297 w 1970"/>
                    <a:gd name="T83" fmla="*/ 356 h 2088"/>
                    <a:gd name="T84" fmla="*/ 886 w 1970"/>
                    <a:gd name="T85" fmla="*/ 253 h 2088"/>
                    <a:gd name="T86" fmla="*/ 814 w 1970"/>
                    <a:gd name="T87" fmla="*/ 174 h 2088"/>
                    <a:gd name="T88" fmla="*/ 799 w 1970"/>
                    <a:gd name="T89" fmla="*/ 166 h 2088"/>
                    <a:gd name="T90" fmla="*/ 719 w 1970"/>
                    <a:gd name="T91" fmla="*/ 127 h 2088"/>
                    <a:gd name="T92" fmla="*/ 641 w 1970"/>
                    <a:gd name="T93" fmla="*/ 166 h 2088"/>
                    <a:gd name="T94" fmla="*/ 648 w 1970"/>
                    <a:gd name="T95" fmla="*/ 64 h 2088"/>
                    <a:gd name="T96" fmla="*/ 664 w 1970"/>
                    <a:gd name="T97" fmla="*/ 0 h 2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70" h="2088">
                      <a:moveTo>
                        <a:pt x="656" y="0"/>
                      </a:moveTo>
                      <a:lnTo>
                        <a:pt x="656" y="0"/>
                      </a:lnTo>
                      <a:cubicBezTo>
                        <a:pt x="625" y="0"/>
                        <a:pt x="585" y="16"/>
                        <a:pt x="585" y="24"/>
                      </a:cubicBezTo>
                      <a:cubicBezTo>
                        <a:pt x="577" y="32"/>
                        <a:pt x="561" y="40"/>
                        <a:pt x="538" y="48"/>
                      </a:cubicBezTo>
                      <a:cubicBezTo>
                        <a:pt x="522" y="56"/>
                        <a:pt x="498" y="64"/>
                        <a:pt x="490" y="71"/>
                      </a:cubicBezTo>
                      <a:cubicBezTo>
                        <a:pt x="482" y="71"/>
                        <a:pt x="475" y="79"/>
                        <a:pt x="466" y="87"/>
                      </a:cubicBezTo>
                      <a:cubicBezTo>
                        <a:pt x="451" y="95"/>
                        <a:pt x="419" y="119"/>
                        <a:pt x="388" y="119"/>
                      </a:cubicBezTo>
                      <a:cubicBezTo>
                        <a:pt x="364" y="127"/>
                        <a:pt x="340" y="135"/>
                        <a:pt x="332" y="143"/>
                      </a:cubicBezTo>
                      <a:cubicBezTo>
                        <a:pt x="316" y="151"/>
                        <a:pt x="308" y="151"/>
                        <a:pt x="293" y="151"/>
                      </a:cubicBezTo>
                      <a:lnTo>
                        <a:pt x="285" y="151"/>
                      </a:lnTo>
                      <a:cubicBezTo>
                        <a:pt x="277" y="143"/>
                        <a:pt x="269" y="143"/>
                        <a:pt x="269" y="135"/>
                      </a:cubicBezTo>
                      <a:cubicBezTo>
                        <a:pt x="253" y="135"/>
                        <a:pt x="253" y="127"/>
                        <a:pt x="245" y="111"/>
                      </a:cubicBezTo>
                      <a:lnTo>
                        <a:pt x="245" y="111"/>
                      </a:lnTo>
                      <a:cubicBezTo>
                        <a:pt x="229" y="119"/>
                        <a:pt x="190" y="166"/>
                        <a:pt x="174" y="174"/>
                      </a:cubicBezTo>
                      <a:lnTo>
                        <a:pt x="174" y="174"/>
                      </a:lnTo>
                      <a:cubicBezTo>
                        <a:pt x="174" y="174"/>
                        <a:pt x="174" y="174"/>
                        <a:pt x="174" y="182"/>
                      </a:cubicBezTo>
                      <a:cubicBezTo>
                        <a:pt x="174" y="198"/>
                        <a:pt x="174" y="222"/>
                        <a:pt x="182" y="238"/>
                      </a:cubicBezTo>
                      <a:cubicBezTo>
                        <a:pt x="182" y="253"/>
                        <a:pt x="182" y="261"/>
                        <a:pt x="190" y="277"/>
                      </a:cubicBezTo>
                      <a:cubicBezTo>
                        <a:pt x="190" y="285"/>
                        <a:pt x="190" y="293"/>
                        <a:pt x="190" y="309"/>
                      </a:cubicBezTo>
                      <a:cubicBezTo>
                        <a:pt x="198" y="332"/>
                        <a:pt x="206" y="364"/>
                        <a:pt x="206" y="395"/>
                      </a:cubicBezTo>
                      <a:cubicBezTo>
                        <a:pt x="206" y="419"/>
                        <a:pt x="198" y="443"/>
                        <a:pt x="182" y="459"/>
                      </a:cubicBezTo>
                      <a:cubicBezTo>
                        <a:pt x="166" y="491"/>
                        <a:pt x="142" y="498"/>
                        <a:pt x="119" y="506"/>
                      </a:cubicBezTo>
                      <a:cubicBezTo>
                        <a:pt x="95" y="514"/>
                        <a:pt x="79" y="522"/>
                        <a:pt x="64" y="538"/>
                      </a:cubicBezTo>
                      <a:cubicBezTo>
                        <a:pt x="40" y="554"/>
                        <a:pt x="32" y="569"/>
                        <a:pt x="32" y="585"/>
                      </a:cubicBezTo>
                      <a:cubicBezTo>
                        <a:pt x="32" y="601"/>
                        <a:pt x="24" y="617"/>
                        <a:pt x="8" y="641"/>
                      </a:cubicBezTo>
                      <a:cubicBezTo>
                        <a:pt x="8" y="649"/>
                        <a:pt x="0" y="656"/>
                        <a:pt x="0" y="664"/>
                      </a:cubicBezTo>
                      <a:cubicBezTo>
                        <a:pt x="0" y="672"/>
                        <a:pt x="0" y="672"/>
                        <a:pt x="0" y="672"/>
                      </a:cubicBezTo>
                      <a:cubicBezTo>
                        <a:pt x="8" y="680"/>
                        <a:pt x="16" y="688"/>
                        <a:pt x="32" y="688"/>
                      </a:cubicBezTo>
                      <a:cubicBezTo>
                        <a:pt x="40" y="696"/>
                        <a:pt x="48" y="696"/>
                        <a:pt x="55" y="704"/>
                      </a:cubicBezTo>
                      <a:cubicBezTo>
                        <a:pt x="79" y="712"/>
                        <a:pt x="87" y="735"/>
                        <a:pt x="87" y="759"/>
                      </a:cubicBezTo>
                      <a:cubicBezTo>
                        <a:pt x="87" y="759"/>
                        <a:pt x="87" y="759"/>
                        <a:pt x="87" y="767"/>
                      </a:cubicBezTo>
                      <a:cubicBezTo>
                        <a:pt x="87" y="783"/>
                        <a:pt x="79" y="799"/>
                        <a:pt x="71" y="815"/>
                      </a:cubicBezTo>
                      <a:cubicBezTo>
                        <a:pt x="55" y="822"/>
                        <a:pt x="55" y="830"/>
                        <a:pt x="55" y="838"/>
                      </a:cubicBezTo>
                      <a:cubicBezTo>
                        <a:pt x="55" y="838"/>
                        <a:pt x="55" y="846"/>
                        <a:pt x="55" y="854"/>
                      </a:cubicBezTo>
                      <a:cubicBezTo>
                        <a:pt x="64" y="862"/>
                        <a:pt x="64" y="878"/>
                        <a:pt x="64" y="886"/>
                      </a:cubicBezTo>
                      <a:cubicBezTo>
                        <a:pt x="64" y="902"/>
                        <a:pt x="64" y="909"/>
                        <a:pt x="64" y="917"/>
                      </a:cubicBezTo>
                      <a:cubicBezTo>
                        <a:pt x="64" y="925"/>
                        <a:pt x="64" y="933"/>
                        <a:pt x="64" y="941"/>
                      </a:cubicBezTo>
                      <a:lnTo>
                        <a:pt x="64" y="941"/>
                      </a:lnTo>
                      <a:lnTo>
                        <a:pt x="64" y="941"/>
                      </a:lnTo>
                      <a:cubicBezTo>
                        <a:pt x="64" y="949"/>
                        <a:pt x="55" y="957"/>
                        <a:pt x="55" y="965"/>
                      </a:cubicBezTo>
                      <a:cubicBezTo>
                        <a:pt x="55" y="973"/>
                        <a:pt x="48" y="981"/>
                        <a:pt x="48" y="988"/>
                      </a:cubicBezTo>
                      <a:cubicBezTo>
                        <a:pt x="40" y="1004"/>
                        <a:pt x="40" y="1012"/>
                        <a:pt x="40" y="1020"/>
                      </a:cubicBezTo>
                      <a:cubicBezTo>
                        <a:pt x="40" y="1044"/>
                        <a:pt x="48" y="1052"/>
                        <a:pt x="64" y="1060"/>
                      </a:cubicBezTo>
                      <a:cubicBezTo>
                        <a:pt x="71" y="1068"/>
                        <a:pt x="79" y="1083"/>
                        <a:pt x="87" y="1091"/>
                      </a:cubicBezTo>
                      <a:cubicBezTo>
                        <a:pt x="95" y="1115"/>
                        <a:pt x="119" y="1123"/>
                        <a:pt x="142" y="1131"/>
                      </a:cubicBezTo>
                      <a:cubicBezTo>
                        <a:pt x="150" y="1139"/>
                        <a:pt x="158" y="1139"/>
                        <a:pt x="166" y="1146"/>
                      </a:cubicBezTo>
                      <a:cubicBezTo>
                        <a:pt x="182" y="1155"/>
                        <a:pt x="190" y="1155"/>
                        <a:pt x="198" y="1155"/>
                      </a:cubicBezTo>
                      <a:cubicBezTo>
                        <a:pt x="214" y="1162"/>
                        <a:pt x="229" y="1162"/>
                        <a:pt x="237" y="1194"/>
                      </a:cubicBezTo>
                      <a:cubicBezTo>
                        <a:pt x="237" y="1202"/>
                        <a:pt x="245" y="1202"/>
                        <a:pt x="253" y="1202"/>
                      </a:cubicBezTo>
                      <a:lnTo>
                        <a:pt x="261" y="1202"/>
                      </a:lnTo>
                      <a:cubicBezTo>
                        <a:pt x="269" y="1202"/>
                        <a:pt x="277" y="1202"/>
                        <a:pt x="277" y="1202"/>
                      </a:cubicBezTo>
                      <a:cubicBezTo>
                        <a:pt x="293" y="1202"/>
                        <a:pt x="324" y="1210"/>
                        <a:pt x="348" y="1233"/>
                      </a:cubicBezTo>
                      <a:cubicBezTo>
                        <a:pt x="372" y="1257"/>
                        <a:pt x="395" y="1281"/>
                        <a:pt x="419" y="1305"/>
                      </a:cubicBezTo>
                      <a:cubicBezTo>
                        <a:pt x="459" y="1344"/>
                        <a:pt x="490" y="1384"/>
                        <a:pt x="506" y="1384"/>
                      </a:cubicBezTo>
                      <a:cubicBezTo>
                        <a:pt x="538" y="1392"/>
                        <a:pt x="601" y="1447"/>
                        <a:pt x="601" y="1510"/>
                      </a:cubicBezTo>
                      <a:cubicBezTo>
                        <a:pt x="601" y="1518"/>
                        <a:pt x="601" y="1518"/>
                        <a:pt x="601" y="1518"/>
                      </a:cubicBezTo>
                      <a:cubicBezTo>
                        <a:pt x="593" y="1526"/>
                        <a:pt x="593" y="1526"/>
                        <a:pt x="593" y="1534"/>
                      </a:cubicBezTo>
                      <a:cubicBezTo>
                        <a:pt x="593" y="1542"/>
                        <a:pt x="601" y="1558"/>
                        <a:pt x="601" y="1573"/>
                      </a:cubicBezTo>
                      <a:cubicBezTo>
                        <a:pt x="609" y="1589"/>
                        <a:pt x="617" y="1613"/>
                        <a:pt x="625" y="1629"/>
                      </a:cubicBezTo>
                      <a:lnTo>
                        <a:pt x="625" y="1629"/>
                      </a:lnTo>
                      <a:cubicBezTo>
                        <a:pt x="625" y="1637"/>
                        <a:pt x="625" y="1637"/>
                        <a:pt x="625" y="1637"/>
                      </a:cubicBezTo>
                      <a:cubicBezTo>
                        <a:pt x="632" y="1645"/>
                        <a:pt x="632" y="1652"/>
                        <a:pt x="632" y="1652"/>
                      </a:cubicBezTo>
                      <a:cubicBezTo>
                        <a:pt x="641" y="1668"/>
                        <a:pt x="648" y="1676"/>
                        <a:pt x="648" y="1684"/>
                      </a:cubicBezTo>
                      <a:cubicBezTo>
                        <a:pt x="648" y="1700"/>
                        <a:pt x="656" y="1700"/>
                        <a:pt x="664" y="1708"/>
                      </a:cubicBezTo>
                      <a:cubicBezTo>
                        <a:pt x="680" y="1716"/>
                        <a:pt x="688" y="1716"/>
                        <a:pt x="688" y="1739"/>
                      </a:cubicBezTo>
                      <a:cubicBezTo>
                        <a:pt x="688" y="1739"/>
                        <a:pt x="688" y="1747"/>
                        <a:pt x="680" y="1755"/>
                      </a:cubicBezTo>
                      <a:cubicBezTo>
                        <a:pt x="672" y="1795"/>
                        <a:pt x="672" y="1803"/>
                        <a:pt x="664" y="1819"/>
                      </a:cubicBezTo>
                      <a:cubicBezTo>
                        <a:pt x="664" y="1834"/>
                        <a:pt x="664" y="1850"/>
                        <a:pt x="664" y="1874"/>
                      </a:cubicBezTo>
                      <a:cubicBezTo>
                        <a:pt x="656" y="1882"/>
                        <a:pt x="656" y="1890"/>
                        <a:pt x="656" y="1890"/>
                      </a:cubicBezTo>
                      <a:cubicBezTo>
                        <a:pt x="656" y="1913"/>
                        <a:pt x="664" y="1913"/>
                        <a:pt x="680" y="1913"/>
                      </a:cubicBezTo>
                      <a:cubicBezTo>
                        <a:pt x="688" y="1921"/>
                        <a:pt x="696" y="1921"/>
                        <a:pt x="704" y="1937"/>
                      </a:cubicBezTo>
                      <a:cubicBezTo>
                        <a:pt x="704" y="1945"/>
                        <a:pt x="704" y="1945"/>
                        <a:pt x="704" y="1945"/>
                      </a:cubicBezTo>
                      <a:cubicBezTo>
                        <a:pt x="704" y="1961"/>
                        <a:pt x="696" y="1969"/>
                        <a:pt x="688" y="1977"/>
                      </a:cubicBezTo>
                      <a:cubicBezTo>
                        <a:pt x="680" y="1985"/>
                        <a:pt x="680" y="1992"/>
                        <a:pt x="680" y="2000"/>
                      </a:cubicBezTo>
                      <a:lnTo>
                        <a:pt x="680" y="2000"/>
                      </a:lnTo>
                      <a:cubicBezTo>
                        <a:pt x="680" y="2008"/>
                        <a:pt x="704" y="2008"/>
                        <a:pt x="735" y="2008"/>
                      </a:cubicBezTo>
                      <a:lnTo>
                        <a:pt x="735" y="2008"/>
                      </a:lnTo>
                      <a:lnTo>
                        <a:pt x="735" y="2008"/>
                      </a:lnTo>
                      <a:lnTo>
                        <a:pt x="735" y="2008"/>
                      </a:lnTo>
                      <a:cubicBezTo>
                        <a:pt x="791" y="2008"/>
                        <a:pt x="822" y="2032"/>
                        <a:pt x="838" y="2048"/>
                      </a:cubicBezTo>
                      <a:cubicBezTo>
                        <a:pt x="854" y="2063"/>
                        <a:pt x="854" y="2079"/>
                        <a:pt x="862" y="2087"/>
                      </a:cubicBezTo>
                      <a:cubicBezTo>
                        <a:pt x="981" y="2079"/>
                        <a:pt x="1289" y="2056"/>
                        <a:pt x="1534" y="2032"/>
                      </a:cubicBezTo>
                      <a:cubicBezTo>
                        <a:pt x="1660" y="2024"/>
                        <a:pt x="1779" y="2008"/>
                        <a:pt x="1834" y="2000"/>
                      </a:cubicBezTo>
                      <a:cubicBezTo>
                        <a:pt x="1834" y="1913"/>
                        <a:pt x="1826" y="1850"/>
                        <a:pt x="1803" y="1803"/>
                      </a:cubicBezTo>
                      <a:cubicBezTo>
                        <a:pt x="1795" y="1787"/>
                        <a:pt x="1795" y="1771"/>
                        <a:pt x="1787" y="1763"/>
                      </a:cubicBezTo>
                      <a:cubicBezTo>
                        <a:pt x="1763" y="1708"/>
                        <a:pt x="1755" y="1692"/>
                        <a:pt x="1771" y="1637"/>
                      </a:cubicBezTo>
                      <a:cubicBezTo>
                        <a:pt x="1779" y="1605"/>
                        <a:pt x="1779" y="1573"/>
                        <a:pt x="1779" y="1550"/>
                      </a:cubicBezTo>
                      <a:cubicBezTo>
                        <a:pt x="1779" y="1518"/>
                        <a:pt x="1771" y="1502"/>
                        <a:pt x="1795" y="1486"/>
                      </a:cubicBezTo>
                      <a:cubicBezTo>
                        <a:pt x="1818" y="1463"/>
                        <a:pt x="1811" y="1431"/>
                        <a:pt x="1795" y="1376"/>
                      </a:cubicBezTo>
                      <a:cubicBezTo>
                        <a:pt x="1779" y="1328"/>
                        <a:pt x="1803" y="1249"/>
                        <a:pt x="1818" y="1233"/>
                      </a:cubicBezTo>
                      <a:cubicBezTo>
                        <a:pt x="1826" y="1226"/>
                        <a:pt x="1826" y="1226"/>
                        <a:pt x="1834" y="1218"/>
                      </a:cubicBezTo>
                      <a:cubicBezTo>
                        <a:pt x="1850" y="1210"/>
                        <a:pt x="1858" y="1202"/>
                        <a:pt x="1850" y="1170"/>
                      </a:cubicBezTo>
                      <a:cubicBezTo>
                        <a:pt x="1850" y="1162"/>
                        <a:pt x="1842" y="1146"/>
                        <a:pt x="1842" y="1139"/>
                      </a:cubicBezTo>
                      <a:cubicBezTo>
                        <a:pt x="1834" y="1107"/>
                        <a:pt x="1826" y="1083"/>
                        <a:pt x="1842" y="1036"/>
                      </a:cubicBezTo>
                      <a:cubicBezTo>
                        <a:pt x="1850" y="1012"/>
                        <a:pt x="1866" y="996"/>
                        <a:pt x="1874" y="981"/>
                      </a:cubicBezTo>
                      <a:cubicBezTo>
                        <a:pt x="1889" y="957"/>
                        <a:pt x="1898" y="941"/>
                        <a:pt x="1889" y="917"/>
                      </a:cubicBezTo>
                      <a:lnTo>
                        <a:pt x="1882" y="909"/>
                      </a:lnTo>
                      <a:cubicBezTo>
                        <a:pt x="1874" y="894"/>
                        <a:pt x="1874" y="894"/>
                        <a:pt x="1889" y="886"/>
                      </a:cubicBezTo>
                      <a:cubicBezTo>
                        <a:pt x="1889" y="878"/>
                        <a:pt x="1889" y="878"/>
                        <a:pt x="1898" y="870"/>
                      </a:cubicBezTo>
                      <a:cubicBezTo>
                        <a:pt x="1929" y="838"/>
                        <a:pt x="1929" y="822"/>
                        <a:pt x="1929" y="806"/>
                      </a:cubicBezTo>
                      <a:lnTo>
                        <a:pt x="1929" y="806"/>
                      </a:lnTo>
                      <a:cubicBezTo>
                        <a:pt x="1937" y="799"/>
                        <a:pt x="1937" y="791"/>
                        <a:pt x="1945" y="783"/>
                      </a:cubicBezTo>
                      <a:cubicBezTo>
                        <a:pt x="1953" y="767"/>
                        <a:pt x="1961" y="759"/>
                        <a:pt x="1961" y="743"/>
                      </a:cubicBezTo>
                      <a:cubicBezTo>
                        <a:pt x="1953" y="728"/>
                        <a:pt x="1961" y="720"/>
                        <a:pt x="1961" y="712"/>
                      </a:cubicBezTo>
                      <a:cubicBezTo>
                        <a:pt x="1969" y="704"/>
                        <a:pt x="1969" y="696"/>
                        <a:pt x="1969" y="696"/>
                      </a:cubicBezTo>
                      <a:cubicBezTo>
                        <a:pt x="1969" y="688"/>
                        <a:pt x="1969" y="680"/>
                        <a:pt x="1969" y="672"/>
                      </a:cubicBezTo>
                      <a:lnTo>
                        <a:pt x="1961" y="672"/>
                      </a:lnTo>
                      <a:lnTo>
                        <a:pt x="1961" y="672"/>
                      </a:lnTo>
                      <a:lnTo>
                        <a:pt x="1953" y="680"/>
                      </a:lnTo>
                      <a:cubicBezTo>
                        <a:pt x="1937" y="688"/>
                        <a:pt x="1929" y="688"/>
                        <a:pt x="1921" y="704"/>
                      </a:cubicBezTo>
                      <a:cubicBezTo>
                        <a:pt x="1921" y="720"/>
                        <a:pt x="1913" y="728"/>
                        <a:pt x="1905" y="735"/>
                      </a:cubicBezTo>
                      <a:cubicBezTo>
                        <a:pt x="1905" y="751"/>
                        <a:pt x="1889" y="767"/>
                        <a:pt x="1882" y="783"/>
                      </a:cubicBezTo>
                      <a:cubicBezTo>
                        <a:pt x="1882" y="799"/>
                        <a:pt x="1874" y="815"/>
                        <a:pt x="1866" y="822"/>
                      </a:cubicBezTo>
                      <a:cubicBezTo>
                        <a:pt x="1858" y="838"/>
                        <a:pt x="1858" y="846"/>
                        <a:pt x="1858" y="854"/>
                      </a:cubicBezTo>
                      <a:cubicBezTo>
                        <a:pt x="1858" y="862"/>
                        <a:pt x="1858" y="862"/>
                        <a:pt x="1858" y="870"/>
                      </a:cubicBezTo>
                      <a:cubicBezTo>
                        <a:pt x="1858" y="878"/>
                        <a:pt x="1858" y="878"/>
                        <a:pt x="1850" y="886"/>
                      </a:cubicBezTo>
                      <a:cubicBezTo>
                        <a:pt x="1850" y="886"/>
                        <a:pt x="1850" y="886"/>
                        <a:pt x="1842" y="886"/>
                      </a:cubicBezTo>
                      <a:lnTo>
                        <a:pt x="1842" y="886"/>
                      </a:lnTo>
                      <a:lnTo>
                        <a:pt x="1834" y="886"/>
                      </a:lnTo>
                      <a:cubicBezTo>
                        <a:pt x="1826" y="886"/>
                        <a:pt x="1826" y="886"/>
                        <a:pt x="1818" y="886"/>
                      </a:cubicBezTo>
                      <a:cubicBezTo>
                        <a:pt x="1811" y="886"/>
                        <a:pt x="1803" y="886"/>
                        <a:pt x="1803" y="902"/>
                      </a:cubicBezTo>
                      <a:cubicBezTo>
                        <a:pt x="1787" y="925"/>
                        <a:pt x="1779" y="933"/>
                        <a:pt x="1779" y="957"/>
                      </a:cubicBezTo>
                      <a:cubicBezTo>
                        <a:pt x="1771" y="957"/>
                        <a:pt x="1771" y="957"/>
                        <a:pt x="1771" y="957"/>
                      </a:cubicBezTo>
                      <a:lnTo>
                        <a:pt x="1771" y="965"/>
                      </a:lnTo>
                      <a:cubicBezTo>
                        <a:pt x="1771" y="981"/>
                        <a:pt x="1763" y="988"/>
                        <a:pt x="1747" y="996"/>
                      </a:cubicBezTo>
                      <a:cubicBezTo>
                        <a:pt x="1731" y="996"/>
                        <a:pt x="1716" y="1004"/>
                        <a:pt x="1708" y="1020"/>
                      </a:cubicBezTo>
                      <a:cubicBezTo>
                        <a:pt x="1708" y="1028"/>
                        <a:pt x="1708" y="1028"/>
                        <a:pt x="1708" y="1036"/>
                      </a:cubicBezTo>
                      <a:cubicBezTo>
                        <a:pt x="1708" y="1044"/>
                        <a:pt x="1700" y="1052"/>
                        <a:pt x="1692" y="1052"/>
                      </a:cubicBezTo>
                      <a:cubicBezTo>
                        <a:pt x="1692" y="1052"/>
                        <a:pt x="1692" y="1052"/>
                        <a:pt x="1684" y="1044"/>
                      </a:cubicBezTo>
                      <a:lnTo>
                        <a:pt x="1684" y="1044"/>
                      </a:lnTo>
                      <a:cubicBezTo>
                        <a:pt x="1676" y="1044"/>
                        <a:pt x="1676" y="1044"/>
                        <a:pt x="1676" y="1052"/>
                      </a:cubicBezTo>
                      <a:cubicBezTo>
                        <a:pt x="1668" y="1052"/>
                        <a:pt x="1668" y="1052"/>
                        <a:pt x="1668" y="1052"/>
                      </a:cubicBezTo>
                      <a:cubicBezTo>
                        <a:pt x="1660" y="1052"/>
                        <a:pt x="1660" y="1052"/>
                        <a:pt x="1660" y="1052"/>
                      </a:cubicBezTo>
                      <a:cubicBezTo>
                        <a:pt x="1660" y="1044"/>
                        <a:pt x="1660" y="1044"/>
                        <a:pt x="1668" y="1004"/>
                      </a:cubicBezTo>
                      <a:cubicBezTo>
                        <a:pt x="1676" y="949"/>
                        <a:pt x="1692" y="933"/>
                        <a:pt x="1700" y="917"/>
                      </a:cubicBezTo>
                      <a:cubicBezTo>
                        <a:pt x="1708" y="909"/>
                        <a:pt x="1716" y="902"/>
                        <a:pt x="1716" y="894"/>
                      </a:cubicBezTo>
                      <a:cubicBezTo>
                        <a:pt x="1716" y="878"/>
                        <a:pt x="1731" y="878"/>
                        <a:pt x="1739" y="878"/>
                      </a:cubicBezTo>
                      <a:lnTo>
                        <a:pt x="1739" y="878"/>
                      </a:lnTo>
                      <a:cubicBezTo>
                        <a:pt x="1755" y="878"/>
                        <a:pt x="1763" y="878"/>
                        <a:pt x="1771" y="854"/>
                      </a:cubicBezTo>
                      <a:cubicBezTo>
                        <a:pt x="1771" y="830"/>
                        <a:pt x="1771" y="822"/>
                        <a:pt x="1779" y="806"/>
                      </a:cubicBezTo>
                      <a:cubicBezTo>
                        <a:pt x="1779" y="799"/>
                        <a:pt x="1779" y="791"/>
                        <a:pt x="1779" y="791"/>
                      </a:cubicBezTo>
                      <a:cubicBezTo>
                        <a:pt x="1779" y="783"/>
                        <a:pt x="1771" y="783"/>
                        <a:pt x="1771" y="783"/>
                      </a:cubicBezTo>
                      <a:lnTo>
                        <a:pt x="1771" y="783"/>
                      </a:lnTo>
                      <a:cubicBezTo>
                        <a:pt x="1739" y="767"/>
                        <a:pt x="1739" y="743"/>
                        <a:pt x="1739" y="712"/>
                      </a:cubicBezTo>
                      <a:cubicBezTo>
                        <a:pt x="1739" y="712"/>
                        <a:pt x="1739" y="712"/>
                        <a:pt x="1739" y="704"/>
                      </a:cubicBezTo>
                      <a:lnTo>
                        <a:pt x="1739" y="696"/>
                      </a:lnTo>
                      <a:cubicBezTo>
                        <a:pt x="1739" y="680"/>
                        <a:pt x="1731" y="680"/>
                        <a:pt x="1708" y="672"/>
                      </a:cubicBezTo>
                      <a:cubicBezTo>
                        <a:pt x="1700" y="672"/>
                        <a:pt x="1692" y="672"/>
                        <a:pt x="1684" y="672"/>
                      </a:cubicBezTo>
                      <a:cubicBezTo>
                        <a:pt x="1676" y="664"/>
                        <a:pt x="1668" y="664"/>
                        <a:pt x="1668" y="664"/>
                      </a:cubicBezTo>
                      <a:cubicBezTo>
                        <a:pt x="1660" y="656"/>
                        <a:pt x="1668" y="649"/>
                        <a:pt x="1668" y="641"/>
                      </a:cubicBezTo>
                      <a:lnTo>
                        <a:pt x="1668" y="641"/>
                      </a:lnTo>
                      <a:cubicBezTo>
                        <a:pt x="1676" y="633"/>
                        <a:pt x="1684" y="609"/>
                        <a:pt x="1684" y="569"/>
                      </a:cubicBezTo>
                      <a:cubicBezTo>
                        <a:pt x="1684" y="491"/>
                        <a:pt x="1637" y="482"/>
                        <a:pt x="1613" y="482"/>
                      </a:cubicBezTo>
                      <a:lnTo>
                        <a:pt x="1613" y="482"/>
                      </a:lnTo>
                      <a:cubicBezTo>
                        <a:pt x="1589" y="475"/>
                        <a:pt x="1589" y="459"/>
                        <a:pt x="1581" y="419"/>
                      </a:cubicBezTo>
                      <a:cubicBezTo>
                        <a:pt x="1581" y="411"/>
                        <a:pt x="1581" y="411"/>
                        <a:pt x="1581" y="411"/>
                      </a:cubicBezTo>
                      <a:cubicBezTo>
                        <a:pt x="1581" y="395"/>
                        <a:pt x="1558" y="388"/>
                        <a:pt x="1526" y="388"/>
                      </a:cubicBezTo>
                      <a:cubicBezTo>
                        <a:pt x="1510" y="388"/>
                        <a:pt x="1486" y="388"/>
                        <a:pt x="1478" y="380"/>
                      </a:cubicBezTo>
                      <a:cubicBezTo>
                        <a:pt x="1471" y="372"/>
                        <a:pt x="1463" y="364"/>
                        <a:pt x="1463" y="364"/>
                      </a:cubicBezTo>
                      <a:cubicBezTo>
                        <a:pt x="1455" y="364"/>
                        <a:pt x="1447" y="372"/>
                        <a:pt x="1431" y="372"/>
                      </a:cubicBezTo>
                      <a:cubicBezTo>
                        <a:pt x="1423" y="380"/>
                        <a:pt x="1407" y="388"/>
                        <a:pt x="1384" y="388"/>
                      </a:cubicBezTo>
                      <a:lnTo>
                        <a:pt x="1384" y="388"/>
                      </a:lnTo>
                      <a:cubicBezTo>
                        <a:pt x="1368" y="395"/>
                        <a:pt x="1360" y="395"/>
                        <a:pt x="1352" y="395"/>
                      </a:cubicBezTo>
                      <a:lnTo>
                        <a:pt x="1352" y="395"/>
                      </a:lnTo>
                      <a:cubicBezTo>
                        <a:pt x="1328" y="395"/>
                        <a:pt x="1320" y="388"/>
                        <a:pt x="1312" y="372"/>
                      </a:cubicBezTo>
                      <a:lnTo>
                        <a:pt x="1312" y="372"/>
                      </a:lnTo>
                      <a:cubicBezTo>
                        <a:pt x="1305" y="372"/>
                        <a:pt x="1305" y="364"/>
                        <a:pt x="1297" y="356"/>
                      </a:cubicBezTo>
                      <a:lnTo>
                        <a:pt x="1297" y="356"/>
                      </a:lnTo>
                      <a:cubicBezTo>
                        <a:pt x="1265" y="324"/>
                        <a:pt x="1067" y="309"/>
                        <a:pt x="996" y="309"/>
                      </a:cubicBezTo>
                      <a:cubicBezTo>
                        <a:pt x="925" y="309"/>
                        <a:pt x="909" y="285"/>
                        <a:pt x="894" y="269"/>
                      </a:cubicBezTo>
                      <a:lnTo>
                        <a:pt x="894" y="269"/>
                      </a:lnTo>
                      <a:cubicBezTo>
                        <a:pt x="894" y="261"/>
                        <a:pt x="886" y="253"/>
                        <a:pt x="886" y="253"/>
                      </a:cubicBezTo>
                      <a:cubicBezTo>
                        <a:pt x="870" y="229"/>
                        <a:pt x="854" y="206"/>
                        <a:pt x="830" y="190"/>
                      </a:cubicBezTo>
                      <a:lnTo>
                        <a:pt x="830" y="190"/>
                      </a:lnTo>
                      <a:cubicBezTo>
                        <a:pt x="822" y="190"/>
                        <a:pt x="814" y="182"/>
                        <a:pt x="814" y="174"/>
                      </a:cubicBezTo>
                      <a:lnTo>
                        <a:pt x="814" y="174"/>
                      </a:lnTo>
                      <a:lnTo>
                        <a:pt x="814" y="174"/>
                      </a:lnTo>
                      <a:cubicBezTo>
                        <a:pt x="806" y="174"/>
                        <a:pt x="806" y="174"/>
                        <a:pt x="806" y="166"/>
                      </a:cubicBezTo>
                      <a:lnTo>
                        <a:pt x="806" y="166"/>
                      </a:lnTo>
                      <a:cubicBezTo>
                        <a:pt x="806" y="166"/>
                        <a:pt x="806" y="166"/>
                        <a:pt x="799" y="166"/>
                      </a:cubicBezTo>
                      <a:cubicBezTo>
                        <a:pt x="783" y="166"/>
                        <a:pt x="783" y="166"/>
                        <a:pt x="783" y="166"/>
                      </a:cubicBezTo>
                      <a:cubicBezTo>
                        <a:pt x="759" y="166"/>
                        <a:pt x="743" y="166"/>
                        <a:pt x="728" y="151"/>
                      </a:cubicBezTo>
                      <a:cubicBezTo>
                        <a:pt x="719" y="143"/>
                        <a:pt x="719" y="135"/>
                        <a:pt x="719" y="135"/>
                      </a:cubicBezTo>
                      <a:cubicBezTo>
                        <a:pt x="719" y="127"/>
                        <a:pt x="719" y="127"/>
                        <a:pt x="719" y="127"/>
                      </a:cubicBezTo>
                      <a:lnTo>
                        <a:pt x="719" y="127"/>
                      </a:lnTo>
                      <a:cubicBezTo>
                        <a:pt x="712" y="127"/>
                        <a:pt x="704" y="135"/>
                        <a:pt x="696" y="135"/>
                      </a:cubicBezTo>
                      <a:cubicBezTo>
                        <a:pt x="672" y="143"/>
                        <a:pt x="656" y="151"/>
                        <a:pt x="648" y="158"/>
                      </a:cubicBezTo>
                      <a:lnTo>
                        <a:pt x="641" y="166"/>
                      </a:lnTo>
                      <a:cubicBezTo>
                        <a:pt x="632" y="166"/>
                        <a:pt x="632" y="158"/>
                        <a:pt x="632" y="158"/>
                      </a:cubicBezTo>
                      <a:cubicBezTo>
                        <a:pt x="625" y="143"/>
                        <a:pt x="632" y="127"/>
                        <a:pt x="641" y="111"/>
                      </a:cubicBezTo>
                      <a:cubicBezTo>
                        <a:pt x="641" y="103"/>
                        <a:pt x="648" y="95"/>
                        <a:pt x="648" y="87"/>
                      </a:cubicBezTo>
                      <a:cubicBezTo>
                        <a:pt x="648" y="79"/>
                        <a:pt x="648" y="71"/>
                        <a:pt x="648" y="64"/>
                      </a:cubicBezTo>
                      <a:cubicBezTo>
                        <a:pt x="648" y="56"/>
                        <a:pt x="648" y="40"/>
                        <a:pt x="656" y="32"/>
                      </a:cubicBezTo>
                      <a:lnTo>
                        <a:pt x="656" y="32"/>
                      </a:lnTo>
                      <a:cubicBezTo>
                        <a:pt x="664" y="24"/>
                        <a:pt x="680" y="8"/>
                        <a:pt x="672" y="0"/>
                      </a:cubicBezTo>
                      <a:cubicBezTo>
                        <a:pt x="672" y="0"/>
                        <a:pt x="672" y="0"/>
                        <a:pt x="664" y="0"/>
                      </a:cubicBezTo>
                      <a:cubicBezTo>
                        <a:pt x="656" y="0"/>
                        <a:pt x="656" y="0"/>
                        <a:pt x="656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8" name="Freeform 678">
                  <a:extLst>
                    <a:ext uri="{FF2B5EF4-FFF2-40B4-BE49-F238E27FC236}">
                      <a16:creationId xmlns:a16="http://schemas.microsoft.com/office/drawing/2014/main" id="{19F85E46-95B0-F249-89D2-6AE1B35D0A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0015" y="4243329"/>
                  <a:ext cx="519524" cy="333980"/>
                </a:xfrm>
                <a:custGeom>
                  <a:avLst/>
                  <a:gdLst>
                    <a:gd name="T0" fmla="*/ 7 w 989"/>
                    <a:gd name="T1" fmla="*/ 0 h 634"/>
                    <a:gd name="T2" fmla="*/ 0 w 989"/>
                    <a:gd name="T3" fmla="*/ 0 h 634"/>
                    <a:gd name="T4" fmla="*/ 7 w 989"/>
                    <a:gd name="T5" fmla="*/ 8 h 634"/>
                    <a:gd name="T6" fmla="*/ 7 w 989"/>
                    <a:gd name="T7" fmla="*/ 8 h 634"/>
                    <a:gd name="T8" fmla="*/ 15 w 989"/>
                    <a:gd name="T9" fmla="*/ 16 h 634"/>
                    <a:gd name="T10" fmla="*/ 31 w 989"/>
                    <a:gd name="T11" fmla="*/ 32 h 634"/>
                    <a:gd name="T12" fmla="*/ 87 w 989"/>
                    <a:gd name="T13" fmla="*/ 95 h 634"/>
                    <a:gd name="T14" fmla="*/ 95 w 989"/>
                    <a:gd name="T15" fmla="*/ 111 h 634"/>
                    <a:gd name="T16" fmla="*/ 498 w 989"/>
                    <a:gd name="T17" fmla="*/ 198 h 634"/>
                    <a:gd name="T18" fmla="*/ 513 w 989"/>
                    <a:gd name="T19" fmla="*/ 214 h 634"/>
                    <a:gd name="T20" fmla="*/ 553 w 989"/>
                    <a:gd name="T21" fmla="*/ 237 h 634"/>
                    <a:gd name="T22" fmla="*/ 585 w 989"/>
                    <a:gd name="T23" fmla="*/ 230 h 634"/>
                    <a:gd name="T24" fmla="*/ 632 w 989"/>
                    <a:gd name="T25" fmla="*/ 214 h 634"/>
                    <a:gd name="T26" fmla="*/ 679 w 989"/>
                    <a:gd name="T27" fmla="*/ 222 h 634"/>
                    <a:gd name="T28" fmla="*/ 782 w 989"/>
                    <a:gd name="T29" fmla="*/ 253 h 634"/>
                    <a:gd name="T30" fmla="*/ 814 w 989"/>
                    <a:gd name="T31" fmla="*/ 324 h 634"/>
                    <a:gd name="T32" fmla="*/ 885 w 989"/>
                    <a:gd name="T33" fmla="*/ 411 h 634"/>
                    <a:gd name="T34" fmla="*/ 885 w 989"/>
                    <a:gd name="T35" fmla="*/ 411 h 634"/>
                    <a:gd name="T36" fmla="*/ 869 w 989"/>
                    <a:gd name="T37" fmla="*/ 483 h 634"/>
                    <a:gd name="T38" fmla="*/ 885 w 989"/>
                    <a:gd name="T39" fmla="*/ 514 h 634"/>
                    <a:gd name="T40" fmla="*/ 940 w 989"/>
                    <a:gd name="T41" fmla="*/ 538 h 634"/>
                    <a:gd name="T42" fmla="*/ 940 w 989"/>
                    <a:gd name="T43" fmla="*/ 538 h 634"/>
                    <a:gd name="T44" fmla="*/ 940 w 989"/>
                    <a:gd name="T45" fmla="*/ 554 h 634"/>
                    <a:gd name="T46" fmla="*/ 972 w 989"/>
                    <a:gd name="T47" fmla="*/ 625 h 634"/>
                    <a:gd name="T48" fmla="*/ 988 w 989"/>
                    <a:gd name="T49" fmla="*/ 633 h 634"/>
                    <a:gd name="T50" fmla="*/ 988 w 989"/>
                    <a:gd name="T51" fmla="*/ 625 h 634"/>
                    <a:gd name="T52" fmla="*/ 988 w 989"/>
                    <a:gd name="T53" fmla="*/ 625 h 634"/>
                    <a:gd name="T54" fmla="*/ 980 w 989"/>
                    <a:gd name="T55" fmla="*/ 625 h 634"/>
                    <a:gd name="T56" fmla="*/ 948 w 989"/>
                    <a:gd name="T57" fmla="*/ 554 h 634"/>
                    <a:gd name="T58" fmla="*/ 948 w 989"/>
                    <a:gd name="T59" fmla="*/ 538 h 634"/>
                    <a:gd name="T60" fmla="*/ 885 w 989"/>
                    <a:gd name="T61" fmla="*/ 506 h 634"/>
                    <a:gd name="T62" fmla="*/ 877 w 989"/>
                    <a:gd name="T63" fmla="*/ 498 h 634"/>
                    <a:gd name="T64" fmla="*/ 893 w 989"/>
                    <a:gd name="T65" fmla="*/ 411 h 634"/>
                    <a:gd name="T66" fmla="*/ 814 w 989"/>
                    <a:gd name="T67" fmla="*/ 317 h 634"/>
                    <a:gd name="T68" fmla="*/ 790 w 989"/>
                    <a:gd name="T69" fmla="*/ 253 h 634"/>
                    <a:gd name="T70" fmla="*/ 679 w 989"/>
                    <a:gd name="T71" fmla="*/ 214 h 634"/>
                    <a:gd name="T72" fmla="*/ 632 w 989"/>
                    <a:gd name="T73" fmla="*/ 214 h 634"/>
                    <a:gd name="T74" fmla="*/ 553 w 989"/>
                    <a:gd name="T75" fmla="*/ 230 h 634"/>
                    <a:gd name="T76" fmla="*/ 506 w 989"/>
                    <a:gd name="T77" fmla="*/ 198 h 634"/>
                    <a:gd name="T78" fmla="*/ 102 w 989"/>
                    <a:gd name="T79" fmla="*/ 103 h 634"/>
                    <a:gd name="T80" fmla="*/ 87 w 989"/>
                    <a:gd name="T81" fmla="*/ 87 h 634"/>
                    <a:gd name="T82" fmla="*/ 31 w 989"/>
                    <a:gd name="T83" fmla="*/ 24 h 634"/>
                    <a:gd name="T84" fmla="*/ 31 w 989"/>
                    <a:gd name="T85" fmla="*/ 24 h 634"/>
                    <a:gd name="T86" fmla="*/ 15 w 989"/>
                    <a:gd name="T87" fmla="*/ 8 h 634"/>
                    <a:gd name="T88" fmla="*/ 15 w 989"/>
                    <a:gd name="T89" fmla="*/ 8 h 6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89" h="634">
                      <a:moveTo>
                        <a:pt x="7" y="0"/>
                      </a:moveTo>
                      <a:lnTo>
                        <a:pt x="7" y="0"/>
                      </a:lnTo>
                      <a:lnTo>
                        <a:pt x="7" y="0"/>
                      </a:lnTo>
                      <a:cubicBezTo>
                        <a:pt x="7" y="0"/>
                        <a:pt x="7" y="0"/>
                        <a:pt x="0" y="0"/>
                      </a:cubicBezTo>
                      <a:lnTo>
                        <a:pt x="0" y="0"/>
                      </a:lnTo>
                      <a:cubicBezTo>
                        <a:pt x="7" y="8"/>
                        <a:pt x="7" y="8"/>
                        <a:pt x="7" y="8"/>
                      </a:cubicBezTo>
                      <a:lnTo>
                        <a:pt x="7" y="8"/>
                      </a:lnTo>
                      <a:lnTo>
                        <a:pt x="7" y="8"/>
                      </a:lnTo>
                      <a:cubicBezTo>
                        <a:pt x="7" y="16"/>
                        <a:pt x="7" y="16"/>
                        <a:pt x="15" y="16"/>
                      </a:cubicBezTo>
                      <a:lnTo>
                        <a:pt x="15" y="16"/>
                      </a:lnTo>
                      <a:lnTo>
                        <a:pt x="15" y="16"/>
                      </a:lnTo>
                      <a:cubicBezTo>
                        <a:pt x="15" y="24"/>
                        <a:pt x="23" y="32"/>
                        <a:pt x="31" y="32"/>
                      </a:cubicBezTo>
                      <a:lnTo>
                        <a:pt x="31" y="32"/>
                      </a:lnTo>
                      <a:cubicBezTo>
                        <a:pt x="55" y="48"/>
                        <a:pt x="71" y="71"/>
                        <a:pt x="87" y="95"/>
                      </a:cubicBezTo>
                      <a:cubicBezTo>
                        <a:pt x="87" y="95"/>
                        <a:pt x="95" y="103"/>
                        <a:pt x="95" y="111"/>
                      </a:cubicBezTo>
                      <a:lnTo>
                        <a:pt x="95" y="111"/>
                      </a:lnTo>
                      <a:cubicBezTo>
                        <a:pt x="110" y="127"/>
                        <a:pt x="126" y="151"/>
                        <a:pt x="197" y="151"/>
                      </a:cubicBezTo>
                      <a:cubicBezTo>
                        <a:pt x="268" y="151"/>
                        <a:pt x="466" y="166"/>
                        <a:pt x="498" y="198"/>
                      </a:cubicBezTo>
                      <a:lnTo>
                        <a:pt x="498" y="198"/>
                      </a:lnTo>
                      <a:cubicBezTo>
                        <a:pt x="506" y="206"/>
                        <a:pt x="506" y="214"/>
                        <a:pt x="513" y="214"/>
                      </a:cubicBezTo>
                      <a:lnTo>
                        <a:pt x="513" y="214"/>
                      </a:lnTo>
                      <a:cubicBezTo>
                        <a:pt x="521" y="230"/>
                        <a:pt x="529" y="237"/>
                        <a:pt x="553" y="237"/>
                      </a:cubicBezTo>
                      <a:lnTo>
                        <a:pt x="553" y="237"/>
                      </a:lnTo>
                      <a:cubicBezTo>
                        <a:pt x="561" y="237"/>
                        <a:pt x="569" y="237"/>
                        <a:pt x="585" y="230"/>
                      </a:cubicBezTo>
                      <a:lnTo>
                        <a:pt x="585" y="230"/>
                      </a:lnTo>
                      <a:cubicBezTo>
                        <a:pt x="608" y="230"/>
                        <a:pt x="624" y="222"/>
                        <a:pt x="632" y="214"/>
                      </a:cubicBezTo>
                      <a:cubicBezTo>
                        <a:pt x="648" y="214"/>
                        <a:pt x="656" y="206"/>
                        <a:pt x="664" y="206"/>
                      </a:cubicBezTo>
                      <a:cubicBezTo>
                        <a:pt x="664" y="206"/>
                        <a:pt x="672" y="214"/>
                        <a:pt x="679" y="222"/>
                      </a:cubicBezTo>
                      <a:cubicBezTo>
                        <a:pt x="687" y="230"/>
                        <a:pt x="711" y="230"/>
                        <a:pt x="727" y="230"/>
                      </a:cubicBezTo>
                      <a:cubicBezTo>
                        <a:pt x="759" y="230"/>
                        <a:pt x="782" y="237"/>
                        <a:pt x="782" y="253"/>
                      </a:cubicBezTo>
                      <a:cubicBezTo>
                        <a:pt x="782" y="261"/>
                        <a:pt x="782" y="261"/>
                        <a:pt x="782" y="261"/>
                      </a:cubicBezTo>
                      <a:cubicBezTo>
                        <a:pt x="790" y="301"/>
                        <a:pt x="790" y="317"/>
                        <a:pt x="814" y="324"/>
                      </a:cubicBezTo>
                      <a:lnTo>
                        <a:pt x="814" y="324"/>
                      </a:lnTo>
                      <a:cubicBezTo>
                        <a:pt x="838" y="324"/>
                        <a:pt x="885" y="333"/>
                        <a:pt x="885" y="411"/>
                      </a:cubicBezTo>
                      <a:lnTo>
                        <a:pt x="885" y="411"/>
                      </a:lnTo>
                      <a:lnTo>
                        <a:pt x="885" y="411"/>
                      </a:lnTo>
                      <a:cubicBezTo>
                        <a:pt x="885" y="451"/>
                        <a:pt x="877" y="475"/>
                        <a:pt x="869" y="483"/>
                      </a:cubicBezTo>
                      <a:lnTo>
                        <a:pt x="869" y="483"/>
                      </a:lnTo>
                      <a:cubicBezTo>
                        <a:pt x="869" y="491"/>
                        <a:pt x="861" y="498"/>
                        <a:pt x="869" y="506"/>
                      </a:cubicBezTo>
                      <a:cubicBezTo>
                        <a:pt x="869" y="506"/>
                        <a:pt x="877" y="506"/>
                        <a:pt x="885" y="514"/>
                      </a:cubicBezTo>
                      <a:cubicBezTo>
                        <a:pt x="893" y="514"/>
                        <a:pt x="901" y="514"/>
                        <a:pt x="909" y="514"/>
                      </a:cubicBezTo>
                      <a:cubicBezTo>
                        <a:pt x="932" y="522"/>
                        <a:pt x="940" y="522"/>
                        <a:pt x="940" y="538"/>
                      </a:cubicBezTo>
                      <a:lnTo>
                        <a:pt x="940" y="538"/>
                      </a:lnTo>
                      <a:lnTo>
                        <a:pt x="940" y="538"/>
                      </a:lnTo>
                      <a:lnTo>
                        <a:pt x="940" y="546"/>
                      </a:lnTo>
                      <a:cubicBezTo>
                        <a:pt x="940" y="554"/>
                        <a:pt x="940" y="554"/>
                        <a:pt x="940" y="554"/>
                      </a:cubicBezTo>
                      <a:cubicBezTo>
                        <a:pt x="940" y="585"/>
                        <a:pt x="940" y="609"/>
                        <a:pt x="972" y="625"/>
                      </a:cubicBezTo>
                      <a:lnTo>
                        <a:pt x="972" y="625"/>
                      </a:lnTo>
                      <a:lnTo>
                        <a:pt x="980" y="633"/>
                      </a:lnTo>
                      <a:cubicBezTo>
                        <a:pt x="988" y="633"/>
                        <a:pt x="988" y="633"/>
                        <a:pt x="988" y="633"/>
                      </a:cubicBezTo>
                      <a:cubicBezTo>
                        <a:pt x="988" y="625"/>
                        <a:pt x="988" y="625"/>
                        <a:pt x="988" y="625"/>
                      </a:cubicBezTo>
                      <a:lnTo>
                        <a:pt x="988" y="625"/>
                      </a:lnTo>
                      <a:lnTo>
                        <a:pt x="988" y="625"/>
                      </a:lnTo>
                      <a:lnTo>
                        <a:pt x="988" y="625"/>
                      </a:lnTo>
                      <a:cubicBezTo>
                        <a:pt x="980" y="625"/>
                        <a:pt x="980" y="625"/>
                        <a:pt x="980" y="625"/>
                      </a:cubicBezTo>
                      <a:lnTo>
                        <a:pt x="980" y="625"/>
                      </a:lnTo>
                      <a:cubicBezTo>
                        <a:pt x="980" y="625"/>
                        <a:pt x="980" y="617"/>
                        <a:pt x="972" y="617"/>
                      </a:cubicBezTo>
                      <a:cubicBezTo>
                        <a:pt x="948" y="609"/>
                        <a:pt x="948" y="585"/>
                        <a:pt x="948" y="554"/>
                      </a:cubicBezTo>
                      <a:cubicBezTo>
                        <a:pt x="948" y="554"/>
                        <a:pt x="948" y="554"/>
                        <a:pt x="948" y="546"/>
                      </a:cubicBezTo>
                      <a:lnTo>
                        <a:pt x="948" y="538"/>
                      </a:lnTo>
                      <a:cubicBezTo>
                        <a:pt x="948" y="514"/>
                        <a:pt x="932" y="514"/>
                        <a:pt x="909" y="506"/>
                      </a:cubicBezTo>
                      <a:cubicBezTo>
                        <a:pt x="901" y="506"/>
                        <a:pt x="893" y="506"/>
                        <a:pt x="885" y="506"/>
                      </a:cubicBezTo>
                      <a:cubicBezTo>
                        <a:pt x="885" y="506"/>
                        <a:pt x="877" y="506"/>
                        <a:pt x="877" y="498"/>
                      </a:cubicBezTo>
                      <a:lnTo>
                        <a:pt x="877" y="498"/>
                      </a:lnTo>
                      <a:lnTo>
                        <a:pt x="877" y="491"/>
                      </a:lnTo>
                      <a:cubicBezTo>
                        <a:pt x="885" y="475"/>
                        <a:pt x="893" y="451"/>
                        <a:pt x="893" y="411"/>
                      </a:cubicBezTo>
                      <a:cubicBezTo>
                        <a:pt x="893" y="333"/>
                        <a:pt x="838" y="317"/>
                        <a:pt x="814" y="317"/>
                      </a:cubicBezTo>
                      <a:lnTo>
                        <a:pt x="814" y="317"/>
                      </a:lnTo>
                      <a:cubicBezTo>
                        <a:pt x="798" y="309"/>
                        <a:pt x="798" y="301"/>
                        <a:pt x="790" y="261"/>
                      </a:cubicBezTo>
                      <a:cubicBezTo>
                        <a:pt x="790" y="253"/>
                        <a:pt x="790" y="253"/>
                        <a:pt x="790" y="253"/>
                      </a:cubicBezTo>
                      <a:cubicBezTo>
                        <a:pt x="790" y="230"/>
                        <a:pt x="759" y="230"/>
                        <a:pt x="727" y="222"/>
                      </a:cubicBezTo>
                      <a:cubicBezTo>
                        <a:pt x="711" y="222"/>
                        <a:pt x="687" y="222"/>
                        <a:pt x="679" y="214"/>
                      </a:cubicBezTo>
                      <a:cubicBezTo>
                        <a:pt x="679" y="206"/>
                        <a:pt x="672" y="198"/>
                        <a:pt x="664" y="198"/>
                      </a:cubicBezTo>
                      <a:cubicBezTo>
                        <a:pt x="648" y="198"/>
                        <a:pt x="640" y="206"/>
                        <a:pt x="632" y="214"/>
                      </a:cubicBezTo>
                      <a:cubicBezTo>
                        <a:pt x="616" y="214"/>
                        <a:pt x="600" y="222"/>
                        <a:pt x="585" y="222"/>
                      </a:cubicBezTo>
                      <a:cubicBezTo>
                        <a:pt x="569" y="230"/>
                        <a:pt x="561" y="230"/>
                        <a:pt x="553" y="230"/>
                      </a:cubicBezTo>
                      <a:cubicBezTo>
                        <a:pt x="537" y="230"/>
                        <a:pt x="529" y="222"/>
                        <a:pt x="513" y="214"/>
                      </a:cubicBezTo>
                      <a:cubicBezTo>
                        <a:pt x="513" y="206"/>
                        <a:pt x="506" y="198"/>
                        <a:pt x="506" y="198"/>
                      </a:cubicBezTo>
                      <a:cubicBezTo>
                        <a:pt x="466" y="158"/>
                        <a:pt x="268" y="143"/>
                        <a:pt x="197" y="143"/>
                      </a:cubicBezTo>
                      <a:cubicBezTo>
                        <a:pt x="126" y="143"/>
                        <a:pt x="110" y="119"/>
                        <a:pt x="102" y="103"/>
                      </a:cubicBezTo>
                      <a:lnTo>
                        <a:pt x="102" y="103"/>
                      </a:lnTo>
                      <a:cubicBezTo>
                        <a:pt x="95" y="103"/>
                        <a:pt x="95" y="95"/>
                        <a:pt x="87" y="87"/>
                      </a:cubicBezTo>
                      <a:cubicBezTo>
                        <a:pt x="79" y="71"/>
                        <a:pt x="55" y="40"/>
                        <a:pt x="31" y="24"/>
                      </a:cubicBezTo>
                      <a:lnTo>
                        <a:pt x="31" y="24"/>
                      </a:lnTo>
                      <a:lnTo>
                        <a:pt x="31" y="24"/>
                      </a:lnTo>
                      <a:lnTo>
                        <a:pt x="31" y="24"/>
                      </a:lnTo>
                      <a:lnTo>
                        <a:pt x="31" y="24"/>
                      </a:lnTo>
                      <a:cubicBezTo>
                        <a:pt x="31" y="24"/>
                        <a:pt x="23" y="16"/>
                        <a:pt x="15" y="8"/>
                      </a:cubicBezTo>
                      <a:lnTo>
                        <a:pt x="15" y="8"/>
                      </a:lnTo>
                      <a:lnTo>
                        <a:pt x="15" y="8"/>
                      </a:lnTo>
                      <a:cubicBezTo>
                        <a:pt x="7" y="0"/>
                        <a:pt x="7" y="0"/>
                        <a:pt x="7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9" name="Freeform 704">
                  <a:extLst>
                    <a:ext uri="{FF2B5EF4-FFF2-40B4-BE49-F238E27FC236}">
                      <a16:creationId xmlns:a16="http://schemas.microsoft.com/office/drawing/2014/main" id="{1F857A9C-CF21-D441-A998-DF0FA0BACE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4923" y="5215119"/>
                  <a:ext cx="786245" cy="1391584"/>
                </a:xfrm>
                <a:custGeom>
                  <a:avLst/>
                  <a:gdLst>
                    <a:gd name="T0" fmla="*/ 1217 w 1495"/>
                    <a:gd name="T1" fmla="*/ 0 h 2648"/>
                    <a:gd name="T2" fmla="*/ 245 w 1495"/>
                    <a:gd name="T3" fmla="*/ 95 h 2648"/>
                    <a:gd name="T4" fmla="*/ 245 w 1495"/>
                    <a:gd name="T5" fmla="*/ 95 h 2648"/>
                    <a:gd name="T6" fmla="*/ 284 w 1495"/>
                    <a:gd name="T7" fmla="*/ 135 h 2648"/>
                    <a:gd name="T8" fmla="*/ 387 w 1495"/>
                    <a:gd name="T9" fmla="*/ 253 h 2648"/>
                    <a:gd name="T10" fmla="*/ 419 w 1495"/>
                    <a:gd name="T11" fmla="*/ 269 h 2648"/>
                    <a:gd name="T12" fmla="*/ 395 w 1495"/>
                    <a:gd name="T13" fmla="*/ 435 h 2648"/>
                    <a:gd name="T14" fmla="*/ 332 w 1495"/>
                    <a:gd name="T15" fmla="*/ 554 h 2648"/>
                    <a:gd name="T16" fmla="*/ 284 w 1495"/>
                    <a:gd name="T17" fmla="*/ 570 h 2648"/>
                    <a:gd name="T18" fmla="*/ 197 w 1495"/>
                    <a:gd name="T19" fmla="*/ 617 h 2648"/>
                    <a:gd name="T20" fmla="*/ 182 w 1495"/>
                    <a:gd name="T21" fmla="*/ 609 h 2648"/>
                    <a:gd name="T22" fmla="*/ 158 w 1495"/>
                    <a:gd name="T23" fmla="*/ 609 h 2648"/>
                    <a:gd name="T24" fmla="*/ 118 w 1495"/>
                    <a:gd name="T25" fmla="*/ 625 h 2648"/>
                    <a:gd name="T26" fmla="*/ 118 w 1495"/>
                    <a:gd name="T27" fmla="*/ 672 h 2648"/>
                    <a:gd name="T28" fmla="*/ 150 w 1495"/>
                    <a:gd name="T29" fmla="*/ 735 h 2648"/>
                    <a:gd name="T30" fmla="*/ 174 w 1495"/>
                    <a:gd name="T31" fmla="*/ 775 h 2648"/>
                    <a:gd name="T32" fmla="*/ 126 w 1495"/>
                    <a:gd name="T33" fmla="*/ 886 h 2648"/>
                    <a:gd name="T34" fmla="*/ 134 w 1495"/>
                    <a:gd name="T35" fmla="*/ 933 h 2648"/>
                    <a:gd name="T36" fmla="*/ 134 w 1495"/>
                    <a:gd name="T37" fmla="*/ 933 h 2648"/>
                    <a:gd name="T38" fmla="*/ 24 w 1495"/>
                    <a:gd name="T39" fmla="*/ 1012 h 2648"/>
                    <a:gd name="T40" fmla="*/ 15 w 1495"/>
                    <a:gd name="T41" fmla="*/ 1020 h 2648"/>
                    <a:gd name="T42" fmla="*/ 31 w 1495"/>
                    <a:gd name="T43" fmla="*/ 1044 h 2648"/>
                    <a:gd name="T44" fmla="*/ 15 w 1495"/>
                    <a:gd name="T45" fmla="*/ 1107 h 2648"/>
                    <a:gd name="T46" fmla="*/ 15 w 1495"/>
                    <a:gd name="T47" fmla="*/ 1115 h 2648"/>
                    <a:gd name="T48" fmla="*/ 95 w 1495"/>
                    <a:gd name="T49" fmla="*/ 1423 h 2648"/>
                    <a:gd name="T50" fmla="*/ 284 w 1495"/>
                    <a:gd name="T51" fmla="*/ 1605 h 2648"/>
                    <a:gd name="T52" fmla="*/ 332 w 1495"/>
                    <a:gd name="T53" fmla="*/ 1747 h 2648"/>
                    <a:gd name="T54" fmla="*/ 364 w 1495"/>
                    <a:gd name="T55" fmla="*/ 1763 h 2648"/>
                    <a:gd name="T56" fmla="*/ 403 w 1495"/>
                    <a:gd name="T57" fmla="*/ 1747 h 2648"/>
                    <a:gd name="T58" fmla="*/ 442 w 1495"/>
                    <a:gd name="T59" fmla="*/ 1771 h 2648"/>
                    <a:gd name="T60" fmla="*/ 458 w 1495"/>
                    <a:gd name="T61" fmla="*/ 1747 h 2648"/>
                    <a:gd name="T62" fmla="*/ 466 w 1495"/>
                    <a:gd name="T63" fmla="*/ 2016 h 2648"/>
                    <a:gd name="T64" fmla="*/ 648 w 1495"/>
                    <a:gd name="T65" fmla="*/ 2252 h 2648"/>
                    <a:gd name="T66" fmla="*/ 743 w 1495"/>
                    <a:gd name="T67" fmla="*/ 2316 h 2648"/>
                    <a:gd name="T68" fmla="*/ 806 w 1495"/>
                    <a:gd name="T69" fmla="*/ 2355 h 2648"/>
                    <a:gd name="T70" fmla="*/ 854 w 1495"/>
                    <a:gd name="T71" fmla="*/ 2466 h 2648"/>
                    <a:gd name="T72" fmla="*/ 822 w 1495"/>
                    <a:gd name="T73" fmla="*/ 2521 h 2648"/>
                    <a:gd name="T74" fmla="*/ 877 w 1495"/>
                    <a:gd name="T75" fmla="*/ 2624 h 2648"/>
                    <a:gd name="T76" fmla="*/ 948 w 1495"/>
                    <a:gd name="T77" fmla="*/ 2647 h 2648"/>
                    <a:gd name="T78" fmla="*/ 964 w 1495"/>
                    <a:gd name="T79" fmla="*/ 2647 h 2648"/>
                    <a:gd name="T80" fmla="*/ 1051 w 1495"/>
                    <a:gd name="T81" fmla="*/ 2561 h 2648"/>
                    <a:gd name="T82" fmla="*/ 1178 w 1495"/>
                    <a:gd name="T83" fmla="*/ 2600 h 2648"/>
                    <a:gd name="T84" fmla="*/ 1209 w 1495"/>
                    <a:gd name="T85" fmla="*/ 2521 h 2648"/>
                    <a:gd name="T86" fmla="*/ 1194 w 1495"/>
                    <a:gd name="T87" fmla="*/ 2434 h 2648"/>
                    <a:gd name="T88" fmla="*/ 1344 w 1495"/>
                    <a:gd name="T89" fmla="*/ 2387 h 2648"/>
                    <a:gd name="T90" fmla="*/ 1320 w 1495"/>
                    <a:gd name="T91" fmla="*/ 2339 h 2648"/>
                    <a:gd name="T92" fmla="*/ 1320 w 1495"/>
                    <a:gd name="T93" fmla="*/ 2292 h 2648"/>
                    <a:gd name="T94" fmla="*/ 1336 w 1495"/>
                    <a:gd name="T95" fmla="*/ 2236 h 2648"/>
                    <a:gd name="T96" fmla="*/ 1336 w 1495"/>
                    <a:gd name="T97" fmla="*/ 2126 h 2648"/>
                    <a:gd name="T98" fmla="*/ 1352 w 1495"/>
                    <a:gd name="T99" fmla="*/ 2063 h 2648"/>
                    <a:gd name="T100" fmla="*/ 1447 w 1495"/>
                    <a:gd name="T101" fmla="*/ 1874 h 2648"/>
                    <a:gd name="T102" fmla="*/ 1494 w 1495"/>
                    <a:gd name="T103" fmla="*/ 1787 h 2648"/>
                    <a:gd name="T104" fmla="*/ 1462 w 1495"/>
                    <a:gd name="T105" fmla="*/ 1668 h 2648"/>
                    <a:gd name="T106" fmla="*/ 1447 w 1495"/>
                    <a:gd name="T107" fmla="*/ 1621 h 2648"/>
                    <a:gd name="T108" fmla="*/ 1439 w 1495"/>
                    <a:gd name="T109" fmla="*/ 1510 h 2648"/>
                    <a:gd name="T110" fmla="*/ 1352 w 1495"/>
                    <a:gd name="T111" fmla="*/ 372 h 2648"/>
                    <a:gd name="T112" fmla="*/ 1304 w 1495"/>
                    <a:gd name="T113" fmla="*/ 285 h 2648"/>
                    <a:gd name="T114" fmla="*/ 1241 w 1495"/>
                    <a:gd name="T115" fmla="*/ 174 h 2648"/>
                    <a:gd name="T116" fmla="*/ 1225 w 1495"/>
                    <a:gd name="T117" fmla="*/ 95 h 26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495" h="2648">
                      <a:moveTo>
                        <a:pt x="1217" y="0"/>
                      </a:moveTo>
                      <a:lnTo>
                        <a:pt x="1217" y="0"/>
                      </a:lnTo>
                      <a:cubicBezTo>
                        <a:pt x="1043" y="24"/>
                        <a:pt x="435" y="71"/>
                        <a:pt x="245" y="87"/>
                      </a:cubicBezTo>
                      <a:cubicBezTo>
                        <a:pt x="245" y="95"/>
                        <a:pt x="245" y="95"/>
                        <a:pt x="245" y="95"/>
                      </a:cubicBezTo>
                      <a:lnTo>
                        <a:pt x="245" y="95"/>
                      </a:lnTo>
                      <a:lnTo>
                        <a:pt x="245" y="95"/>
                      </a:lnTo>
                      <a:lnTo>
                        <a:pt x="245" y="95"/>
                      </a:lnTo>
                      <a:cubicBezTo>
                        <a:pt x="253" y="103"/>
                        <a:pt x="269" y="119"/>
                        <a:pt x="284" y="135"/>
                      </a:cubicBezTo>
                      <a:cubicBezTo>
                        <a:pt x="308" y="158"/>
                        <a:pt x="340" y="182"/>
                        <a:pt x="340" y="206"/>
                      </a:cubicBezTo>
                      <a:cubicBezTo>
                        <a:pt x="340" y="230"/>
                        <a:pt x="364" y="237"/>
                        <a:pt x="387" y="253"/>
                      </a:cubicBezTo>
                      <a:cubicBezTo>
                        <a:pt x="395" y="253"/>
                        <a:pt x="411" y="261"/>
                        <a:pt x="419" y="269"/>
                      </a:cubicBezTo>
                      <a:lnTo>
                        <a:pt x="419" y="269"/>
                      </a:lnTo>
                      <a:cubicBezTo>
                        <a:pt x="435" y="301"/>
                        <a:pt x="442" y="372"/>
                        <a:pt x="419" y="403"/>
                      </a:cubicBezTo>
                      <a:cubicBezTo>
                        <a:pt x="419" y="419"/>
                        <a:pt x="403" y="427"/>
                        <a:pt x="395" y="435"/>
                      </a:cubicBezTo>
                      <a:cubicBezTo>
                        <a:pt x="387" y="443"/>
                        <a:pt x="371" y="451"/>
                        <a:pt x="371" y="490"/>
                      </a:cubicBezTo>
                      <a:cubicBezTo>
                        <a:pt x="371" y="530"/>
                        <a:pt x="355" y="546"/>
                        <a:pt x="332" y="554"/>
                      </a:cubicBezTo>
                      <a:cubicBezTo>
                        <a:pt x="324" y="554"/>
                        <a:pt x="316" y="554"/>
                        <a:pt x="316" y="561"/>
                      </a:cubicBezTo>
                      <a:cubicBezTo>
                        <a:pt x="300" y="570"/>
                        <a:pt x="292" y="570"/>
                        <a:pt x="284" y="570"/>
                      </a:cubicBezTo>
                      <a:cubicBezTo>
                        <a:pt x="269" y="577"/>
                        <a:pt x="261" y="585"/>
                        <a:pt x="245" y="601"/>
                      </a:cubicBezTo>
                      <a:cubicBezTo>
                        <a:pt x="229" y="609"/>
                        <a:pt x="213" y="617"/>
                        <a:pt x="197" y="617"/>
                      </a:cubicBezTo>
                      <a:lnTo>
                        <a:pt x="197" y="617"/>
                      </a:lnTo>
                      <a:cubicBezTo>
                        <a:pt x="197" y="617"/>
                        <a:pt x="189" y="609"/>
                        <a:pt x="182" y="609"/>
                      </a:cubicBezTo>
                      <a:lnTo>
                        <a:pt x="182" y="609"/>
                      </a:lnTo>
                      <a:cubicBezTo>
                        <a:pt x="174" y="609"/>
                        <a:pt x="166" y="609"/>
                        <a:pt x="158" y="609"/>
                      </a:cubicBezTo>
                      <a:cubicBezTo>
                        <a:pt x="142" y="609"/>
                        <a:pt x="134" y="609"/>
                        <a:pt x="134" y="617"/>
                      </a:cubicBezTo>
                      <a:cubicBezTo>
                        <a:pt x="126" y="617"/>
                        <a:pt x="118" y="617"/>
                        <a:pt x="118" y="625"/>
                      </a:cubicBezTo>
                      <a:cubicBezTo>
                        <a:pt x="111" y="625"/>
                        <a:pt x="111" y="633"/>
                        <a:pt x="111" y="633"/>
                      </a:cubicBezTo>
                      <a:cubicBezTo>
                        <a:pt x="111" y="648"/>
                        <a:pt x="118" y="656"/>
                        <a:pt x="118" y="672"/>
                      </a:cubicBezTo>
                      <a:cubicBezTo>
                        <a:pt x="126" y="680"/>
                        <a:pt x="126" y="696"/>
                        <a:pt x="126" y="704"/>
                      </a:cubicBezTo>
                      <a:cubicBezTo>
                        <a:pt x="126" y="720"/>
                        <a:pt x="134" y="728"/>
                        <a:pt x="150" y="735"/>
                      </a:cubicBezTo>
                      <a:cubicBezTo>
                        <a:pt x="158" y="743"/>
                        <a:pt x="174" y="751"/>
                        <a:pt x="174" y="759"/>
                      </a:cubicBezTo>
                      <a:cubicBezTo>
                        <a:pt x="174" y="767"/>
                        <a:pt x="174" y="767"/>
                        <a:pt x="174" y="775"/>
                      </a:cubicBezTo>
                      <a:cubicBezTo>
                        <a:pt x="174" y="807"/>
                        <a:pt x="158" y="862"/>
                        <a:pt x="134" y="870"/>
                      </a:cubicBezTo>
                      <a:cubicBezTo>
                        <a:pt x="126" y="878"/>
                        <a:pt x="126" y="878"/>
                        <a:pt x="126" y="886"/>
                      </a:cubicBezTo>
                      <a:lnTo>
                        <a:pt x="126" y="894"/>
                      </a:lnTo>
                      <a:cubicBezTo>
                        <a:pt x="126" y="901"/>
                        <a:pt x="134" y="917"/>
                        <a:pt x="134" y="933"/>
                      </a:cubicBezTo>
                      <a:lnTo>
                        <a:pt x="134" y="933"/>
                      </a:lnTo>
                      <a:lnTo>
                        <a:pt x="134" y="933"/>
                      </a:lnTo>
                      <a:cubicBezTo>
                        <a:pt x="134" y="965"/>
                        <a:pt x="79" y="988"/>
                        <a:pt x="47" y="1004"/>
                      </a:cubicBezTo>
                      <a:cubicBezTo>
                        <a:pt x="39" y="1004"/>
                        <a:pt x="31" y="1012"/>
                        <a:pt x="24" y="1012"/>
                      </a:cubicBezTo>
                      <a:cubicBezTo>
                        <a:pt x="15" y="1020"/>
                        <a:pt x="15" y="1020"/>
                        <a:pt x="15" y="1020"/>
                      </a:cubicBezTo>
                      <a:lnTo>
                        <a:pt x="15" y="1020"/>
                      </a:lnTo>
                      <a:cubicBezTo>
                        <a:pt x="15" y="1020"/>
                        <a:pt x="15" y="1028"/>
                        <a:pt x="24" y="1028"/>
                      </a:cubicBezTo>
                      <a:cubicBezTo>
                        <a:pt x="24" y="1036"/>
                        <a:pt x="31" y="1036"/>
                        <a:pt x="31" y="1044"/>
                      </a:cubicBezTo>
                      <a:cubicBezTo>
                        <a:pt x="39" y="1052"/>
                        <a:pt x="39" y="1060"/>
                        <a:pt x="39" y="1067"/>
                      </a:cubicBezTo>
                      <a:cubicBezTo>
                        <a:pt x="39" y="1075"/>
                        <a:pt x="31" y="1091"/>
                        <a:pt x="15" y="1107"/>
                      </a:cubicBezTo>
                      <a:cubicBezTo>
                        <a:pt x="15" y="1115"/>
                        <a:pt x="15" y="1115"/>
                        <a:pt x="15" y="1115"/>
                      </a:cubicBezTo>
                      <a:lnTo>
                        <a:pt x="15" y="1115"/>
                      </a:lnTo>
                      <a:cubicBezTo>
                        <a:pt x="0" y="1147"/>
                        <a:pt x="8" y="1265"/>
                        <a:pt x="15" y="1320"/>
                      </a:cubicBezTo>
                      <a:cubicBezTo>
                        <a:pt x="15" y="1344"/>
                        <a:pt x="55" y="1384"/>
                        <a:pt x="95" y="1423"/>
                      </a:cubicBezTo>
                      <a:cubicBezTo>
                        <a:pt x="126" y="1455"/>
                        <a:pt x="158" y="1494"/>
                        <a:pt x="166" y="1518"/>
                      </a:cubicBezTo>
                      <a:cubicBezTo>
                        <a:pt x="166" y="1550"/>
                        <a:pt x="229" y="1589"/>
                        <a:pt x="284" y="1605"/>
                      </a:cubicBezTo>
                      <a:cubicBezTo>
                        <a:pt x="300" y="1613"/>
                        <a:pt x="308" y="1645"/>
                        <a:pt x="316" y="1684"/>
                      </a:cubicBezTo>
                      <a:cubicBezTo>
                        <a:pt x="316" y="1708"/>
                        <a:pt x="324" y="1731"/>
                        <a:pt x="332" y="1747"/>
                      </a:cubicBezTo>
                      <a:cubicBezTo>
                        <a:pt x="340" y="1771"/>
                        <a:pt x="348" y="1771"/>
                        <a:pt x="348" y="1771"/>
                      </a:cubicBezTo>
                      <a:cubicBezTo>
                        <a:pt x="355" y="1771"/>
                        <a:pt x="355" y="1771"/>
                        <a:pt x="364" y="1763"/>
                      </a:cubicBezTo>
                      <a:cubicBezTo>
                        <a:pt x="371" y="1763"/>
                        <a:pt x="371" y="1755"/>
                        <a:pt x="379" y="1755"/>
                      </a:cubicBezTo>
                      <a:cubicBezTo>
                        <a:pt x="387" y="1747"/>
                        <a:pt x="395" y="1747"/>
                        <a:pt x="403" y="1747"/>
                      </a:cubicBezTo>
                      <a:cubicBezTo>
                        <a:pt x="419" y="1747"/>
                        <a:pt x="427" y="1755"/>
                        <a:pt x="427" y="1763"/>
                      </a:cubicBezTo>
                      <a:cubicBezTo>
                        <a:pt x="435" y="1771"/>
                        <a:pt x="435" y="1771"/>
                        <a:pt x="442" y="1771"/>
                      </a:cubicBezTo>
                      <a:cubicBezTo>
                        <a:pt x="442" y="1771"/>
                        <a:pt x="450" y="1771"/>
                        <a:pt x="450" y="1763"/>
                      </a:cubicBezTo>
                      <a:cubicBezTo>
                        <a:pt x="450" y="1755"/>
                        <a:pt x="458" y="1747"/>
                        <a:pt x="458" y="1747"/>
                      </a:cubicBezTo>
                      <a:cubicBezTo>
                        <a:pt x="474" y="1747"/>
                        <a:pt x="498" y="1771"/>
                        <a:pt x="522" y="1787"/>
                      </a:cubicBezTo>
                      <a:cubicBezTo>
                        <a:pt x="561" y="1818"/>
                        <a:pt x="522" y="1929"/>
                        <a:pt x="466" y="2016"/>
                      </a:cubicBezTo>
                      <a:cubicBezTo>
                        <a:pt x="427" y="2086"/>
                        <a:pt x="529" y="2157"/>
                        <a:pt x="593" y="2205"/>
                      </a:cubicBezTo>
                      <a:cubicBezTo>
                        <a:pt x="617" y="2228"/>
                        <a:pt x="640" y="2244"/>
                        <a:pt x="648" y="2252"/>
                      </a:cubicBezTo>
                      <a:cubicBezTo>
                        <a:pt x="656" y="2268"/>
                        <a:pt x="672" y="2276"/>
                        <a:pt x="695" y="2284"/>
                      </a:cubicBezTo>
                      <a:cubicBezTo>
                        <a:pt x="711" y="2292"/>
                        <a:pt x="727" y="2300"/>
                        <a:pt x="743" y="2316"/>
                      </a:cubicBezTo>
                      <a:cubicBezTo>
                        <a:pt x="751" y="2323"/>
                        <a:pt x="767" y="2331"/>
                        <a:pt x="775" y="2331"/>
                      </a:cubicBezTo>
                      <a:cubicBezTo>
                        <a:pt x="790" y="2339"/>
                        <a:pt x="806" y="2339"/>
                        <a:pt x="806" y="2355"/>
                      </a:cubicBezTo>
                      <a:cubicBezTo>
                        <a:pt x="806" y="2379"/>
                        <a:pt x="814" y="2394"/>
                        <a:pt x="830" y="2426"/>
                      </a:cubicBezTo>
                      <a:cubicBezTo>
                        <a:pt x="838" y="2434"/>
                        <a:pt x="846" y="2450"/>
                        <a:pt x="854" y="2466"/>
                      </a:cubicBezTo>
                      <a:cubicBezTo>
                        <a:pt x="869" y="2497"/>
                        <a:pt x="861" y="2505"/>
                        <a:pt x="846" y="2513"/>
                      </a:cubicBezTo>
                      <a:cubicBezTo>
                        <a:pt x="838" y="2513"/>
                        <a:pt x="830" y="2521"/>
                        <a:pt x="822" y="2521"/>
                      </a:cubicBezTo>
                      <a:cubicBezTo>
                        <a:pt x="814" y="2537"/>
                        <a:pt x="830" y="2553"/>
                        <a:pt x="846" y="2568"/>
                      </a:cubicBezTo>
                      <a:cubicBezTo>
                        <a:pt x="854" y="2584"/>
                        <a:pt x="869" y="2608"/>
                        <a:pt x="877" y="2624"/>
                      </a:cubicBezTo>
                      <a:cubicBezTo>
                        <a:pt x="885" y="2640"/>
                        <a:pt x="901" y="2647"/>
                        <a:pt x="925" y="2647"/>
                      </a:cubicBezTo>
                      <a:cubicBezTo>
                        <a:pt x="933" y="2647"/>
                        <a:pt x="941" y="2647"/>
                        <a:pt x="948" y="2647"/>
                      </a:cubicBezTo>
                      <a:cubicBezTo>
                        <a:pt x="956" y="2647"/>
                        <a:pt x="956" y="2647"/>
                        <a:pt x="964" y="2647"/>
                      </a:cubicBezTo>
                      <a:lnTo>
                        <a:pt x="964" y="2647"/>
                      </a:lnTo>
                      <a:cubicBezTo>
                        <a:pt x="964" y="2624"/>
                        <a:pt x="972" y="2600"/>
                        <a:pt x="988" y="2584"/>
                      </a:cubicBezTo>
                      <a:cubicBezTo>
                        <a:pt x="1004" y="2568"/>
                        <a:pt x="1028" y="2561"/>
                        <a:pt x="1051" y="2561"/>
                      </a:cubicBezTo>
                      <a:cubicBezTo>
                        <a:pt x="1091" y="2561"/>
                        <a:pt x="1130" y="2576"/>
                        <a:pt x="1146" y="2592"/>
                      </a:cubicBezTo>
                      <a:cubicBezTo>
                        <a:pt x="1154" y="2600"/>
                        <a:pt x="1170" y="2600"/>
                        <a:pt x="1178" y="2600"/>
                      </a:cubicBezTo>
                      <a:cubicBezTo>
                        <a:pt x="1201" y="2600"/>
                        <a:pt x="1217" y="2576"/>
                        <a:pt x="1217" y="2553"/>
                      </a:cubicBezTo>
                      <a:cubicBezTo>
                        <a:pt x="1225" y="2545"/>
                        <a:pt x="1217" y="2537"/>
                        <a:pt x="1209" y="2521"/>
                      </a:cubicBezTo>
                      <a:cubicBezTo>
                        <a:pt x="1201" y="2505"/>
                        <a:pt x="1194" y="2489"/>
                        <a:pt x="1186" y="2458"/>
                      </a:cubicBezTo>
                      <a:cubicBezTo>
                        <a:pt x="1186" y="2450"/>
                        <a:pt x="1186" y="2442"/>
                        <a:pt x="1194" y="2434"/>
                      </a:cubicBezTo>
                      <a:cubicBezTo>
                        <a:pt x="1209" y="2403"/>
                        <a:pt x="1272" y="2394"/>
                        <a:pt x="1312" y="2387"/>
                      </a:cubicBezTo>
                      <a:cubicBezTo>
                        <a:pt x="1328" y="2387"/>
                        <a:pt x="1336" y="2387"/>
                        <a:pt x="1344" y="2387"/>
                      </a:cubicBezTo>
                      <a:cubicBezTo>
                        <a:pt x="1344" y="2379"/>
                        <a:pt x="1344" y="2379"/>
                        <a:pt x="1344" y="2379"/>
                      </a:cubicBezTo>
                      <a:cubicBezTo>
                        <a:pt x="1344" y="2371"/>
                        <a:pt x="1336" y="2355"/>
                        <a:pt x="1320" y="2339"/>
                      </a:cubicBezTo>
                      <a:cubicBezTo>
                        <a:pt x="1312" y="2339"/>
                        <a:pt x="1312" y="2339"/>
                        <a:pt x="1312" y="2339"/>
                      </a:cubicBezTo>
                      <a:cubicBezTo>
                        <a:pt x="1296" y="2323"/>
                        <a:pt x="1312" y="2308"/>
                        <a:pt x="1320" y="2292"/>
                      </a:cubicBezTo>
                      <a:cubicBezTo>
                        <a:pt x="1328" y="2284"/>
                        <a:pt x="1328" y="2284"/>
                        <a:pt x="1336" y="2276"/>
                      </a:cubicBezTo>
                      <a:cubicBezTo>
                        <a:pt x="1344" y="2268"/>
                        <a:pt x="1336" y="2252"/>
                        <a:pt x="1336" y="2236"/>
                      </a:cubicBezTo>
                      <a:cubicBezTo>
                        <a:pt x="1328" y="2228"/>
                        <a:pt x="1328" y="2213"/>
                        <a:pt x="1328" y="2197"/>
                      </a:cubicBezTo>
                      <a:cubicBezTo>
                        <a:pt x="1328" y="2165"/>
                        <a:pt x="1328" y="2150"/>
                        <a:pt x="1336" y="2126"/>
                      </a:cubicBezTo>
                      <a:cubicBezTo>
                        <a:pt x="1352" y="2110"/>
                        <a:pt x="1352" y="2078"/>
                        <a:pt x="1352" y="2070"/>
                      </a:cubicBezTo>
                      <a:lnTo>
                        <a:pt x="1352" y="2063"/>
                      </a:lnTo>
                      <a:cubicBezTo>
                        <a:pt x="1344" y="2047"/>
                        <a:pt x="1336" y="2008"/>
                        <a:pt x="1367" y="2000"/>
                      </a:cubicBezTo>
                      <a:cubicBezTo>
                        <a:pt x="1391" y="1992"/>
                        <a:pt x="1447" y="1890"/>
                        <a:pt x="1447" y="1874"/>
                      </a:cubicBezTo>
                      <a:cubicBezTo>
                        <a:pt x="1447" y="1850"/>
                        <a:pt x="1462" y="1826"/>
                        <a:pt x="1486" y="1811"/>
                      </a:cubicBezTo>
                      <a:cubicBezTo>
                        <a:pt x="1494" y="1811"/>
                        <a:pt x="1494" y="1795"/>
                        <a:pt x="1494" y="1787"/>
                      </a:cubicBezTo>
                      <a:cubicBezTo>
                        <a:pt x="1494" y="1771"/>
                        <a:pt x="1486" y="1747"/>
                        <a:pt x="1478" y="1739"/>
                      </a:cubicBezTo>
                      <a:cubicBezTo>
                        <a:pt x="1462" y="1731"/>
                        <a:pt x="1462" y="1716"/>
                        <a:pt x="1462" y="1668"/>
                      </a:cubicBezTo>
                      <a:cubicBezTo>
                        <a:pt x="1462" y="1660"/>
                        <a:pt x="1462" y="1660"/>
                        <a:pt x="1462" y="1660"/>
                      </a:cubicBezTo>
                      <a:cubicBezTo>
                        <a:pt x="1462" y="1629"/>
                        <a:pt x="1454" y="1629"/>
                        <a:pt x="1447" y="1621"/>
                      </a:cubicBezTo>
                      <a:cubicBezTo>
                        <a:pt x="1439" y="1621"/>
                        <a:pt x="1431" y="1613"/>
                        <a:pt x="1423" y="1605"/>
                      </a:cubicBezTo>
                      <a:cubicBezTo>
                        <a:pt x="1407" y="1573"/>
                        <a:pt x="1423" y="1534"/>
                        <a:pt x="1439" y="1510"/>
                      </a:cubicBezTo>
                      <a:cubicBezTo>
                        <a:pt x="1447" y="1502"/>
                        <a:pt x="1454" y="1439"/>
                        <a:pt x="1454" y="1415"/>
                      </a:cubicBezTo>
                      <a:cubicBezTo>
                        <a:pt x="1352" y="372"/>
                        <a:pt x="1352" y="372"/>
                        <a:pt x="1352" y="372"/>
                      </a:cubicBezTo>
                      <a:cubicBezTo>
                        <a:pt x="1336" y="364"/>
                        <a:pt x="1328" y="348"/>
                        <a:pt x="1320" y="332"/>
                      </a:cubicBezTo>
                      <a:cubicBezTo>
                        <a:pt x="1312" y="317"/>
                        <a:pt x="1312" y="301"/>
                        <a:pt x="1304" y="285"/>
                      </a:cubicBezTo>
                      <a:cubicBezTo>
                        <a:pt x="1296" y="253"/>
                        <a:pt x="1288" y="230"/>
                        <a:pt x="1265" y="198"/>
                      </a:cubicBezTo>
                      <a:cubicBezTo>
                        <a:pt x="1257" y="182"/>
                        <a:pt x="1249" y="182"/>
                        <a:pt x="1241" y="174"/>
                      </a:cubicBezTo>
                      <a:cubicBezTo>
                        <a:pt x="1225" y="158"/>
                        <a:pt x="1225" y="150"/>
                        <a:pt x="1225" y="103"/>
                      </a:cubicBezTo>
                      <a:cubicBezTo>
                        <a:pt x="1225" y="95"/>
                        <a:pt x="1225" y="95"/>
                        <a:pt x="1225" y="95"/>
                      </a:cubicBezTo>
                      <a:cubicBezTo>
                        <a:pt x="1225" y="71"/>
                        <a:pt x="1225" y="40"/>
                        <a:pt x="1217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0" name="Freeform 708">
                  <a:extLst>
                    <a:ext uri="{FF2B5EF4-FFF2-40B4-BE49-F238E27FC236}">
                      <a16:creationId xmlns:a16="http://schemas.microsoft.com/office/drawing/2014/main" id="{FBCC2361-FA36-5D42-8181-E3DCF360C4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7243" y="5261505"/>
                  <a:ext cx="229611" cy="540398"/>
                </a:xfrm>
                <a:custGeom>
                  <a:avLst/>
                  <a:gdLst>
                    <a:gd name="T0" fmla="*/ 237 w 435"/>
                    <a:gd name="T1" fmla="*/ 0 h 1029"/>
                    <a:gd name="T2" fmla="*/ 229 w 435"/>
                    <a:gd name="T3" fmla="*/ 0 h 1029"/>
                    <a:gd name="T4" fmla="*/ 237 w 435"/>
                    <a:gd name="T5" fmla="*/ 16 h 1029"/>
                    <a:gd name="T6" fmla="*/ 269 w 435"/>
                    <a:gd name="T7" fmla="*/ 48 h 1029"/>
                    <a:gd name="T8" fmla="*/ 379 w 435"/>
                    <a:gd name="T9" fmla="*/ 174 h 1029"/>
                    <a:gd name="T10" fmla="*/ 419 w 435"/>
                    <a:gd name="T11" fmla="*/ 253 h 1029"/>
                    <a:gd name="T12" fmla="*/ 387 w 435"/>
                    <a:gd name="T13" fmla="*/ 340 h 1029"/>
                    <a:gd name="T14" fmla="*/ 316 w 435"/>
                    <a:gd name="T15" fmla="*/ 459 h 1029"/>
                    <a:gd name="T16" fmla="*/ 276 w 435"/>
                    <a:gd name="T17" fmla="*/ 483 h 1029"/>
                    <a:gd name="T18" fmla="*/ 189 w 435"/>
                    <a:gd name="T19" fmla="*/ 522 h 1029"/>
                    <a:gd name="T20" fmla="*/ 150 w 435"/>
                    <a:gd name="T21" fmla="*/ 514 h 1029"/>
                    <a:gd name="T22" fmla="*/ 103 w 435"/>
                    <a:gd name="T23" fmla="*/ 530 h 1029"/>
                    <a:gd name="T24" fmla="*/ 103 w 435"/>
                    <a:gd name="T25" fmla="*/ 585 h 1029"/>
                    <a:gd name="T26" fmla="*/ 134 w 435"/>
                    <a:gd name="T27" fmla="*/ 648 h 1029"/>
                    <a:gd name="T28" fmla="*/ 158 w 435"/>
                    <a:gd name="T29" fmla="*/ 688 h 1029"/>
                    <a:gd name="T30" fmla="*/ 110 w 435"/>
                    <a:gd name="T31" fmla="*/ 799 h 1029"/>
                    <a:gd name="T32" fmla="*/ 118 w 435"/>
                    <a:gd name="T33" fmla="*/ 846 h 1029"/>
                    <a:gd name="T34" fmla="*/ 118 w 435"/>
                    <a:gd name="T35" fmla="*/ 846 h 1029"/>
                    <a:gd name="T36" fmla="*/ 7 w 435"/>
                    <a:gd name="T37" fmla="*/ 917 h 1029"/>
                    <a:gd name="T38" fmla="*/ 0 w 435"/>
                    <a:gd name="T39" fmla="*/ 933 h 1029"/>
                    <a:gd name="T40" fmla="*/ 23 w 435"/>
                    <a:gd name="T41" fmla="*/ 965 h 1029"/>
                    <a:gd name="T42" fmla="*/ 7 w 435"/>
                    <a:gd name="T43" fmla="*/ 1020 h 1029"/>
                    <a:gd name="T44" fmla="*/ 7 w 435"/>
                    <a:gd name="T45" fmla="*/ 1020 h 1029"/>
                    <a:gd name="T46" fmla="*/ 7 w 435"/>
                    <a:gd name="T47" fmla="*/ 1028 h 1029"/>
                    <a:gd name="T48" fmla="*/ 7 w 435"/>
                    <a:gd name="T49" fmla="*/ 1028 h 1029"/>
                    <a:gd name="T50" fmla="*/ 31 w 435"/>
                    <a:gd name="T51" fmla="*/ 980 h 1029"/>
                    <a:gd name="T52" fmla="*/ 16 w 435"/>
                    <a:gd name="T53" fmla="*/ 941 h 1029"/>
                    <a:gd name="T54" fmla="*/ 7 w 435"/>
                    <a:gd name="T55" fmla="*/ 933 h 1029"/>
                    <a:gd name="T56" fmla="*/ 39 w 435"/>
                    <a:gd name="T57" fmla="*/ 917 h 1029"/>
                    <a:gd name="T58" fmla="*/ 118 w 435"/>
                    <a:gd name="T59" fmla="*/ 807 h 1029"/>
                    <a:gd name="T60" fmla="*/ 126 w 435"/>
                    <a:gd name="T61" fmla="*/ 783 h 1029"/>
                    <a:gd name="T62" fmla="*/ 166 w 435"/>
                    <a:gd name="T63" fmla="*/ 672 h 1029"/>
                    <a:gd name="T64" fmla="*/ 118 w 435"/>
                    <a:gd name="T65" fmla="*/ 617 h 1029"/>
                    <a:gd name="T66" fmla="*/ 103 w 435"/>
                    <a:gd name="T67" fmla="*/ 546 h 1029"/>
                    <a:gd name="T68" fmla="*/ 126 w 435"/>
                    <a:gd name="T69" fmla="*/ 530 h 1029"/>
                    <a:gd name="T70" fmla="*/ 174 w 435"/>
                    <a:gd name="T71" fmla="*/ 522 h 1029"/>
                    <a:gd name="T72" fmla="*/ 189 w 435"/>
                    <a:gd name="T73" fmla="*/ 530 h 1029"/>
                    <a:gd name="T74" fmla="*/ 237 w 435"/>
                    <a:gd name="T75" fmla="*/ 514 h 1029"/>
                    <a:gd name="T76" fmla="*/ 308 w 435"/>
                    <a:gd name="T77" fmla="*/ 474 h 1029"/>
                    <a:gd name="T78" fmla="*/ 363 w 435"/>
                    <a:gd name="T79" fmla="*/ 403 h 1029"/>
                    <a:gd name="T80" fmla="*/ 411 w 435"/>
                    <a:gd name="T81" fmla="*/ 316 h 1029"/>
                    <a:gd name="T82" fmla="*/ 411 w 435"/>
                    <a:gd name="T83" fmla="*/ 182 h 1029"/>
                    <a:gd name="T84" fmla="*/ 332 w 435"/>
                    <a:gd name="T85" fmla="*/ 119 h 1029"/>
                    <a:gd name="T86" fmla="*/ 237 w 435"/>
                    <a:gd name="T87" fmla="*/ 8 h 1029"/>
                    <a:gd name="T88" fmla="*/ 237 w 435"/>
                    <a:gd name="T89" fmla="*/ 8 h 1029"/>
                    <a:gd name="T90" fmla="*/ 237 w 435"/>
                    <a:gd name="T91" fmla="*/ 0 h 10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35" h="1029">
                      <a:moveTo>
                        <a:pt x="237" y="0"/>
                      </a:moveTo>
                      <a:lnTo>
                        <a:pt x="237" y="0"/>
                      </a:lnTo>
                      <a:lnTo>
                        <a:pt x="237" y="0"/>
                      </a:lnTo>
                      <a:cubicBezTo>
                        <a:pt x="229" y="0"/>
                        <a:pt x="229" y="0"/>
                        <a:pt x="229" y="0"/>
                      </a:cubicBezTo>
                      <a:lnTo>
                        <a:pt x="229" y="8"/>
                      </a:lnTo>
                      <a:cubicBezTo>
                        <a:pt x="229" y="8"/>
                        <a:pt x="229" y="8"/>
                        <a:pt x="237" y="16"/>
                      </a:cubicBezTo>
                      <a:lnTo>
                        <a:pt x="237" y="16"/>
                      </a:lnTo>
                      <a:cubicBezTo>
                        <a:pt x="237" y="24"/>
                        <a:pt x="253" y="32"/>
                        <a:pt x="269" y="48"/>
                      </a:cubicBezTo>
                      <a:cubicBezTo>
                        <a:pt x="292" y="71"/>
                        <a:pt x="324" y="103"/>
                        <a:pt x="324" y="119"/>
                      </a:cubicBezTo>
                      <a:cubicBezTo>
                        <a:pt x="324" y="143"/>
                        <a:pt x="356" y="158"/>
                        <a:pt x="379" y="174"/>
                      </a:cubicBezTo>
                      <a:cubicBezTo>
                        <a:pt x="387" y="174"/>
                        <a:pt x="395" y="182"/>
                        <a:pt x="403" y="182"/>
                      </a:cubicBezTo>
                      <a:cubicBezTo>
                        <a:pt x="411" y="190"/>
                        <a:pt x="419" y="221"/>
                        <a:pt x="419" y="253"/>
                      </a:cubicBezTo>
                      <a:cubicBezTo>
                        <a:pt x="419" y="277"/>
                        <a:pt x="419" y="301"/>
                        <a:pt x="411" y="316"/>
                      </a:cubicBezTo>
                      <a:cubicBezTo>
                        <a:pt x="403" y="324"/>
                        <a:pt x="395" y="332"/>
                        <a:pt x="387" y="340"/>
                      </a:cubicBezTo>
                      <a:cubicBezTo>
                        <a:pt x="371" y="356"/>
                        <a:pt x="356" y="364"/>
                        <a:pt x="356" y="403"/>
                      </a:cubicBezTo>
                      <a:cubicBezTo>
                        <a:pt x="356" y="443"/>
                        <a:pt x="340" y="451"/>
                        <a:pt x="316" y="459"/>
                      </a:cubicBezTo>
                      <a:cubicBezTo>
                        <a:pt x="316" y="459"/>
                        <a:pt x="308" y="467"/>
                        <a:pt x="300" y="467"/>
                      </a:cubicBezTo>
                      <a:cubicBezTo>
                        <a:pt x="292" y="474"/>
                        <a:pt x="284" y="474"/>
                        <a:pt x="276" y="483"/>
                      </a:cubicBezTo>
                      <a:cubicBezTo>
                        <a:pt x="261" y="483"/>
                        <a:pt x="245" y="490"/>
                        <a:pt x="229" y="506"/>
                      </a:cubicBezTo>
                      <a:cubicBezTo>
                        <a:pt x="221" y="514"/>
                        <a:pt x="213" y="522"/>
                        <a:pt x="189" y="522"/>
                      </a:cubicBezTo>
                      <a:cubicBezTo>
                        <a:pt x="189" y="522"/>
                        <a:pt x="181" y="522"/>
                        <a:pt x="174" y="522"/>
                      </a:cubicBezTo>
                      <a:cubicBezTo>
                        <a:pt x="166" y="514"/>
                        <a:pt x="158" y="514"/>
                        <a:pt x="150" y="514"/>
                      </a:cubicBezTo>
                      <a:cubicBezTo>
                        <a:pt x="134" y="514"/>
                        <a:pt x="126" y="514"/>
                        <a:pt x="118" y="522"/>
                      </a:cubicBezTo>
                      <a:cubicBezTo>
                        <a:pt x="110" y="522"/>
                        <a:pt x="103" y="522"/>
                        <a:pt x="103" y="530"/>
                      </a:cubicBezTo>
                      <a:cubicBezTo>
                        <a:pt x="103" y="538"/>
                        <a:pt x="94" y="546"/>
                        <a:pt x="94" y="546"/>
                      </a:cubicBezTo>
                      <a:cubicBezTo>
                        <a:pt x="94" y="561"/>
                        <a:pt x="103" y="569"/>
                        <a:pt x="103" y="585"/>
                      </a:cubicBezTo>
                      <a:cubicBezTo>
                        <a:pt x="110" y="593"/>
                        <a:pt x="110" y="609"/>
                        <a:pt x="110" y="617"/>
                      </a:cubicBezTo>
                      <a:cubicBezTo>
                        <a:pt x="110" y="633"/>
                        <a:pt x="126" y="641"/>
                        <a:pt x="134" y="648"/>
                      </a:cubicBezTo>
                      <a:cubicBezTo>
                        <a:pt x="150" y="656"/>
                        <a:pt x="158" y="664"/>
                        <a:pt x="158" y="680"/>
                      </a:cubicBezTo>
                      <a:cubicBezTo>
                        <a:pt x="158" y="680"/>
                        <a:pt x="158" y="680"/>
                        <a:pt x="158" y="688"/>
                      </a:cubicBezTo>
                      <a:cubicBezTo>
                        <a:pt x="158" y="720"/>
                        <a:pt x="142" y="767"/>
                        <a:pt x="126" y="775"/>
                      </a:cubicBezTo>
                      <a:cubicBezTo>
                        <a:pt x="118" y="783"/>
                        <a:pt x="110" y="791"/>
                        <a:pt x="110" y="799"/>
                      </a:cubicBezTo>
                      <a:cubicBezTo>
                        <a:pt x="110" y="799"/>
                        <a:pt x="110" y="807"/>
                        <a:pt x="110" y="814"/>
                      </a:cubicBezTo>
                      <a:cubicBezTo>
                        <a:pt x="118" y="822"/>
                        <a:pt x="118" y="830"/>
                        <a:pt x="118" y="846"/>
                      </a:cubicBezTo>
                      <a:lnTo>
                        <a:pt x="118" y="846"/>
                      </a:lnTo>
                      <a:lnTo>
                        <a:pt x="118" y="846"/>
                      </a:lnTo>
                      <a:cubicBezTo>
                        <a:pt x="118" y="878"/>
                        <a:pt x="71" y="894"/>
                        <a:pt x="31" y="909"/>
                      </a:cubicBezTo>
                      <a:cubicBezTo>
                        <a:pt x="23" y="909"/>
                        <a:pt x="16" y="917"/>
                        <a:pt x="7" y="917"/>
                      </a:cubicBezTo>
                      <a:cubicBezTo>
                        <a:pt x="0" y="925"/>
                        <a:pt x="0" y="925"/>
                        <a:pt x="0" y="933"/>
                      </a:cubicBezTo>
                      <a:lnTo>
                        <a:pt x="0" y="933"/>
                      </a:lnTo>
                      <a:cubicBezTo>
                        <a:pt x="0" y="941"/>
                        <a:pt x="0" y="941"/>
                        <a:pt x="7" y="949"/>
                      </a:cubicBezTo>
                      <a:cubicBezTo>
                        <a:pt x="16" y="949"/>
                        <a:pt x="16" y="957"/>
                        <a:pt x="23" y="965"/>
                      </a:cubicBezTo>
                      <a:cubicBezTo>
                        <a:pt x="23" y="965"/>
                        <a:pt x="23" y="973"/>
                        <a:pt x="23" y="980"/>
                      </a:cubicBezTo>
                      <a:cubicBezTo>
                        <a:pt x="23" y="988"/>
                        <a:pt x="16" y="1004"/>
                        <a:pt x="7" y="1020"/>
                      </a:cubicBezTo>
                      <a:lnTo>
                        <a:pt x="7" y="1020"/>
                      </a:lnTo>
                      <a:lnTo>
                        <a:pt x="7" y="1020"/>
                      </a:lnTo>
                      <a:cubicBezTo>
                        <a:pt x="7" y="1020"/>
                        <a:pt x="7" y="1020"/>
                        <a:pt x="7" y="1028"/>
                      </a:cubicBezTo>
                      <a:lnTo>
                        <a:pt x="7" y="1028"/>
                      </a:lnTo>
                      <a:lnTo>
                        <a:pt x="7" y="1028"/>
                      </a:lnTo>
                      <a:lnTo>
                        <a:pt x="7" y="1028"/>
                      </a:lnTo>
                      <a:cubicBezTo>
                        <a:pt x="7" y="1028"/>
                        <a:pt x="7" y="1028"/>
                        <a:pt x="7" y="1020"/>
                      </a:cubicBezTo>
                      <a:cubicBezTo>
                        <a:pt x="23" y="1004"/>
                        <a:pt x="31" y="988"/>
                        <a:pt x="31" y="980"/>
                      </a:cubicBezTo>
                      <a:cubicBezTo>
                        <a:pt x="31" y="973"/>
                        <a:pt x="31" y="965"/>
                        <a:pt x="23" y="957"/>
                      </a:cubicBezTo>
                      <a:cubicBezTo>
                        <a:pt x="23" y="949"/>
                        <a:pt x="16" y="949"/>
                        <a:pt x="16" y="941"/>
                      </a:cubicBezTo>
                      <a:cubicBezTo>
                        <a:pt x="7" y="941"/>
                        <a:pt x="7" y="933"/>
                        <a:pt x="7" y="933"/>
                      </a:cubicBezTo>
                      <a:lnTo>
                        <a:pt x="7" y="933"/>
                      </a:lnTo>
                      <a:cubicBezTo>
                        <a:pt x="7" y="933"/>
                        <a:pt x="7" y="933"/>
                        <a:pt x="16" y="925"/>
                      </a:cubicBezTo>
                      <a:cubicBezTo>
                        <a:pt x="23" y="925"/>
                        <a:pt x="31" y="917"/>
                        <a:pt x="39" y="917"/>
                      </a:cubicBezTo>
                      <a:cubicBezTo>
                        <a:pt x="71" y="901"/>
                        <a:pt x="126" y="878"/>
                        <a:pt x="126" y="846"/>
                      </a:cubicBezTo>
                      <a:cubicBezTo>
                        <a:pt x="126" y="830"/>
                        <a:pt x="118" y="814"/>
                        <a:pt x="118" y="807"/>
                      </a:cubicBezTo>
                      <a:lnTo>
                        <a:pt x="118" y="799"/>
                      </a:lnTo>
                      <a:cubicBezTo>
                        <a:pt x="118" y="791"/>
                        <a:pt x="118" y="791"/>
                        <a:pt x="126" y="783"/>
                      </a:cubicBezTo>
                      <a:cubicBezTo>
                        <a:pt x="150" y="775"/>
                        <a:pt x="166" y="720"/>
                        <a:pt x="166" y="688"/>
                      </a:cubicBezTo>
                      <a:cubicBezTo>
                        <a:pt x="166" y="680"/>
                        <a:pt x="166" y="680"/>
                        <a:pt x="166" y="672"/>
                      </a:cubicBezTo>
                      <a:cubicBezTo>
                        <a:pt x="166" y="664"/>
                        <a:pt x="150" y="656"/>
                        <a:pt x="142" y="648"/>
                      </a:cubicBezTo>
                      <a:cubicBezTo>
                        <a:pt x="126" y="641"/>
                        <a:pt x="118" y="633"/>
                        <a:pt x="118" y="617"/>
                      </a:cubicBezTo>
                      <a:cubicBezTo>
                        <a:pt x="118" y="609"/>
                        <a:pt x="118" y="593"/>
                        <a:pt x="110" y="585"/>
                      </a:cubicBezTo>
                      <a:cubicBezTo>
                        <a:pt x="110" y="569"/>
                        <a:pt x="103" y="561"/>
                        <a:pt x="103" y="546"/>
                      </a:cubicBezTo>
                      <a:cubicBezTo>
                        <a:pt x="103" y="546"/>
                        <a:pt x="103" y="538"/>
                        <a:pt x="110" y="538"/>
                      </a:cubicBezTo>
                      <a:cubicBezTo>
                        <a:pt x="110" y="530"/>
                        <a:pt x="118" y="530"/>
                        <a:pt x="126" y="530"/>
                      </a:cubicBezTo>
                      <a:cubicBezTo>
                        <a:pt x="126" y="522"/>
                        <a:pt x="134" y="522"/>
                        <a:pt x="150" y="522"/>
                      </a:cubicBezTo>
                      <a:cubicBezTo>
                        <a:pt x="158" y="522"/>
                        <a:pt x="166" y="522"/>
                        <a:pt x="174" y="522"/>
                      </a:cubicBezTo>
                      <a:lnTo>
                        <a:pt x="174" y="522"/>
                      </a:lnTo>
                      <a:cubicBezTo>
                        <a:pt x="181" y="522"/>
                        <a:pt x="189" y="530"/>
                        <a:pt x="189" y="530"/>
                      </a:cubicBezTo>
                      <a:lnTo>
                        <a:pt x="189" y="530"/>
                      </a:lnTo>
                      <a:cubicBezTo>
                        <a:pt x="205" y="530"/>
                        <a:pt x="221" y="522"/>
                        <a:pt x="237" y="514"/>
                      </a:cubicBezTo>
                      <a:cubicBezTo>
                        <a:pt x="253" y="498"/>
                        <a:pt x="261" y="490"/>
                        <a:pt x="276" y="483"/>
                      </a:cubicBezTo>
                      <a:cubicBezTo>
                        <a:pt x="284" y="483"/>
                        <a:pt x="292" y="483"/>
                        <a:pt x="308" y="474"/>
                      </a:cubicBezTo>
                      <a:cubicBezTo>
                        <a:pt x="308" y="467"/>
                        <a:pt x="316" y="467"/>
                        <a:pt x="324" y="467"/>
                      </a:cubicBezTo>
                      <a:cubicBezTo>
                        <a:pt x="347" y="459"/>
                        <a:pt x="363" y="443"/>
                        <a:pt x="363" y="403"/>
                      </a:cubicBezTo>
                      <a:cubicBezTo>
                        <a:pt x="363" y="364"/>
                        <a:pt x="379" y="356"/>
                        <a:pt x="387" y="348"/>
                      </a:cubicBezTo>
                      <a:cubicBezTo>
                        <a:pt x="395" y="340"/>
                        <a:pt x="411" y="332"/>
                        <a:pt x="411" y="316"/>
                      </a:cubicBezTo>
                      <a:cubicBezTo>
                        <a:pt x="434" y="285"/>
                        <a:pt x="427" y="214"/>
                        <a:pt x="411" y="182"/>
                      </a:cubicBezTo>
                      <a:lnTo>
                        <a:pt x="411" y="182"/>
                      </a:lnTo>
                      <a:cubicBezTo>
                        <a:pt x="403" y="174"/>
                        <a:pt x="387" y="166"/>
                        <a:pt x="379" y="166"/>
                      </a:cubicBezTo>
                      <a:cubicBezTo>
                        <a:pt x="356" y="150"/>
                        <a:pt x="332" y="143"/>
                        <a:pt x="332" y="119"/>
                      </a:cubicBezTo>
                      <a:cubicBezTo>
                        <a:pt x="332" y="95"/>
                        <a:pt x="300" y="71"/>
                        <a:pt x="276" y="48"/>
                      </a:cubicBezTo>
                      <a:cubicBezTo>
                        <a:pt x="261" y="32"/>
                        <a:pt x="245" y="16"/>
                        <a:pt x="237" y="8"/>
                      </a:cubicBezTo>
                      <a:lnTo>
                        <a:pt x="237" y="8"/>
                      </a:lnTo>
                      <a:lnTo>
                        <a:pt x="237" y="8"/>
                      </a:lnTo>
                      <a:lnTo>
                        <a:pt x="237" y="8"/>
                      </a:lnTo>
                      <a:cubicBezTo>
                        <a:pt x="237" y="0"/>
                        <a:pt x="237" y="0"/>
                        <a:pt x="237" y="0"/>
                      </a:cubicBezTo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1" name="Freeform 709">
                  <a:extLst>
                    <a:ext uri="{FF2B5EF4-FFF2-40B4-BE49-F238E27FC236}">
                      <a16:creationId xmlns:a16="http://schemas.microsoft.com/office/drawing/2014/main" id="{C16EE18C-9026-5046-93A6-7896E518D8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20285" y="5799584"/>
                  <a:ext cx="514886" cy="818714"/>
                </a:xfrm>
                <a:custGeom>
                  <a:avLst/>
                  <a:gdLst>
                    <a:gd name="T0" fmla="*/ 23 w 981"/>
                    <a:gd name="T1" fmla="*/ 0 h 1557"/>
                    <a:gd name="T2" fmla="*/ 23 w 981"/>
                    <a:gd name="T3" fmla="*/ 0 h 1557"/>
                    <a:gd name="T4" fmla="*/ 16 w 981"/>
                    <a:gd name="T5" fmla="*/ 213 h 1557"/>
                    <a:gd name="T6" fmla="*/ 95 w 981"/>
                    <a:gd name="T7" fmla="*/ 316 h 1557"/>
                    <a:gd name="T8" fmla="*/ 166 w 981"/>
                    <a:gd name="T9" fmla="*/ 411 h 1557"/>
                    <a:gd name="T10" fmla="*/ 292 w 981"/>
                    <a:gd name="T11" fmla="*/ 506 h 1557"/>
                    <a:gd name="T12" fmla="*/ 316 w 981"/>
                    <a:gd name="T13" fmla="*/ 577 h 1557"/>
                    <a:gd name="T14" fmla="*/ 332 w 981"/>
                    <a:gd name="T15" fmla="*/ 640 h 1557"/>
                    <a:gd name="T16" fmla="*/ 356 w 981"/>
                    <a:gd name="T17" fmla="*/ 672 h 1557"/>
                    <a:gd name="T18" fmla="*/ 379 w 981"/>
                    <a:gd name="T19" fmla="*/ 664 h 1557"/>
                    <a:gd name="T20" fmla="*/ 387 w 981"/>
                    <a:gd name="T21" fmla="*/ 656 h 1557"/>
                    <a:gd name="T22" fmla="*/ 411 w 981"/>
                    <a:gd name="T23" fmla="*/ 648 h 1557"/>
                    <a:gd name="T24" fmla="*/ 427 w 981"/>
                    <a:gd name="T25" fmla="*/ 664 h 1557"/>
                    <a:gd name="T26" fmla="*/ 450 w 981"/>
                    <a:gd name="T27" fmla="*/ 672 h 1557"/>
                    <a:gd name="T28" fmla="*/ 466 w 981"/>
                    <a:gd name="T29" fmla="*/ 656 h 1557"/>
                    <a:gd name="T30" fmla="*/ 466 w 981"/>
                    <a:gd name="T31" fmla="*/ 648 h 1557"/>
                    <a:gd name="T32" fmla="*/ 522 w 981"/>
                    <a:gd name="T33" fmla="*/ 688 h 1557"/>
                    <a:gd name="T34" fmla="*/ 466 w 981"/>
                    <a:gd name="T35" fmla="*/ 909 h 1557"/>
                    <a:gd name="T36" fmla="*/ 593 w 981"/>
                    <a:gd name="T37" fmla="*/ 1106 h 1557"/>
                    <a:gd name="T38" fmla="*/ 648 w 981"/>
                    <a:gd name="T39" fmla="*/ 1145 h 1557"/>
                    <a:gd name="T40" fmla="*/ 696 w 981"/>
                    <a:gd name="T41" fmla="*/ 1185 h 1557"/>
                    <a:gd name="T42" fmla="*/ 743 w 981"/>
                    <a:gd name="T43" fmla="*/ 1209 h 1557"/>
                    <a:gd name="T44" fmla="*/ 783 w 981"/>
                    <a:gd name="T45" fmla="*/ 1232 h 1557"/>
                    <a:gd name="T46" fmla="*/ 806 w 981"/>
                    <a:gd name="T47" fmla="*/ 1248 h 1557"/>
                    <a:gd name="T48" fmla="*/ 830 w 981"/>
                    <a:gd name="T49" fmla="*/ 1319 h 1557"/>
                    <a:gd name="T50" fmla="*/ 854 w 981"/>
                    <a:gd name="T51" fmla="*/ 1367 h 1557"/>
                    <a:gd name="T52" fmla="*/ 846 w 981"/>
                    <a:gd name="T53" fmla="*/ 1398 h 1557"/>
                    <a:gd name="T54" fmla="*/ 830 w 981"/>
                    <a:gd name="T55" fmla="*/ 1414 h 1557"/>
                    <a:gd name="T56" fmla="*/ 846 w 981"/>
                    <a:gd name="T57" fmla="*/ 1469 h 1557"/>
                    <a:gd name="T58" fmla="*/ 877 w 981"/>
                    <a:gd name="T59" fmla="*/ 1517 h 1557"/>
                    <a:gd name="T60" fmla="*/ 933 w 981"/>
                    <a:gd name="T61" fmla="*/ 1548 h 1557"/>
                    <a:gd name="T62" fmla="*/ 956 w 981"/>
                    <a:gd name="T63" fmla="*/ 1548 h 1557"/>
                    <a:gd name="T64" fmla="*/ 972 w 981"/>
                    <a:gd name="T65" fmla="*/ 1548 h 1557"/>
                    <a:gd name="T66" fmla="*/ 972 w 981"/>
                    <a:gd name="T67" fmla="*/ 1548 h 1557"/>
                    <a:gd name="T68" fmla="*/ 980 w 981"/>
                    <a:gd name="T69" fmla="*/ 1556 h 1557"/>
                    <a:gd name="T70" fmla="*/ 980 w 981"/>
                    <a:gd name="T71" fmla="*/ 1556 h 1557"/>
                    <a:gd name="T72" fmla="*/ 980 w 981"/>
                    <a:gd name="T73" fmla="*/ 1548 h 1557"/>
                    <a:gd name="T74" fmla="*/ 972 w 981"/>
                    <a:gd name="T75" fmla="*/ 1548 h 1557"/>
                    <a:gd name="T76" fmla="*/ 956 w 981"/>
                    <a:gd name="T77" fmla="*/ 1548 h 1557"/>
                    <a:gd name="T78" fmla="*/ 933 w 981"/>
                    <a:gd name="T79" fmla="*/ 1548 h 1557"/>
                    <a:gd name="T80" fmla="*/ 885 w 981"/>
                    <a:gd name="T81" fmla="*/ 1517 h 1557"/>
                    <a:gd name="T82" fmla="*/ 830 w 981"/>
                    <a:gd name="T83" fmla="*/ 1414 h 1557"/>
                    <a:gd name="T84" fmla="*/ 854 w 981"/>
                    <a:gd name="T85" fmla="*/ 1359 h 1557"/>
                    <a:gd name="T86" fmla="*/ 806 w 981"/>
                    <a:gd name="T87" fmla="*/ 1248 h 1557"/>
                    <a:gd name="T88" fmla="*/ 743 w 981"/>
                    <a:gd name="T89" fmla="*/ 1209 h 1557"/>
                    <a:gd name="T90" fmla="*/ 648 w 981"/>
                    <a:gd name="T91" fmla="*/ 1145 h 1557"/>
                    <a:gd name="T92" fmla="*/ 466 w 981"/>
                    <a:gd name="T93" fmla="*/ 909 h 1557"/>
                    <a:gd name="T94" fmla="*/ 530 w 981"/>
                    <a:gd name="T95" fmla="*/ 680 h 1557"/>
                    <a:gd name="T96" fmla="*/ 466 w 981"/>
                    <a:gd name="T97" fmla="*/ 648 h 1557"/>
                    <a:gd name="T98" fmla="*/ 466 w 981"/>
                    <a:gd name="T99" fmla="*/ 656 h 1557"/>
                    <a:gd name="T100" fmla="*/ 450 w 981"/>
                    <a:gd name="T101" fmla="*/ 672 h 1557"/>
                    <a:gd name="T102" fmla="*/ 435 w 981"/>
                    <a:gd name="T103" fmla="*/ 656 h 1557"/>
                    <a:gd name="T104" fmla="*/ 411 w 981"/>
                    <a:gd name="T105" fmla="*/ 648 h 1557"/>
                    <a:gd name="T106" fmla="*/ 387 w 981"/>
                    <a:gd name="T107" fmla="*/ 648 h 1557"/>
                    <a:gd name="T108" fmla="*/ 356 w 981"/>
                    <a:gd name="T109" fmla="*/ 664 h 1557"/>
                    <a:gd name="T110" fmla="*/ 332 w 981"/>
                    <a:gd name="T111" fmla="*/ 640 h 1557"/>
                    <a:gd name="T112" fmla="*/ 292 w 981"/>
                    <a:gd name="T113" fmla="*/ 506 h 1557"/>
                    <a:gd name="T114" fmla="*/ 166 w 981"/>
                    <a:gd name="T115" fmla="*/ 411 h 1557"/>
                    <a:gd name="T116" fmla="*/ 16 w 981"/>
                    <a:gd name="T117" fmla="*/ 213 h 1557"/>
                    <a:gd name="T118" fmla="*/ 23 w 981"/>
                    <a:gd name="T119" fmla="*/ 8 h 1557"/>
                    <a:gd name="T120" fmla="*/ 23 w 981"/>
                    <a:gd name="T121" fmla="*/ 8 h 1557"/>
                    <a:gd name="T122" fmla="*/ 23 w 981"/>
                    <a:gd name="T123" fmla="*/ 0 h 1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981" h="1557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0" y="32"/>
                        <a:pt x="8" y="166"/>
                        <a:pt x="16" y="213"/>
                      </a:cubicBezTo>
                      <a:cubicBezTo>
                        <a:pt x="16" y="245"/>
                        <a:pt x="55" y="285"/>
                        <a:pt x="95" y="316"/>
                      </a:cubicBezTo>
                      <a:cubicBezTo>
                        <a:pt x="126" y="356"/>
                        <a:pt x="158" y="387"/>
                        <a:pt x="166" y="411"/>
                      </a:cubicBezTo>
                      <a:cubicBezTo>
                        <a:pt x="166" y="458"/>
                        <a:pt x="269" y="498"/>
                        <a:pt x="292" y="506"/>
                      </a:cubicBezTo>
                      <a:cubicBezTo>
                        <a:pt x="300" y="514"/>
                        <a:pt x="308" y="545"/>
                        <a:pt x="316" y="577"/>
                      </a:cubicBezTo>
                      <a:cubicBezTo>
                        <a:pt x="324" y="601"/>
                        <a:pt x="324" y="624"/>
                        <a:pt x="332" y="640"/>
                      </a:cubicBezTo>
                      <a:cubicBezTo>
                        <a:pt x="340" y="664"/>
                        <a:pt x="348" y="672"/>
                        <a:pt x="356" y="672"/>
                      </a:cubicBezTo>
                      <a:cubicBezTo>
                        <a:pt x="363" y="672"/>
                        <a:pt x="372" y="664"/>
                        <a:pt x="379" y="664"/>
                      </a:cubicBezTo>
                      <a:lnTo>
                        <a:pt x="387" y="656"/>
                      </a:lnTo>
                      <a:cubicBezTo>
                        <a:pt x="395" y="648"/>
                        <a:pt x="403" y="648"/>
                        <a:pt x="411" y="648"/>
                      </a:cubicBezTo>
                      <a:cubicBezTo>
                        <a:pt x="419" y="648"/>
                        <a:pt x="427" y="656"/>
                        <a:pt x="427" y="664"/>
                      </a:cubicBezTo>
                      <a:cubicBezTo>
                        <a:pt x="435" y="672"/>
                        <a:pt x="443" y="672"/>
                        <a:pt x="450" y="672"/>
                      </a:cubicBezTo>
                      <a:cubicBezTo>
                        <a:pt x="458" y="672"/>
                        <a:pt x="466" y="664"/>
                        <a:pt x="466" y="656"/>
                      </a:cubicBezTo>
                      <a:cubicBezTo>
                        <a:pt x="466" y="648"/>
                        <a:pt x="466" y="648"/>
                        <a:pt x="466" y="648"/>
                      </a:cubicBezTo>
                      <a:cubicBezTo>
                        <a:pt x="474" y="648"/>
                        <a:pt x="498" y="664"/>
                        <a:pt x="522" y="688"/>
                      </a:cubicBezTo>
                      <a:cubicBezTo>
                        <a:pt x="553" y="711"/>
                        <a:pt x="530" y="798"/>
                        <a:pt x="466" y="909"/>
                      </a:cubicBezTo>
                      <a:cubicBezTo>
                        <a:pt x="427" y="979"/>
                        <a:pt x="530" y="1058"/>
                        <a:pt x="593" y="1106"/>
                      </a:cubicBezTo>
                      <a:cubicBezTo>
                        <a:pt x="625" y="1121"/>
                        <a:pt x="640" y="1137"/>
                        <a:pt x="648" y="1145"/>
                      </a:cubicBezTo>
                      <a:cubicBezTo>
                        <a:pt x="656" y="1169"/>
                        <a:pt x="680" y="1177"/>
                        <a:pt x="696" y="1185"/>
                      </a:cubicBezTo>
                      <a:cubicBezTo>
                        <a:pt x="711" y="1185"/>
                        <a:pt x="735" y="1193"/>
                        <a:pt x="743" y="1209"/>
                      </a:cubicBezTo>
                      <a:cubicBezTo>
                        <a:pt x="759" y="1224"/>
                        <a:pt x="775" y="1232"/>
                        <a:pt x="783" y="1232"/>
                      </a:cubicBezTo>
                      <a:cubicBezTo>
                        <a:pt x="798" y="1240"/>
                        <a:pt x="806" y="1240"/>
                        <a:pt x="806" y="1248"/>
                      </a:cubicBezTo>
                      <a:cubicBezTo>
                        <a:pt x="806" y="1272"/>
                        <a:pt x="814" y="1296"/>
                        <a:pt x="830" y="1319"/>
                      </a:cubicBezTo>
                      <a:cubicBezTo>
                        <a:pt x="838" y="1335"/>
                        <a:pt x="846" y="1351"/>
                        <a:pt x="854" y="1367"/>
                      </a:cubicBezTo>
                      <a:cubicBezTo>
                        <a:pt x="862" y="1390"/>
                        <a:pt x="862" y="1390"/>
                        <a:pt x="846" y="1398"/>
                      </a:cubicBezTo>
                      <a:cubicBezTo>
                        <a:pt x="838" y="1398"/>
                        <a:pt x="830" y="1406"/>
                        <a:pt x="830" y="1414"/>
                      </a:cubicBezTo>
                      <a:cubicBezTo>
                        <a:pt x="814" y="1430"/>
                        <a:pt x="830" y="1446"/>
                        <a:pt x="846" y="1469"/>
                      </a:cubicBezTo>
                      <a:cubicBezTo>
                        <a:pt x="862" y="1485"/>
                        <a:pt x="877" y="1501"/>
                        <a:pt x="877" y="1517"/>
                      </a:cubicBezTo>
                      <a:cubicBezTo>
                        <a:pt x="893" y="1540"/>
                        <a:pt x="909" y="1548"/>
                        <a:pt x="933" y="1548"/>
                      </a:cubicBezTo>
                      <a:cubicBezTo>
                        <a:pt x="941" y="1548"/>
                        <a:pt x="949" y="1548"/>
                        <a:pt x="956" y="1548"/>
                      </a:cubicBezTo>
                      <a:cubicBezTo>
                        <a:pt x="964" y="1548"/>
                        <a:pt x="964" y="1548"/>
                        <a:pt x="972" y="1548"/>
                      </a:cubicBezTo>
                      <a:lnTo>
                        <a:pt x="972" y="1548"/>
                      </a:lnTo>
                      <a:cubicBezTo>
                        <a:pt x="980" y="1556"/>
                        <a:pt x="980" y="1556"/>
                        <a:pt x="980" y="1556"/>
                      </a:cubicBezTo>
                      <a:lnTo>
                        <a:pt x="980" y="1556"/>
                      </a:lnTo>
                      <a:cubicBezTo>
                        <a:pt x="980" y="1548"/>
                        <a:pt x="980" y="1548"/>
                        <a:pt x="980" y="1548"/>
                      </a:cubicBezTo>
                      <a:lnTo>
                        <a:pt x="972" y="1548"/>
                      </a:lnTo>
                      <a:cubicBezTo>
                        <a:pt x="964" y="1548"/>
                        <a:pt x="964" y="1548"/>
                        <a:pt x="956" y="1548"/>
                      </a:cubicBezTo>
                      <a:cubicBezTo>
                        <a:pt x="949" y="1548"/>
                        <a:pt x="941" y="1548"/>
                        <a:pt x="933" y="1548"/>
                      </a:cubicBezTo>
                      <a:cubicBezTo>
                        <a:pt x="917" y="1548"/>
                        <a:pt x="893" y="1540"/>
                        <a:pt x="885" y="1517"/>
                      </a:cubicBezTo>
                      <a:cubicBezTo>
                        <a:pt x="862" y="1469"/>
                        <a:pt x="806" y="1438"/>
                        <a:pt x="830" y="1414"/>
                      </a:cubicBezTo>
                      <a:cubicBezTo>
                        <a:pt x="846" y="1390"/>
                        <a:pt x="877" y="1406"/>
                        <a:pt x="854" y="1359"/>
                      </a:cubicBezTo>
                      <a:cubicBezTo>
                        <a:pt x="838" y="1319"/>
                        <a:pt x="806" y="1280"/>
                        <a:pt x="806" y="1248"/>
                      </a:cubicBezTo>
                      <a:cubicBezTo>
                        <a:pt x="806" y="1224"/>
                        <a:pt x="767" y="1240"/>
                        <a:pt x="743" y="1209"/>
                      </a:cubicBezTo>
                      <a:cubicBezTo>
                        <a:pt x="719" y="1177"/>
                        <a:pt x="664" y="1177"/>
                        <a:pt x="648" y="1145"/>
                      </a:cubicBezTo>
                      <a:cubicBezTo>
                        <a:pt x="632" y="1114"/>
                        <a:pt x="411" y="1003"/>
                        <a:pt x="466" y="909"/>
                      </a:cubicBezTo>
                      <a:cubicBezTo>
                        <a:pt x="530" y="814"/>
                        <a:pt x="561" y="711"/>
                        <a:pt x="530" y="680"/>
                      </a:cubicBezTo>
                      <a:cubicBezTo>
                        <a:pt x="506" y="664"/>
                        <a:pt x="482" y="648"/>
                        <a:pt x="466" y="648"/>
                      </a:cubicBezTo>
                      <a:cubicBezTo>
                        <a:pt x="466" y="648"/>
                        <a:pt x="466" y="648"/>
                        <a:pt x="466" y="656"/>
                      </a:cubicBezTo>
                      <a:cubicBezTo>
                        <a:pt x="466" y="664"/>
                        <a:pt x="458" y="672"/>
                        <a:pt x="450" y="672"/>
                      </a:cubicBezTo>
                      <a:cubicBezTo>
                        <a:pt x="443" y="672"/>
                        <a:pt x="435" y="664"/>
                        <a:pt x="435" y="656"/>
                      </a:cubicBezTo>
                      <a:cubicBezTo>
                        <a:pt x="427" y="648"/>
                        <a:pt x="427" y="648"/>
                        <a:pt x="411" y="648"/>
                      </a:cubicBezTo>
                      <a:cubicBezTo>
                        <a:pt x="403" y="648"/>
                        <a:pt x="395" y="648"/>
                        <a:pt x="387" y="648"/>
                      </a:cubicBezTo>
                      <a:cubicBezTo>
                        <a:pt x="372" y="656"/>
                        <a:pt x="363" y="664"/>
                        <a:pt x="356" y="664"/>
                      </a:cubicBezTo>
                      <a:cubicBezTo>
                        <a:pt x="348" y="664"/>
                        <a:pt x="340" y="664"/>
                        <a:pt x="332" y="640"/>
                      </a:cubicBezTo>
                      <a:cubicBezTo>
                        <a:pt x="316" y="593"/>
                        <a:pt x="316" y="514"/>
                        <a:pt x="292" y="506"/>
                      </a:cubicBezTo>
                      <a:cubicBezTo>
                        <a:pt x="269" y="498"/>
                        <a:pt x="174" y="451"/>
                        <a:pt x="166" y="411"/>
                      </a:cubicBezTo>
                      <a:cubicBezTo>
                        <a:pt x="166" y="364"/>
                        <a:pt x="23" y="269"/>
                        <a:pt x="16" y="213"/>
                      </a:cubicBezTo>
                      <a:cubicBezTo>
                        <a:pt x="8" y="158"/>
                        <a:pt x="8" y="40"/>
                        <a:pt x="23" y="8"/>
                      </a:cubicBezTo>
                      <a:lnTo>
                        <a:pt x="23" y="8"/>
                      </a:lnTo>
                      <a:cubicBezTo>
                        <a:pt x="23" y="0"/>
                        <a:pt x="23" y="0"/>
                        <a:pt x="23" y="0"/>
                      </a:cubicBezTo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2" name="Freeform 752">
                  <a:extLst>
                    <a:ext uri="{FF2B5EF4-FFF2-40B4-BE49-F238E27FC236}">
                      <a16:creationId xmlns:a16="http://schemas.microsoft.com/office/drawing/2014/main" id="{7AAAF728-BE7D-2549-BD90-162B51F138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752588" y="3366631"/>
                  <a:ext cx="654044" cy="964831"/>
                </a:xfrm>
                <a:custGeom>
                  <a:avLst/>
                  <a:gdLst>
                    <a:gd name="T0" fmla="*/ 1202 w 1243"/>
                    <a:gd name="T1" fmla="*/ 1012 h 1835"/>
                    <a:gd name="T2" fmla="*/ 1202 w 1243"/>
                    <a:gd name="T3" fmla="*/ 1012 h 1835"/>
                    <a:gd name="T4" fmla="*/ 1155 w 1243"/>
                    <a:gd name="T5" fmla="*/ 989 h 1835"/>
                    <a:gd name="T6" fmla="*/ 1163 w 1243"/>
                    <a:gd name="T7" fmla="*/ 925 h 1835"/>
                    <a:gd name="T8" fmla="*/ 1131 w 1243"/>
                    <a:gd name="T9" fmla="*/ 894 h 1835"/>
                    <a:gd name="T10" fmla="*/ 1092 w 1243"/>
                    <a:gd name="T11" fmla="*/ 933 h 1835"/>
                    <a:gd name="T12" fmla="*/ 997 w 1243"/>
                    <a:gd name="T13" fmla="*/ 846 h 1835"/>
                    <a:gd name="T14" fmla="*/ 981 w 1243"/>
                    <a:gd name="T15" fmla="*/ 728 h 1835"/>
                    <a:gd name="T16" fmla="*/ 870 w 1243"/>
                    <a:gd name="T17" fmla="*/ 720 h 1835"/>
                    <a:gd name="T18" fmla="*/ 823 w 1243"/>
                    <a:gd name="T19" fmla="*/ 641 h 1835"/>
                    <a:gd name="T20" fmla="*/ 657 w 1243"/>
                    <a:gd name="T21" fmla="*/ 174 h 1835"/>
                    <a:gd name="T22" fmla="*/ 491 w 1243"/>
                    <a:gd name="T23" fmla="*/ 24 h 1835"/>
                    <a:gd name="T24" fmla="*/ 428 w 1243"/>
                    <a:gd name="T25" fmla="*/ 56 h 1835"/>
                    <a:gd name="T26" fmla="*/ 253 w 1243"/>
                    <a:gd name="T27" fmla="*/ 143 h 1835"/>
                    <a:gd name="T28" fmla="*/ 182 w 1243"/>
                    <a:gd name="T29" fmla="*/ 56 h 1835"/>
                    <a:gd name="T30" fmla="*/ 119 w 1243"/>
                    <a:gd name="T31" fmla="*/ 135 h 1835"/>
                    <a:gd name="T32" fmla="*/ 32 w 1243"/>
                    <a:gd name="T33" fmla="*/ 427 h 1835"/>
                    <a:gd name="T34" fmla="*/ 32 w 1243"/>
                    <a:gd name="T35" fmla="*/ 554 h 1835"/>
                    <a:gd name="T36" fmla="*/ 32 w 1243"/>
                    <a:gd name="T37" fmla="*/ 569 h 1835"/>
                    <a:gd name="T38" fmla="*/ 380 w 1243"/>
                    <a:gd name="T39" fmla="*/ 1755 h 1835"/>
                    <a:gd name="T40" fmla="*/ 396 w 1243"/>
                    <a:gd name="T41" fmla="*/ 1755 h 1835"/>
                    <a:gd name="T42" fmla="*/ 428 w 1243"/>
                    <a:gd name="T43" fmla="*/ 1779 h 1835"/>
                    <a:gd name="T44" fmla="*/ 483 w 1243"/>
                    <a:gd name="T45" fmla="*/ 1811 h 1835"/>
                    <a:gd name="T46" fmla="*/ 475 w 1243"/>
                    <a:gd name="T47" fmla="*/ 1763 h 1835"/>
                    <a:gd name="T48" fmla="*/ 483 w 1243"/>
                    <a:gd name="T49" fmla="*/ 1732 h 1835"/>
                    <a:gd name="T50" fmla="*/ 506 w 1243"/>
                    <a:gd name="T51" fmla="*/ 1692 h 1835"/>
                    <a:gd name="T52" fmla="*/ 538 w 1243"/>
                    <a:gd name="T53" fmla="*/ 1724 h 1835"/>
                    <a:gd name="T54" fmla="*/ 554 w 1243"/>
                    <a:gd name="T55" fmla="*/ 1676 h 1835"/>
                    <a:gd name="T56" fmla="*/ 562 w 1243"/>
                    <a:gd name="T57" fmla="*/ 1637 h 1835"/>
                    <a:gd name="T58" fmla="*/ 625 w 1243"/>
                    <a:gd name="T59" fmla="*/ 1645 h 1835"/>
                    <a:gd name="T60" fmla="*/ 657 w 1243"/>
                    <a:gd name="T61" fmla="*/ 1613 h 1835"/>
                    <a:gd name="T62" fmla="*/ 649 w 1243"/>
                    <a:gd name="T63" fmla="*/ 1463 h 1835"/>
                    <a:gd name="T64" fmla="*/ 680 w 1243"/>
                    <a:gd name="T65" fmla="*/ 1439 h 1835"/>
                    <a:gd name="T66" fmla="*/ 688 w 1243"/>
                    <a:gd name="T67" fmla="*/ 1384 h 1835"/>
                    <a:gd name="T68" fmla="*/ 712 w 1243"/>
                    <a:gd name="T69" fmla="*/ 1400 h 1835"/>
                    <a:gd name="T70" fmla="*/ 752 w 1243"/>
                    <a:gd name="T71" fmla="*/ 1439 h 1835"/>
                    <a:gd name="T72" fmla="*/ 783 w 1243"/>
                    <a:gd name="T73" fmla="*/ 1439 h 1835"/>
                    <a:gd name="T74" fmla="*/ 823 w 1243"/>
                    <a:gd name="T75" fmla="*/ 1431 h 1835"/>
                    <a:gd name="T76" fmla="*/ 807 w 1243"/>
                    <a:gd name="T77" fmla="*/ 1376 h 1835"/>
                    <a:gd name="T78" fmla="*/ 839 w 1243"/>
                    <a:gd name="T79" fmla="*/ 1400 h 1835"/>
                    <a:gd name="T80" fmla="*/ 870 w 1243"/>
                    <a:gd name="T81" fmla="*/ 1400 h 1835"/>
                    <a:gd name="T82" fmla="*/ 902 w 1243"/>
                    <a:gd name="T83" fmla="*/ 1376 h 1835"/>
                    <a:gd name="T84" fmla="*/ 910 w 1243"/>
                    <a:gd name="T85" fmla="*/ 1328 h 1835"/>
                    <a:gd name="T86" fmla="*/ 854 w 1243"/>
                    <a:gd name="T87" fmla="*/ 1313 h 1835"/>
                    <a:gd name="T88" fmla="*/ 839 w 1243"/>
                    <a:gd name="T89" fmla="*/ 1305 h 1835"/>
                    <a:gd name="T90" fmla="*/ 902 w 1243"/>
                    <a:gd name="T91" fmla="*/ 1281 h 1835"/>
                    <a:gd name="T92" fmla="*/ 926 w 1243"/>
                    <a:gd name="T93" fmla="*/ 1321 h 1835"/>
                    <a:gd name="T94" fmla="*/ 965 w 1243"/>
                    <a:gd name="T95" fmla="*/ 1321 h 1835"/>
                    <a:gd name="T96" fmla="*/ 989 w 1243"/>
                    <a:gd name="T97" fmla="*/ 1289 h 1835"/>
                    <a:gd name="T98" fmla="*/ 1005 w 1243"/>
                    <a:gd name="T99" fmla="*/ 1234 h 1835"/>
                    <a:gd name="T100" fmla="*/ 1028 w 1243"/>
                    <a:gd name="T101" fmla="*/ 1226 h 1835"/>
                    <a:gd name="T102" fmla="*/ 1068 w 1243"/>
                    <a:gd name="T103" fmla="*/ 1234 h 1835"/>
                    <a:gd name="T104" fmla="*/ 1092 w 1243"/>
                    <a:gd name="T105" fmla="*/ 1186 h 1835"/>
                    <a:gd name="T106" fmla="*/ 1139 w 1243"/>
                    <a:gd name="T107" fmla="*/ 1131 h 1835"/>
                    <a:gd name="T108" fmla="*/ 1202 w 1243"/>
                    <a:gd name="T109" fmla="*/ 1091 h 1835"/>
                    <a:gd name="T110" fmla="*/ 1202 w 1243"/>
                    <a:gd name="T111" fmla="*/ 1012 h 18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43" h="1835">
                      <a:moveTo>
                        <a:pt x="1202" y="1012"/>
                      </a:moveTo>
                      <a:lnTo>
                        <a:pt x="1202" y="1012"/>
                      </a:lnTo>
                      <a:cubicBezTo>
                        <a:pt x="1163" y="1012"/>
                        <a:pt x="1139" y="1020"/>
                        <a:pt x="1155" y="989"/>
                      </a:cubicBezTo>
                      <a:cubicBezTo>
                        <a:pt x="1179" y="949"/>
                        <a:pt x="1186" y="933"/>
                        <a:pt x="1163" y="925"/>
                      </a:cubicBezTo>
                      <a:cubicBezTo>
                        <a:pt x="1147" y="917"/>
                        <a:pt x="1123" y="902"/>
                        <a:pt x="1131" y="894"/>
                      </a:cubicBezTo>
                      <a:cubicBezTo>
                        <a:pt x="1131" y="902"/>
                        <a:pt x="1107" y="925"/>
                        <a:pt x="1092" y="933"/>
                      </a:cubicBezTo>
                      <a:cubicBezTo>
                        <a:pt x="1076" y="941"/>
                        <a:pt x="1020" y="870"/>
                        <a:pt x="997" y="846"/>
                      </a:cubicBezTo>
                      <a:cubicBezTo>
                        <a:pt x="981" y="822"/>
                        <a:pt x="1005" y="759"/>
                        <a:pt x="981" y="728"/>
                      </a:cubicBezTo>
                      <a:cubicBezTo>
                        <a:pt x="957" y="696"/>
                        <a:pt x="902" y="751"/>
                        <a:pt x="870" y="720"/>
                      </a:cubicBezTo>
                      <a:cubicBezTo>
                        <a:pt x="831" y="696"/>
                        <a:pt x="823" y="641"/>
                        <a:pt x="823" y="641"/>
                      </a:cubicBezTo>
                      <a:cubicBezTo>
                        <a:pt x="823" y="641"/>
                        <a:pt x="680" y="230"/>
                        <a:pt x="657" y="174"/>
                      </a:cubicBezTo>
                      <a:cubicBezTo>
                        <a:pt x="641" y="119"/>
                        <a:pt x="538" y="48"/>
                        <a:pt x="491" y="24"/>
                      </a:cubicBezTo>
                      <a:cubicBezTo>
                        <a:pt x="443" y="0"/>
                        <a:pt x="435" y="24"/>
                        <a:pt x="428" y="56"/>
                      </a:cubicBezTo>
                      <a:cubicBezTo>
                        <a:pt x="412" y="79"/>
                        <a:pt x="285" y="158"/>
                        <a:pt x="253" y="143"/>
                      </a:cubicBezTo>
                      <a:cubicBezTo>
                        <a:pt x="230" y="127"/>
                        <a:pt x="206" y="72"/>
                        <a:pt x="182" y="56"/>
                      </a:cubicBezTo>
                      <a:cubicBezTo>
                        <a:pt x="159" y="32"/>
                        <a:pt x="135" y="95"/>
                        <a:pt x="119" y="135"/>
                      </a:cubicBezTo>
                      <a:cubicBezTo>
                        <a:pt x="111" y="174"/>
                        <a:pt x="56" y="388"/>
                        <a:pt x="32" y="427"/>
                      </a:cubicBezTo>
                      <a:cubicBezTo>
                        <a:pt x="0" y="475"/>
                        <a:pt x="32" y="498"/>
                        <a:pt x="32" y="554"/>
                      </a:cubicBezTo>
                      <a:cubicBezTo>
                        <a:pt x="32" y="562"/>
                        <a:pt x="32" y="569"/>
                        <a:pt x="32" y="569"/>
                      </a:cubicBezTo>
                      <a:cubicBezTo>
                        <a:pt x="380" y="1755"/>
                        <a:pt x="380" y="1755"/>
                        <a:pt x="380" y="1755"/>
                      </a:cubicBezTo>
                      <a:cubicBezTo>
                        <a:pt x="388" y="1755"/>
                        <a:pt x="388" y="1755"/>
                        <a:pt x="396" y="1755"/>
                      </a:cubicBezTo>
                      <a:cubicBezTo>
                        <a:pt x="428" y="1755"/>
                        <a:pt x="404" y="1803"/>
                        <a:pt x="428" y="1779"/>
                      </a:cubicBezTo>
                      <a:cubicBezTo>
                        <a:pt x="459" y="1763"/>
                        <a:pt x="475" y="1834"/>
                        <a:pt x="483" y="1811"/>
                      </a:cubicBezTo>
                      <a:cubicBezTo>
                        <a:pt x="491" y="1787"/>
                        <a:pt x="467" y="1779"/>
                        <a:pt x="475" y="1763"/>
                      </a:cubicBezTo>
                      <a:cubicBezTo>
                        <a:pt x="475" y="1748"/>
                        <a:pt x="491" y="1755"/>
                        <a:pt x="483" y="1732"/>
                      </a:cubicBezTo>
                      <a:cubicBezTo>
                        <a:pt x="475" y="1700"/>
                        <a:pt x="491" y="1668"/>
                        <a:pt x="506" y="1692"/>
                      </a:cubicBezTo>
                      <a:cubicBezTo>
                        <a:pt x="522" y="1724"/>
                        <a:pt x="530" y="1739"/>
                        <a:pt x="538" y="1724"/>
                      </a:cubicBezTo>
                      <a:cubicBezTo>
                        <a:pt x="554" y="1708"/>
                        <a:pt x="562" y="1716"/>
                        <a:pt x="554" y="1676"/>
                      </a:cubicBezTo>
                      <a:cubicBezTo>
                        <a:pt x="546" y="1645"/>
                        <a:pt x="538" y="1645"/>
                        <a:pt x="562" y="1637"/>
                      </a:cubicBezTo>
                      <a:cubicBezTo>
                        <a:pt x="586" y="1637"/>
                        <a:pt x="593" y="1661"/>
                        <a:pt x="625" y="1645"/>
                      </a:cubicBezTo>
                      <a:cubicBezTo>
                        <a:pt x="657" y="1629"/>
                        <a:pt x="665" y="1637"/>
                        <a:pt x="657" y="1613"/>
                      </a:cubicBezTo>
                      <a:cubicBezTo>
                        <a:pt x="657" y="1589"/>
                        <a:pt x="625" y="1510"/>
                        <a:pt x="649" y="1463"/>
                      </a:cubicBezTo>
                      <a:cubicBezTo>
                        <a:pt x="680" y="1415"/>
                        <a:pt x="680" y="1463"/>
                        <a:pt x="680" y="1439"/>
                      </a:cubicBezTo>
                      <a:cubicBezTo>
                        <a:pt x="673" y="1415"/>
                        <a:pt x="688" y="1423"/>
                        <a:pt x="688" y="1384"/>
                      </a:cubicBezTo>
                      <a:cubicBezTo>
                        <a:pt x="696" y="1344"/>
                        <a:pt x="704" y="1384"/>
                        <a:pt x="712" y="1400"/>
                      </a:cubicBezTo>
                      <a:cubicBezTo>
                        <a:pt x="728" y="1423"/>
                        <a:pt x="736" y="1447"/>
                        <a:pt x="752" y="1439"/>
                      </a:cubicBezTo>
                      <a:cubicBezTo>
                        <a:pt x="775" y="1431"/>
                        <a:pt x="759" y="1431"/>
                        <a:pt x="783" y="1439"/>
                      </a:cubicBezTo>
                      <a:cubicBezTo>
                        <a:pt x="807" y="1455"/>
                        <a:pt x="846" y="1455"/>
                        <a:pt x="823" y="1431"/>
                      </a:cubicBezTo>
                      <a:cubicBezTo>
                        <a:pt x="807" y="1408"/>
                        <a:pt x="783" y="1384"/>
                        <a:pt x="807" y="1376"/>
                      </a:cubicBezTo>
                      <a:cubicBezTo>
                        <a:pt x="831" y="1368"/>
                        <a:pt x="831" y="1384"/>
                        <a:pt x="839" y="1400"/>
                      </a:cubicBezTo>
                      <a:cubicBezTo>
                        <a:pt x="839" y="1423"/>
                        <a:pt x="870" y="1400"/>
                        <a:pt x="870" y="1400"/>
                      </a:cubicBezTo>
                      <a:cubicBezTo>
                        <a:pt x="870" y="1400"/>
                        <a:pt x="878" y="1400"/>
                        <a:pt x="902" y="1376"/>
                      </a:cubicBezTo>
                      <a:cubicBezTo>
                        <a:pt x="918" y="1352"/>
                        <a:pt x="926" y="1344"/>
                        <a:pt x="910" y="1328"/>
                      </a:cubicBezTo>
                      <a:cubicBezTo>
                        <a:pt x="894" y="1321"/>
                        <a:pt x="862" y="1305"/>
                        <a:pt x="854" y="1313"/>
                      </a:cubicBezTo>
                      <a:cubicBezTo>
                        <a:pt x="839" y="1328"/>
                        <a:pt x="815" y="1321"/>
                        <a:pt x="839" y="1305"/>
                      </a:cubicBezTo>
                      <a:cubicBezTo>
                        <a:pt x="870" y="1281"/>
                        <a:pt x="886" y="1265"/>
                        <a:pt x="902" y="1281"/>
                      </a:cubicBezTo>
                      <a:cubicBezTo>
                        <a:pt x="918" y="1305"/>
                        <a:pt x="894" y="1305"/>
                        <a:pt x="926" y="1321"/>
                      </a:cubicBezTo>
                      <a:cubicBezTo>
                        <a:pt x="949" y="1344"/>
                        <a:pt x="957" y="1360"/>
                        <a:pt x="965" y="1321"/>
                      </a:cubicBezTo>
                      <a:cubicBezTo>
                        <a:pt x="973" y="1289"/>
                        <a:pt x="973" y="1289"/>
                        <a:pt x="989" y="1289"/>
                      </a:cubicBezTo>
                      <a:cubicBezTo>
                        <a:pt x="1005" y="1289"/>
                        <a:pt x="1005" y="1265"/>
                        <a:pt x="1005" y="1234"/>
                      </a:cubicBezTo>
                      <a:cubicBezTo>
                        <a:pt x="1005" y="1210"/>
                        <a:pt x="1012" y="1210"/>
                        <a:pt x="1028" y="1226"/>
                      </a:cubicBezTo>
                      <a:cubicBezTo>
                        <a:pt x="1044" y="1249"/>
                        <a:pt x="1052" y="1257"/>
                        <a:pt x="1068" y="1234"/>
                      </a:cubicBezTo>
                      <a:cubicBezTo>
                        <a:pt x="1076" y="1210"/>
                        <a:pt x="1060" y="1218"/>
                        <a:pt x="1092" y="1186"/>
                      </a:cubicBezTo>
                      <a:cubicBezTo>
                        <a:pt x="1123" y="1155"/>
                        <a:pt x="1107" y="1131"/>
                        <a:pt x="1139" y="1131"/>
                      </a:cubicBezTo>
                      <a:cubicBezTo>
                        <a:pt x="1171" y="1123"/>
                        <a:pt x="1171" y="1123"/>
                        <a:pt x="1202" y="1091"/>
                      </a:cubicBezTo>
                      <a:cubicBezTo>
                        <a:pt x="1234" y="1068"/>
                        <a:pt x="1242" y="1020"/>
                        <a:pt x="1202" y="101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3" name="Freeform 753">
                  <a:extLst>
                    <a:ext uri="{FF2B5EF4-FFF2-40B4-BE49-F238E27FC236}">
                      <a16:creationId xmlns:a16="http://schemas.microsoft.com/office/drawing/2014/main" id="{6F6C3508-BCCB-8646-888F-F73A1D1DAD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759545" y="3368951"/>
                  <a:ext cx="644767" cy="953234"/>
                </a:xfrm>
                <a:custGeom>
                  <a:avLst/>
                  <a:gdLst>
                    <a:gd name="T0" fmla="*/ 434 w 1226"/>
                    <a:gd name="T1" fmla="*/ 1771 h 1812"/>
                    <a:gd name="T2" fmla="*/ 387 w 1226"/>
                    <a:gd name="T3" fmla="*/ 1747 h 1812"/>
                    <a:gd name="T4" fmla="*/ 23 w 1226"/>
                    <a:gd name="T5" fmla="*/ 561 h 1812"/>
                    <a:gd name="T6" fmla="*/ 15 w 1226"/>
                    <a:gd name="T7" fmla="*/ 419 h 1812"/>
                    <a:gd name="T8" fmla="*/ 173 w 1226"/>
                    <a:gd name="T9" fmla="*/ 40 h 1812"/>
                    <a:gd name="T10" fmla="*/ 411 w 1226"/>
                    <a:gd name="T11" fmla="*/ 40 h 1812"/>
                    <a:gd name="T12" fmla="*/ 656 w 1226"/>
                    <a:gd name="T13" fmla="*/ 166 h 1812"/>
                    <a:gd name="T14" fmla="*/ 917 w 1226"/>
                    <a:gd name="T15" fmla="*/ 712 h 1812"/>
                    <a:gd name="T16" fmla="*/ 996 w 1226"/>
                    <a:gd name="T17" fmla="*/ 838 h 1812"/>
                    <a:gd name="T18" fmla="*/ 1138 w 1226"/>
                    <a:gd name="T19" fmla="*/ 862 h 1812"/>
                    <a:gd name="T20" fmla="*/ 1170 w 1226"/>
                    <a:gd name="T21" fmla="*/ 925 h 1812"/>
                    <a:gd name="T22" fmla="*/ 1170 w 1226"/>
                    <a:gd name="T23" fmla="*/ 1004 h 1812"/>
                    <a:gd name="T24" fmla="*/ 1130 w 1226"/>
                    <a:gd name="T25" fmla="*/ 1123 h 1812"/>
                    <a:gd name="T26" fmla="*/ 1067 w 1226"/>
                    <a:gd name="T27" fmla="*/ 1210 h 1812"/>
                    <a:gd name="T28" fmla="*/ 1003 w 1226"/>
                    <a:gd name="T29" fmla="*/ 1210 h 1812"/>
                    <a:gd name="T30" fmla="*/ 980 w 1226"/>
                    <a:gd name="T31" fmla="*/ 1281 h 1812"/>
                    <a:gd name="T32" fmla="*/ 909 w 1226"/>
                    <a:gd name="T33" fmla="*/ 1320 h 1812"/>
                    <a:gd name="T34" fmla="*/ 845 w 1226"/>
                    <a:gd name="T35" fmla="*/ 1289 h 1812"/>
                    <a:gd name="T36" fmla="*/ 901 w 1226"/>
                    <a:gd name="T37" fmla="*/ 1320 h 1812"/>
                    <a:gd name="T38" fmla="*/ 837 w 1226"/>
                    <a:gd name="T39" fmla="*/ 1407 h 1812"/>
                    <a:gd name="T40" fmla="*/ 798 w 1226"/>
                    <a:gd name="T41" fmla="*/ 1368 h 1812"/>
                    <a:gd name="T42" fmla="*/ 822 w 1226"/>
                    <a:gd name="T43" fmla="*/ 1439 h 1812"/>
                    <a:gd name="T44" fmla="*/ 750 w 1226"/>
                    <a:gd name="T45" fmla="*/ 1431 h 1812"/>
                    <a:gd name="T46" fmla="*/ 703 w 1226"/>
                    <a:gd name="T47" fmla="*/ 1392 h 1812"/>
                    <a:gd name="T48" fmla="*/ 679 w 1226"/>
                    <a:gd name="T49" fmla="*/ 1407 h 1812"/>
                    <a:gd name="T50" fmla="*/ 664 w 1226"/>
                    <a:gd name="T51" fmla="*/ 1439 h 1812"/>
                    <a:gd name="T52" fmla="*/ 632 w 1226"/>
                    <a:gd name="T53" fmla="*/ 1637 h 1812"/>
                    <a:gd name="T54" fmla="*/ 553 w 1226"/>
                    <a:gd name="T55" fmla="*/ 1637 h 1812"/>
                    <a:gd name="T56" fmla="*/ 545 w 1226"/>
                    <a:gd name="T57" fmla="*/ 1716 h 1812"/>
                    <a:gd name="T58" fmla="*/ 482 w 1226"/>
                    <a:gd name="T59" fmla="*/ 1684 h 1812"/>
                    <a:gd name="T60" fmla="*/ 466 w 1226"/>
                    <a:gd name="T61" fmla="*/ 1755 h 1812"/>
                    <a:gd name="T62" fmla="*/ 434 w 1226"/>
                    <a:gd name="T63" fmla="*/ 1763 h 1812"/>
                    <a:gd name="T64" fmla="*/ 466 w 1226"/>
                    <a:gd name="T65" fmla="*/ 1795 h 1812"/>
                    <a:gd name="T66" fmla="*/ 474 w 1226"/>
                    <a:gd name="T67" fmla="*/ 1724 h 1812"/>
                    <a:gd name="T68" fmla="*/ 521 w 1226"/>
                    <a:gd name="T69" fmla="*/ 1716 h 1812"/>
                    <a:gd name="T70" fmla="*/ 537 w 1226"/>
                    <a:gd name="T71" fmla="*/ 1660 h 1812"/>
                    <a:gd name="T72" fmla="*/ 600 w 1226"/>
                    <a:gd name="T73" fmla="*/ 1637 h 1812"/>
                    <a:gd name="T74" fmla="*/ 640 w 1226"/>
                    <a:gd name="T75" fmla="*/ 1589 h 1812"/>
                    <a:gd name="T76" fmla="*/ 671 w 1226"/>
                    <a:gd name="T77" fmla="*/ 1407 h 1812"/>
                    <a:gd name="T78" fmla="*/ 711 w 1226"/>
                    <a:gd name="T79" fmla="*/ 1392 h 1812"/>
                    <a:gd name="T80" fmla="*/ 743 w 1226"/>
                    <a:gd name="T81" fmla="*/ 1423 h 1812"/>
                    <a:gd name="T82" fmla="*/ 806 w 1226"/>
                    <a:gd name="T83" fmla="*/ 1439 h 1812"/>
                    <a:gd name="T84" fmla="*/ 790 w 1226"/>
                    <a:gd name="T85" fmla="*/ 1376 h 1812"/>
                    <a:gd name="T86" fmla="*/ 830 w 1226"/>
                    <a:gd name="T87" fmla="*/ 1392 h 1812"/>
                    <a:gd name="T88" fmla="*/ 885 w 1226"/>
                    <a:gd name="T89" fmla="*/ 1368 h 1812"/>
                    <a:gd name="T90" fmla="*/ 845 w 1226"/>
                    <a:gd name="T91" fmla="*/ 1313 h 1812"/>
                    <a:gd name="T92" fmla="*/ 837 w 1226"/>
                    <a:gd name="T93" fmla="*/ 1281 h 1812"/>
                    <a:gd name="T94" fmla="*/ 917 w 1226"/>
                    <a:gd name="T95" fmla="*/ 1313 h 1812"/>
                    <a:gd name="T96" fmla="*/ 980 w 1226"/>
                    <a:gd name="T97" fmla="*/ 1273 h 1812"/>
                    <a:gd name="T98" fmla="*/ 1003 w 1226"/>
                    <a:gd name="T99" fmla="*/ 1202 h 1812"/>
                    <a:gd name="T100" fmla="*/ 1059 w 1226"/>
                    <a:gd name="T101" fmla="*/ 1210 h 1812"/>
                    <a:gd name="T102" fmla="*/ 1130 w 1226"/>
                    <a:gd name="T103" fmla="*/ 1115 h 1812"/>
                    <a:gd name="T104" fmla="*/ 1170 w 1226"/>
                    <a:gd name="T105" fmla="*/ 1012 h 1812"/>
                    <a:gd name="T106" fmla="*/ 1162 w 1226"/>
                    <a:gd name="T107" fmla="*/ 925 h 1812"/>
                    <a:gd name="T108" fmla="*/ 1083 w 1226"/>
                    <a:gd name="T109" fmla="*/ 925 h 1812"/>
                    <a:gd name="T110" fmla="*/ 972 w 1226"/>
                    <a:gd name="T111" fmla="*/ 720 h 1812"/>
                    <a:gd name="T112" fmla="*/ 861 w 1226"/>
                    <a:gd name="T113" fmla="*/ 720 h 1812"/>
                    <a:gd name="T114" fmla="*/ 450 w 1226"/>
                    <a:gd name="T115" fmla="*/ 8 h 1812"/>
                    <a:gd name="T116" fmla="*/ 244 w 1226"/>
                    <a:gd name="T117" fmla="*/ 143 h 1812"/>
                    <a:gd name="T118" fmla="*/ 118 w 1226"/>
                    <a:gd name="T119" fmla="*/ 127 h 1812"/>
                    <a:gd name="T120" fmla="*/ 31 w 1226"/>
                    <a:gd name="T121" fmla="*/ 546 h 1812"/>
                    <a:gd name="T122" fmla="*/ 411 w 1226"/>
                    <a:gd name="T123" fmla="*/ 1771 h 18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226" h="1812">
                      <a:moveTo>
                        <a:pt x="466" y="1811"/>
                      </a:moveTo>
                      <a:lnTo>
                        <a:pt x="466" y="1811"/>
                      </a:lnTo>
                      <a:cubicBezTo>
                        <a:pt x="466" y="1811"/>
                        <a:pt x="458" y="1803"/>
                        <a:pt x="458" y="1795"/>
                      </a:cubicBezTo>
                      <a:cubicBezTo>
                        <a:pt x="450" y="1787"/>
                        <a:pt x="442" y="1771"/>
                        <a:pt x="434" y="1771"/>
                      </a:cubicBezTo>
                      <a:cubicBezTo>
                        <a:pt x="426" y="1771"/>
                        <a:pt x="426" y="1771"/>
                        <a:pt x="426" y="1779"/>
                      </a:cubicBezTo>
                      <a:cubicBezTo>
                        <a:pt x="419" y="1779"/>
                        <a:pt x="411" y="1787"/>
                        <a:pt x="411" y="1787"/>
                      </a:cubicBezTo>
                      <a:cubicBezTo>
                        <a:pt x="403" y="1787"/>
                        <a:pt x="403" y="1779"/>
                        <a:pt x="403" y="1771"/>
                      </a:cubicBezTo>
                      <a:cubicBezTo>
                        <a:pt x="395" y="1755"/>
                        <a:pt x="395" y="1755"/>
                        <a:pt x="387" y="1747"/>
                      </a:cubicBezTo>
                      <a:cubicBezTo>
                        <a:pt x="379" y="1747"/>
                        <a:pt x="379" y="1747"/>
                        <a:pt x="371" y="1755"/>
                      </a:cubicBezTo>
                      <a:lnTo>
                        <a:pt x="371" y="1755"/>
                      </a:lnTo>
                      <a:cubicBezTo>
                        <a:pt x="371" y="1747"/>
                        <a:pt x="371" y="1747"/>
                        <a:pt x="371" y="1747"/>
                      </a:cubicBezTo>
                      <a:cubicBezTo>
                        <a:pt x="23" y="561"/>
                        <a:pt x="23" y="561"/>
                        <a:pt x="23" y="561"/>
                      </a:cubicBezTo>
                      <a:lnTo>
                        <a:pt x="23" y="561"/>
                      </a:lnTo>
                      <a:cubicBezTo>
                        <a:pt x="23" y="561"/>
                        <a:pt x="23" y="554"/>
                        <a:pt x="23" y="546"/>
                      </a:cubicBezTo>
                      <a:cubicBezTo>
                        <a:pt x="23" y="530"/>
                        <a:pt x="15" y="514"/>
                        <a:pt x="15" y="498"/>
                      </a:cubicBezTo>
                      <a:cubicBezTo>
                        <a:pt x="7" y="475"/>
                        <a:pt x="0" y="451"/>
                        <a:pt x="15" y="419"/>
                      </a:cubicBezTo>
                      <a:cubicBezTo>
                        <a:pt x="39" y="388"/>
                        <a:pt x="79" y="245"/>
                        <a:pt x="94" y="174"/>
                      </a:cubicBezTo>
                      <a:cubicBezTo>
                        <a:pt x="102" y="150"/>
                        <a:pt x="110" y="135"/>
                        <a:pt x="110" y="127"/>
                      </a:cubicBezTo>
                      <a:cubicBezTo>
                        <a:pt x="118" y="103"/>
                        <a:pt x="142" y="40"/>
                        <a:pt x="166" y="40"/>
                      </a:cubicBezTo>
                      <a:cubicBezTo>
                        <a:pt x="173" y="40"/>
                        <a:pt x="173" y="40"/>
                        <a:pt x="173" y="40"/>
                      </a:cubicBezTo>
                      <a:cubicBezTo>
                        <a:pt x="189" y="48"/>
                        <a:pt x="197" y="64"/>
                        <a:pt x="205" y="79"/>
                      </a:cubicBezTo>
                      <a:cubicBezTo>
                        <a:pt x="221" y="103"/>
                        <a:pt x="229" y="127"/>
                        <a:pt x="253" y="135"/>
                      </a:cubicBezTo>
                      <a:cubicBezTo>
                        <a:pt x="253" y="135"/>
                        <a:pt x="253" y="135"/>
                        <a:pt x="260" y="135"/>
                      </a:cubicBezTo>
                      <a:cubicBezTo>
                        <a:pt x="292" y="135"/>
                        <a:pt x="403" y="64"/>
                        <a:pt x="411" y="40"/>
                      </a:cubicBezTo>
                      <a:cubicBezTo>
                        <a:pt x="411" y="40"/>
                        <a:pt x="419" y="40"/>
                        <a:pt x="419" y="32"/>
                      </a:cubicBezTo>
                      <a:cubicBezTo>
                        <a:pt x="426" y="16"/>
                        <a:pt x="434" y="0"/>
                        <a:pt x="450" y="0"/>
                      </a:cubicBezTo>
                      <a:cubicBezTo>
                        <a:pt x="458" y="0"/>
                        <a:pt x="474" y="8"/>
                        <a:pt x="482" y="8"/>
                      </a:cubicBezTo>
                      <a:cubicBezTo>
                        <a:pt x="529" y="32"/>
                        <a:pt x="632" y="103"/>
                        <a:pt x="656" y="166"/>
                      </a:cubicBezTo>
                      <a:cubicBezTo>
                        <a:pt x="671" y="222"/>
                        <a:pt x="814" y="625"/>
                        <a:pt x="822" y="633"/>
                      </a:cubicBezTo>
                      <a:cubicBezTo>
                        <a:pt x="822" y="633"/>
                        <a:pt x="830" y="688"/>
                        <a:pt x="861" y="712"/>
                      </a:cubicBezTo>
                      <a:cubicBezTo>
                        <a:pt x="869" y="712"/>
                        <a:pt x="877" y="720"/>
                        <a:pt x="885" y="720"/>
                      </a:cubicBezTo>
                      <a:cubicBezTo>
                        <a:pt x="893" y="720"/>
                        <a:pt x="909" y="712"/>
                        <a:pt x="917" y="712"/>
                      </a:cubicBezTo>
                      <a:cubicBezTo>
                        <a:pt x="932" y="704"/>
                        <a:pt x="940" y="704"/>
                        <a:pt x="948" y="704"/>
                      </a:cubicBezTo>
                      <a:cubicBezTo>
                        <a:pt x="964" y="704"/>
                        <a:pt x="972" y="704"/>
                        <a:pt x="972" y="712"/>
                      </a:cubicBezTo>
                      <a:cubicBezTo>
                        <a:pt x="988" y="736"/>
                        <a:pt x="988" y="759"/>
                        <a:pt x="988" y="783"/>
                      </a:cubicBezTo>
                      <a:cubicBezTo>
                        <a:pt x="988" y="807"/>
                        <a:pt x="988" y="823"/>
                        <a:pt x="996" y="838"/>
                      </a:cubicBezTo>
                      <a:cubicBezTo>
                        <a:pt x="996" y="838"/>
                        <a:pt x="996" y="838"/>
                        <a:pt x="1003" y="846"/>
                      </a:cubicBezTo>
                      <a:cubicBezTo>
                        <a:pt x="1019" y="862"/>
                        <a:pt x="1067" y="917"/>
                        <a:pt x="1083" y="917"/>
                      </a:cubicBezTo>
                      <a:cubicBezTo>
                        <a:pt x="1090" y="917"/>
                        <a:pt x="1106" y="894"/>
                        <a:pt x="1122" y="886"/>
                      </a:cubicBezTo>
                      <a:cubicBezTo>
                        <a:pt x="1138" y="862"/>
                        <a:pt x="1138" y="862"/>
                        <a:pt x="1138" y="862"/>
                      </a:cubicBezTo>
                      <a:cubicBezTo>
                        <a:pt x="1122" y="894"/>
                        <a:pt x="1122" y="894"/>
                        <a:pt x="1122" y="894"/>
                      </a:cubicBezTo>
                      <a:lnTo>
                        <a:pt x="1122" y="894"/>
                      </a:lnTo>
                      <a:cubicBezTo>
                        <a:pt x="1130" y="894"/>
                        <a:pt x="1146" y="909"/>
                        <a:pt x="1154" y="909"/>
                      </a:cubicBezTo>
                      <a:cubicBezTo>
                        <a:pt x="1162" y="917"/>
                        <a:pt x="1170" y="917"/>
                        <a:pt x="1170" y="925"/>
                      </a:cubicBezTo>
                      <a:cubicBezTo>
                        <a:pt x="1170" y="933"/>
                        <a:pt x="1162" y="949"/>
                        <a:pt x="1154" y="973"/>
                      </a:cubicBezTo>
                      <a:cubicBezTo>
                        <a:pt x="1154" y="981"/>
                        <a:pt x="1154" y="981"/>
                        <a:pt x="1154" y="981"/>
                      </a:cubicBezTo>
                      <a:cubicBezTo>
                        <a:pt x="1146" y="989"/>
                        <a:pt x="1146" y="996"/>
                        <a:pt x="1146" y="996"/>
                      </a:cubicBezTo>
                      <a:cubicBezTo>
                        <a:pt x="1146" y="1004"/>
                        <a:pt x="1154" y="1004"/>
                        <a:pt x="1170" y="1004"/>
                      </a:cubicBezTo>
                      <a:cubicBezTo>
                        <a:pt x="1177" y="1004"/>
                        <a:pt x="1185" y="1004"/>
                        <a:pt x="1193" y="1004"/>
                      </a:cubicBezTo>
                      <a:cubicBezTo>
                        <a:pt x="1209" y="1004"/>
                        <a:pt x="1217" y="1012"/>
                        <a:pt x="1217" y="1020"/>
                      </a:cubicBezTo>
                      <a:cubicBezTo>
                        <a:pt x="1225" y="1044"/>
                        <a:pt x="1217" y="1067"/>
                        <a:pt x="1193" y="1091"/>
                      </a:cubicBezTo>
                      <a:cubicBezTo>
                        <a:pt x="1162" y="1115"/>
                        <a:pt x="1162" y="1115"/>
                        <a:pt x="1130" y="1123"/>
                      </a:cubicBezTo>
                      <a:lnTo>
                        <a:pt x="1130" y="1123"/>
                      </a:lnTo>
                      <a:cubicBezTo>
                        <a:pt x="1114" y="1123"/>
                        <a:pt x="1114" y="1131"/>
                        <a:pt x="1106" y="1139"/>
                      </a:cubicBezTo>
                      <a:cubicBezTo>
                        <a:pt x="1106" y="1154"/>
                        <a:pt x="1106" y="1162"/>
                        <a:pt x="1090" y="1178"/>
                      </a:cubicBezTo>
                      <a:cubicBezTo>
                        <a:pt x="1067" y="1202"/>
                        <a:pt x="1067" y="1202"/>
                        <a:pt x="1067" y="1210"/>
                      </a:cubicBezTo>
                      <a:cubicBezTo>
                        <a:pt x="1067" y="1210"/>
                        <a:pt x="1059" y="1218"/>
                        <a:pt x="1059" y="1226"/>
                      </a:cubicBezTo>
                      <a:cubicBezTo>
                        <a:pt x="1059" y="1234"/>
                        <a:pt x="1051" y="1241"/>
                        <a:pt x="1043" y="1241"/>
                      </a:cubicBezTo>
                      <a:cubicBezTo>
                        <a:pt x="1035" y="1241"/>
                        <a:pt x="1027" y="1234"/>
                        <a:pt x="1019" y="1226"/>
                      </a:cubicBezTo>
                      <a:cubicBezTo>
                        <a:pt x="1011" y="1210"/>
                        <a:pt x="1003" y="1210"/>
                        <a:pt x="1003" y="1210"/>
                      </a:cubicBezTo>
                      <a:cubicBezTo>
                        <a:pt x="1003" y="1210"/>
                        <a:pt x="1003" y="1210"/>
                        <a:pt x="1003" y="1226"/>
                      </a:cubicBezTo>
                      <a:cubicBezTo>
                        <a:pt x="1003" y="1234"/>
                        <a:pt x="1003" y="1234"/>
                        <a:pt x="1003" y="1234"/>
                      </a:cubicBezTo>
                      <a:cubicBezTo>
                        <a:pt x="996" y="1257"/>
                        <a:pt x="996" y="1281"/>
                        <a:pt x="980" y="1281"/>
                      </a:cubicBezTo>
                      <a:lnTo>
                        <a:pt x="980" y="1281"/>
                      </a:lnTo>
                      <a:cubicBezTo>
                        <a:pt x="972" y="1281"/>
                        <a:pt x="964" y="1281"/>
                        <a:pt x="956" y="1320"/>
                      </a:cubicBezTo>
                      <a:cubicBezTo>
                        <a:pt x="956" y="1328"/>
                        <a:pt x="956" y="1344"/>
                        <a:pt x="940" y="1344"/>
                      </a:cubicBezTo>
                      <a:cubicBezTo>
                        <a:pt x="940" y="1344"/>
                        <a:pt x="932" y="1336"/>
                        <a:pt x="924" y="1328"/>
                      </a:cubicBezTo>
                      <a:cubicBezTo>
                        <a:pt x="917" y="1320"/>
                        <a:pt x="917" y="1320"/>
                        <a:pt x="909" y="1320"/>
                      </a:cubicBezTo>
                      <a:cubicBezTo>
                        <a:pt x="893" y="1305"/>
                        <a:pt x="893" y="1305"/>
                        <a:pt x="893" y="1297"/>
                      </a:cubicBezTo>
                      <a:cubicBezTo>
                        <a:pt x="901" y="1289"/>
                        <a:pt x="901" y="1289"/>
                        <a:pt x="893" y="1281"/>
                      </a:cubicBezTo>
                      <a:cubicBezTo>
                        <a:pt x="885" y="1273"/>
                        <a:pt x="885" y="1273"/>
                        <a:pt x="877" y="1273"/>
                      </a:cubicBezTo>
                      <a:cubicBezTo>
                        <a:pt x="869" y="1273"/>
                        <a:pt x="861" y="1281"/>
                        <a:pt x="845" y="1289"/>
                      </a:cubicBezTo>
                      <a:lnTo>
                        <a:pt x="837" y="1297"/>
                      </a:lnTo>
                      <a:cubicBezTo>
                        <a:pt x="830" y="1305"/>
                        <a:pt x="822" y="1305"/>
                        <a:pt x="822" y="1313"/>
                      </a:cubicBezTo>
                      <a:cubicBezTo>
                        <a:pt x="830" y="1313"/>
                        <a:pt x="837" y="1313"/>
                        <a:pt x="837" y="1305"/>
                      </a:cubicBezTo>
                      <a:cubicBezTo>
                        <a:pt x="845" y="1297"/>
                        <a:pt x="869" y="1297"/>
                        <a:pt x="901" y="1320"/>
                      </a:cubicBezTo>
                      <a:cubicBezTo>
                        <a:pt x="909" y="1320"/>
                        <a:pt x="909" y="1328"/>
                        <a:pt x="909" y="1336"/>
                      </a:cubicBezTo>
                      <a:cubicBezTo>
                        <a:pt x="909" y="1344"/>
                        <a:pt x="909" y="1352"/>
                        <a:pt x="893" y="1368"/>
                      </a:cubicBezTo>
                      <a:cubicBezTo>
                        <a:pt x="877" y="1392"/>
                        <a:pt x="869" y="1400"/>
                        <a:pt x="861" y="1400"/>
                      </a:cubicBezTo>
                      <a:cubicBezTo>
                        <a:pt x="861" y="1400"/>
                        <a:pt x="853" y="1407"/>
                        <a:pt x="837" y="1407"/>
                      </a:cubicBezTo>
                      <a:cubicBezTo>
                        <a:pt x="830" y="1407"/>
                        <a:pt x="822" y="1400"/>
                        <a:pt x="822" y="1392"/>
                      </a:cubicBezTo>
                      <a:lnTo>
                        <a:pt x="822" y="1384"/>
                      </a:lnTo>
                      <a:cubicBezTo>
                        <a:pt x="814" y="1368"/>
                        <a:pt x="814" y="1368"/>
                        <a:pt x="806" y="1368"/>
                      </a:cubicBezTo>
                      <a:cubicBezTo>
                        <a:pt x="806" y="1368"/>
                        <a:pt x="806" y="1368"/>
                        <a:pt x="798" y="1368"/>
                      </a:cubicBezTo>
                      <a:cubicBezTo>
                        <a:pt x="798" y="1368"/>
                        <a:pt x="790" y="1368"/>
                        <a:pt x="790" y="1376"/>
                      </a:cubicBezTo>
                      <a:cubicBezTo>
                        <a:pt x="790" y="1384"/>
                        <a:pt x="806" y="1400"/>
                        <a:pt x="814" y="1415"/>
                      </a:cubicBezTo>
                      <a:cubicBezTo>
                        <a:pt x="814" y="1415"/>
                        <a:pt x="822" y="1415"/>
                        <a:pt x="822" y="1423"/>
                      </a:cubicBezTo>
                      <a:cubicBezTo>
                        <a:pt x="830" y="1431"/>
                        <a:pt x="830" y="1431"/>
                        <a:pt x="822" y="1439"/>
                      </a:cubicBezTo>
                      <a:cubicBezTo>
                        <a:pt x="822" y="1439"/>
                        <a:pt x="814" y="1447"/>
                        <a:pt x="806" y="1447"/>
                      </a:cubicBezTo>
                      <a:cubicBezTo>
                        <a:pt x="798" y="1447"/>
                        <a:pt x="782" y="1439"/>
                        <a:pt x="774" y="1439"/>
                      </a:cubicBezTo>
                      <a:cubicBezTo>
                        <a:pt x="759" y="1431"/>
                        <a:pt x="759" y="1431"/>
                        <a:pt x="750" y="1431"/>
                      </a:cubicBezTo>
                      <a:lnTo>
                        <a:pt x="750" y="1431"/>
                      </a:lnTo>
                      <a:cubicBezTo>
                        <a:pt x="743" y="1431"/>
                        <a:pt x="743" y="1431"/>
                        <a:pt x="743" y="1431"/>
                      </a:cubicBezTo>
                      <a:cubicBezTo>
                        <a:pt x="743" y="1431"/>
                        <a:pt x="743" y="1431"/>
                        <a:pt x="735" y="1431"/>
                      </a:cubicBezTo>
                      <a:cubicBezTo>
                        <a:pt x="719" y="1431"/>
                        <a:pt x="711" y="1415"/>
                        <a:pt x="703" y="1392"/>
                      </a:cubicBezTo>
                      <a:lnTo>
                        <a:pt x="703" y="1392"/>
                      </a:lnTo>
                      <a:cubicBezTo>
                        <a:pt x="703" y="1392"/>
                        <a:pt x="703" y="1384"/>
                        <a:pt x="695" y="1384"/>
                      </a:cubicBezTo>
                      <a:cubicBezTo>
                        <a:pt x="695" y="1376"/>
                        <a:pt x="695" y="1368"/>
                        <a:pt x="687" y="1360"/>
                      </a:cubicBezTo>
                      <a:cubicBezTo>
                        <a:pt x="687" y="1368"/>
                        <a:pt x="687" y="1368"/>
                        <a:pt x="687" y="1376"/>
                      </a:cubicBezTo>
                      <a:cubicBezTo>
                        <a:pt x="687" y="1392"/>
                        <a:pt x="679" y="1407"/>
                        <a:pt x="679" y="1407"/>
                      </a:cubicBezTo>
                      <a:cubicBezTo>
                        <a:pt x="671" y="1415"/>
                        <a:pt x="671" y="1423"/>
                        <a:pt x="671" y="1431"/>
                      </a:cubicBezTo>
                      <a:cubicBezTo>
                        <a:pt x="671" y="1439"/>
                        <a:pt x="671" y="1439"/>
                        <a:pt x="671" y="1439"/>
                      </a:cubicBezTo>
                      <a:cubicBezTo>
                        <a:pt x="664" y="1439"/>
                        <a:pt x="664" y="1439"/>
                        <a:pt x="664" y="1439"/>
                      </a:cubicBezTo>
                      <a:lnTo>
                        <a:pt x="664" y="1439"/>
                      </a:lnTo>
                      <a:cubicBezTo>
                        <a:pt x="664" y="1439"/>
                        <a:pt x="656" y="1439"/>
                        <a:pt x="648" y="1455"/>
                      </a:cubicBezTo>
                      <a:cubicBezTo>
                        <a:pt x="624" y="1494"/>
                        <a:pt x="640" y="1550"/>
                        <a:pt x="648" y="1581"/>
                      </a:cubicBezTo>
                      <a:cubicBezTo>
                        <a:pt x="648" y="1589"/>
                        <a:pt x="656" y="1597"/>
                        <a:pt x="656" y="1605"/>
                      </a:cubicBezTo>
                      <a:cubicBezTo>
                        <a:pt x="656" y="1621"/>
                        <a:pt x="656" y="1629"/>
                        <a:pt x="632" y="1637"/>
                      </a:cubicBezTo>
                      <a:cubicBezTo>
                        <a:pt x="624" y="1637"/>
                        <a:pt x="624" y="1637"/>
                        <a:pt x="616" y="1645"/>
                      </a:cubicBezTo>
                      <a:cubicBezTo>
                        <a:pt x="608" y="1645"/>
                        <a:pt x="600" y="1645"/>
                        <a:pt x="600" y="1645"/>
                      </a:cubicBezTo>
                      <a:cubicBezTo>
                        <a:pt x="584" y="1645"/>
                        <a:pt x="584" y="1645"/>
                        <a:pt x="577" y="1637"/>
                      </a:cubicBezTo>
                      <a:cubicBezTo>
                        <a:pt x="569" y="1637"/>
                        <a:pt x="561" y="1637"/>
                        <a:pt x="553" y="1637"/>
                      </a:cubicBezTo>
                      <a:cubicBezTo>
                        <a:pt x="545" y="1637"/>
                        <a:pt x="545" y="1637"/>
                        <a:pt x="537" y="1637"/>
                      </a:cubicBezTo>
                      <a:cubicBezTo>
                        <a:pt x="537" y="1645"/>
                        <a:pt x="545" y="1653"/>
                        <a:pt x="545" y="1660"/>
                      </a:cubicBezTo>
                      <a:lnTo>
                        <a:pt x="545" y="1668"/>
                      </a:lnTo>
                      <a:cubicBezTo>
                        <a:pt x="553" y="1700"/>
                        <a:pt x="553" y="1708"/>
                        <a:pt x="545" y="1716"/>
                      </a:cubicBezTo>
                      <a:cubicBezTo>
                        <a:pt x="537" y="1716"/>
                        <a:pt x="537" y="1716"/>
                        <a:pt x="537" y="1716"/>
                      </a:cubicBezTo>
                      <a:cubicBezTo>
                        <a:pt x="529" y="1724"/>
                        <a:pt x="529" y="1724"/>
                        <a:pt x="521" y="1724"/>
                      </a:cubicBezTo>
                      <a:cubicBezTo>
                        <a:pt x="513" y="1724"/>
                        <a:pt x="506" y="1708"/>
                        <a:pt x="490" y="1692"/>
                      </a:cubicBezTo>
                      <a:cubicBezTo>
                        <a:pt x="490" y="1684"/>
                        <a:pt x="490" y="1684"/>
                        <a:pt x="482" y="1684"/>
                      </a:cubicBezTo>
                      <a:lnTo>
                        <a:pt x="482" y="1684"/>
                      </a:lnTo>
                      <a:cubicBezTo>
                        <a:pt x="474" y="1692"/>
                        <a:pt x="474" y="1708"/>
                        <a:pt x="482" y="1716"/>
                      </a:cubicBezTo>
                      <a:cubicBezTo>
                        <a:pt x="482" y="1740"/>
                        <a:pt x="482" y="1740"/>
                        <a:pt x="474" y="1747"/>
                      </a:cubicBezTo>
                      <a:cubicBezTo>
                        <a:pt x="474" y="1747"/>
                        <a:pt x="466" y="1747"/>
                        <a:pt x="466" y="1755"/>
                      </a:cubicBezTo>
                      <a:cubicBezTo>
                        <a:pt x="466" y="1763"/>
                        <a:pt x="466" y="1763"/>
                        <a:pt x="474" y="1771"/>
                      </a:cubicBezTo>
                      <a:cubicBezTo>
                        <a:pt x="474" y="1779"/>
                        <a:pt x="482" y="1787"/>
                        <a:pt x="474" y="1803"/>
                      </a:cubicBezTo>
                      <a:cubicBezTo>
                        <a:pt x="474" y="1803"/>
                        <a:pt x="474" y="1811"/>
                        <a:pt x="466" y="1811"/>
                      </a:cubicBezTo>
                      <a:close/>
                      <a:moveTo>
                        <a:pt x="434" y="1763"/>
                      </a:moveTo>
                      <a:lnTo>
                        <a:pt x="434" y="1763"/>
                      </a:lnTo>
                      <a:cubicBezTo>
                        <a:pt x="442" y="1763"/>
                        <a:pt x="458" y="1779"/>
                        <a:pt x="458" y="1787"/>
                      </a:cubicBezTo>
                      <a:cubicBezTo>
                        <a:pt x="466" y="1795"/>
                        <a:pt x="466" y="1795"/>
                        <a:pt x="466" y="1803"/>
                      </a:cubicBezTo>
                      <a:cubicBezTo>
                        <a:pt x="466" y="1795"/>
                        <a:pt x="466" y="1795"/>
                        <a:pt x="466" y="1795"/>
                      </a:cubicBezTo>
                      <a:cubicBezTo>
                        <a:pt x="474" y="1787"/>
                        <a:pt x="466" y="1779"/>
                        <a:pt x="466" y="1771"/>
                      </a:cubicBezTo>
                      <a:cubicBezTo>
                        <a:pt x="458" y="1771"/>
                        <a:pt x="458" y="1763"/>
                        <a:pt x="458" y="1755"/>
                      </a:cubicBezTo>
                      <a:cubicBezTo>
                        <a:pt x="466" y="1747"/>
                        <a:pt x="466" y="1740"/>
                        <a:pt x="474" y="1740"/>
                      </a:cubicBezTo>
                      <a:cubicBezTo>
                        <a:pt x="474" y="1740"/>
                        <a:pt x="474" y="1731"/>
                        <a:pt x="474" y="1724"/>
                      </a:cubicBezTo>
                      <a:cubicBezTo>
                        <a:pt x="466" y="1708"/>
                        <a:pt x="466" y="1692"/>
                        <a:pt x="474" y="1684"/>
                      </a:cubicBezTo>
                      <a:cubicBezTo>
                        <a:pt x="482" y="1676"/>
                        <a:pt x="482" y="1676"/>
                        <a:pt x="482" y="1676"/>
                      </a:cubicBezTo>
                      <a:cubicBezTo>
                        <a:pt x="490" y="1676"/>
                        <a:pt x="497" y="1676"/>
                        <a:pt x="497" y="1684"/>
                      </a:cubicBezTo>
                      <a:cubicBezTo>
                        <a:pt x="506" y="1700"/>
                        <a:pt x="521" y="1716"/>
                        <a:pt x="521" y="1716"/>
                      </a:cubicBezTo>
                      <a:cubicBezTo>
                        <a:pt x="529" y="1716"/>
                        <a:pt x="529" y="1716"/>
                        <a:pt x="529" y="1716"/>
                      </a:cubicBezTo>
                      <a:cubicBezTo>
                        <a:pt x="529" y="1708"/>
                        <a:pt x="537" y="1708"/>
                        <a:pt x="537" y="1708"/>
                      </a:cubicBezTo>
                      <a:cubicBezTo>
                        <a:pt x="545" y="1700"/>
                        <a:pt x="545" y="1700"/>
                        <a:pt x="545" y="1676"/>
                      </a:cubicBezTo>
                      <a:cubicBezTo>
                        <a:pt x="537" y="1668"/>
                        <a:pt x="537" y="1668"/>
                        <a:pt x="537" y="1660"/>
                      </a:cubicBezTo>
                      <a:cubicBezTo>
                        <a:pt x="537" y="1645"/>
                        <a:pt x="529" y="1637"/>
                        <a:pt x="537" y="1637"/>
                      </a:cubicBezTo>
                      <a:cubicBezTo>
                        <a:pt x="537" y="1629"/>
                        <a:pt x="545" y="1629"/>
                        <a:pt x="553" y="1629"/>
                      </a:cubicBezTo>
                      <a:cubicBezTo>
                        <a:pt x="561" y="1629"/>
                        <a:pt x="569" y="1629"/>
                        <a:pt x="577" y="1637"/>
                      </a:cubicBezTo>
                      <a:cubicBezTo>
                        <a:pt x="584" y="1637"/>
                        <a:pt x="592" y="1637"/>
                        <a:pt x="600" y="1637"/>
                      </a:cubicBezTo>
                      <a:cubicBezTo>
                        <a:pt x="600" y="1637"/>
                        <a:pt x="608" y="1637"/>
                        <a:pt x="616" y="1637"/>
                      </a:cubicBezTo>
                      <a:lnTo>
                        <a:pt x="624" y="1629"/>
                      </a:lnTo>
                      <a:cubicBezTo>
                        <a:pt x="648" y="1621"/>
                        <a:pt x="648" y="1621"/>
                        <a:pt x="648" y="1605"/>
                      </a:cubicBezTo>
                      <a:cubicBezTo>
                        <a:pt x="648" y="1597"/>
                        <a:pt x="640" y="1589"/>
                        <a:pt x="640" y="1589"/>
                      </a:cubicBezTo>
                      <a:cubicBezTo>
                        <a:pt x="632" y="1558"/>
                        <a:pt x="616" y="1494"/>
                        <a:pt x="640" y="1455"/>
                      </a:cubicBezTo>
                      <a:cubicBezTo>
                        <a:pt x="648" y="1439"/>
                        <a:pt x="656" y="1431"/>
                        <a:pt x="664" y="1431"/>
                      </a:cubicBezTo>
                      <a:lnTo>
                        <a:pt x="664" y="1431"/>
                      </a:lnTo>
                      <a:cubicBezTo>
                        <a:pt x="664" y="1415"/>
                        <a:pt x="664" y="1415"/>
                        <a:pt x="671" y="1407"/>
                      </a:cubicBezTo>
                      <a:cubicBezTo>
                        <a:pt x="671" y="1400"/>
                        <a:pt x="679" y="1392"/>
                        <a:pt x="679" y="1376"/>
                      </a:cubicBezTo>
                      <a:cubicBezTo>
                        <a:pt x="679" y="1360"/>
                        <a:pt x="679" y="1352"/>
                        <a:pt x="687" y="1352"/>
                      </a:cubicBezTo>
                      <a:cubicBezTo>
                        <a:pt x="695" y="1352"/>
                        <a:pt x="695" y="1360"/>
                        <a:pt x="703" y="1384"/>
                      </a:cubicBezTo>
                      <a:cubicBezTo>
                        <a:pt x="711" y="1384"/>
                        <a:pt x="711" y="1392"/>
                        <a:pt x="711" y="1392"/>
                      </a:cubicBezTo>
                      <a:lnTo>
                        <a:pt x="711" y="1392"/>
                      </a:lnTo>
                      <a:cubicBezTo>
                        <a:pt x="719" y="1407"/>
                        <a:pt x="727" y="1423"/>
                        <a:pt x="735" y="1423"/>
                      </a:cubicBezTo>
                      <a:cubicBezTo>
                        <a:pt x="743" y="1423"/>
                        <a:pt x="743" y="1423"/>
                        <a:pt x="743" y="1423"/>
                      </a:cubicBezTo>
                      <a:lnTo>
                        <a:pt x="743" y="1423"/>
                      </a:lnTo>
                      <a:cubicBezTo>
                        <a:pt x="750" y="1423"/>
                        <a:pt x="750" y="1423"/>
                        <a:pt x="759" y="1423"/>
                      </a:cubicBezTo>
                      <a:lnTo>
                        <a:pt x="759" y="1423"/>
                      </a:lnTo>
                      <a:cubicBezTo>
                        <a:pt x="759" y="1423"/>
                        <a:pt x="766" y="1431"/>
                        <a:pt x="774" y="1431"/>
                      </a:cubicBezTo>
                      <a:cubicBezTo>
                        <a:pt x="782" y="1439"/>
                        <a:pt x="798" y="1439"/>
                        <a:pt x="806" y="1439"/>
                      </a:cubicBezTo>
                      <a:cubicBezTo>
                        <a:pt x="814" y="1439"/>
                        <a:pt x="822" y="1439"/>
                        <a:pt x="822" y="1431"/>
                      </a:cubicBezTo>
                      <a:cubicBezTo>
                        <a:pt x="822" y="1431"/>
                        <a:pt x="822" y="1431"/>
                        <a:pt x="814" y="1423"/>
                      </a:cubicBezTo>
                      <a:cubicBezTo>
                        <a:pt x="814" y="1423"/>
                        <a:pt x="814" y="1415"/>
                        <a:pt x="806" y="1415"/>
                      </a:cubicBezTo>
                      <a:cubicBezTo>
                        <a:pt x="798" y="1400"/>
                        <a:pt x="782" y="1384"/>
                        <a:pt x="790" y="1376"/>
                      </a:cubicBezTo>
                      <a:cubicBezTo>
                        <a:pt x="790" y="1368"/>
                        <a:pt x="790" y="1360"/>
                        <a:pt x="798" y="1360"/>
                      </a:cubicBezTo>
                      <a:lnTo>
                        <a:pt x="806" y="1360"/>
                      </a:lnTo>
                      <a:cubicBezTo>
                        <a:pt x="822" y="1360"/>
                        <a:pt x="822" y="1368"/>
                        <a:pt x="830" y="1384"/>
                      </a:cubicBezTo>
                      <a:lnTo>
                        <a:pt x="830" y="1392"/>
                      </a:lnTo>
                      <a:cubicBezTo>
                        <a:pt x="830" y="1400"/>
                        <a:pt x="837" y="1400"/>
                        <a:pt x="837" y="1400"/>
                      </a:cubicBezTo>
                      <a:cubicBezTo>
                        <a:pt x="845" y="1400"/>
                        <a:pt x="861" y="1392"/>
                        <a:pt x="861" y="1392"/>
                      </a:cubicBezTo>
                      <a:lnTo>
                        <a:pt x="861" y="1392"/>
                      </a:lnTo>
                      <a:cubicBezTo>
                        <a:pt x="861" y="1392"/>
                        <a:pt x="869" y="1392"/>
                        <a:pt x="885" y="1368"/>
                      </a:cubicBezTo>
                      <a:cubicBezTo>
                        <a:pt x="901" y="1352"/>
                        <a:pt x="901" y="1344"/>
                        <a:pt x="901" y="1336"/>
                      </a:cubicBezTo>
                      <a:cubicBezTo>
                        <a:pt x="901" y="1328"/>
                        <a:pt x="901" y="1328"/>
                        <a:pt x="893" y="1328"/>
                      </a:cubicBezTo>
                      <a:cubicBezTo>
                        <a:pt x="877" y="1313"/>
                        <a:pt x="861" y="1305"/>
                        <a:pt x="853" y="1305"/>
                      </a:cubicBezTo>
                      <a:cubicBezTo>
                        <a:pt x="853" y="1305"/>
                        <a:pt x="845" y="1305"/>
                        <a:pt x="845" y="1313"/>
                      </a:cubicBezTo>
                      <a:cubicBezTo>
                        <a:pt x="845" y="1313"/>
                        <a:pt x="837" y="1320"/>
                        <a:pt x="830" y="1320"/>
                      </a:cubicBezTo>
                      <a:cubicBezTo>
                        <a:pt x="822" y="1320"/>
                        <a:pt x="822" y="1313"/>
                        <a:pt x="822" y="1313"/>
                      </a:cubicBezTo>
                      <a:cubicBezTo>
                        <a:pt x="814" y="1305"/>
                        <a:pt x="814" y="1305"/>
                        <a:pt x="830" y="1289"/>
                      </a:cubicBezTo>
                      <a:cubicBezTo>
                        <a:pt x="837" y="1289"/>
                        <a:pt x="837" y="1289"/>
                        <a:pt x="837" y="1281"/>
                      </a:cubicBezTo>
                      <a:cubicBezTo>
                        <a:pt x="853" y="1273"/>
                        <a:pt x="869" y="1265"/>
                        <a:pt x="877" y="1265"/>
                      </a:cubicBezTo>
                      <a:cubicBezTo>
                        <a:pt x="885" y="1265"/>
                        <a:pt x="893" y="1265"/>
                        <a:pt x="901" y="1273"/>
                      </a:cubicBezTo>
                      <a:cubicBezTo>
                        <a:pt x="909" y="1281"/>
                        <a:pt x="901" y="1289"/>
                        <a:pt x="901" y="1297"/>
                      </a:cubicBezTo>
                      <a:cubicBezTo>
                        <a:pt x="901" y="1297"/>
                        <a:pt x="901" y="1305"/>
                        <a:pt x="917" y="1313"/>
                      </a:cubicBezTo>
                      <a:lnTo>
                        <a:pt x="924" y="1320"/>
                      </a:lnTo>
                      <a:cubicBezTo>
                        <a:pt x="932" y="1328"/>
                        <a:pt x="940" y="1336"/>
                        <a:pt x="940" y="1336"/>
                      </a:cubicBezTo>
                      <a:cubicBezTo>
                        <a:pt x="948" y="1336"/>
                        <a:pt x="948" y="1328"/>
                        <a:pt x="948" y="1313"/>
                      </a:cubicBezTo>
                      <a:cubicBezTo>
                        <a:pt x="956" y="1281"/>
                        <a:pt x="964" y="1273"/>
                        <a:pt x="980" y="1273"/>
                      </a:cubicBezTo>
                      <a:lnTo>
                        <a:pt x="980" y="1273"/>
                      </a:lnTo>
                      <a:cubicBezTo>
                        <a:pt x="988" y="1273"/>
                        <a:pt x="988" y="1249"/>
                        <a:pt x="996" y="1234"/>
                      </a:cubicBezTo>
                      <a:cubicBezTo>
                        <a:pt x="996" y="1226"/>
                        <a:pt x="996" y="1226"/>
                        <a:pt x="996" y="1226"/>
                      </a:cubicBezTo>
                      <a:cubicBezTo>
                        <a:pt x="996" y="1218"/>
                        <a:pt x="996" y="1202"/>
                        <a:pt x="1003" y="1202"/>
                      </a:cubicBezTo>
                      <a:cubicBezTo>
                        <a:pt x="1011" y="1202"/>
                        <a:pt x="1011" y="1210"/>
                        <a:pt x="1019" y="1218"/>
                      </a:cubicBezTo>
                      <a:cubicBezTo>
                        <a:pt x="1027" y="1226"/>
                        <a:pt x="1035" y="1234"/>
                        <a:pt x="1043" y="1234"/>
                      </a:cubicBezTo>
                      <a:cubicBezTo>
                        <a:pt x="1043" y="1234"/>
                        <a:pt x="1051" y="1234"/>
                        <a:pt x="1051" y="1226"/>
                      </a:cubicBezTo>
                      <a:cubicBezTo>
                        <a:pt x="1059" y="1218"/>
                        <a:pt x="1059" y="1210"/>
                        <a:pt x="1059" y="1210"/>
                      </a:cubicBezTo>
                      <a:cubicBezTo>
                        <a:pt x="1059" y="1202"/>
                        <a:pt x="1059" y="1194"/>
                        <a:pt x="1083" y="1178"/>
                      </a:cubicBezTo>
                      <a:cubicBezTo>
                        <a:pt x="1098" y="1162"/>
                        <a:pt x="1098" y="1147"/>
                        <a:pt x="1106" y="1139"/>
                      </a:cubicBezTo>
                      <a:cubicBezTo>
                        <a:pt x="1106" y="1131"/>
                        <a:pt x="1106" y="1115"/>
                        <a:pt x="1130" y="1115"/>
                      </a:cubicBezTo>
                      <a:lnTo>
                        <a:pt x="1130" y="1115"/>
                      </a:lnTo>
                      <a:cubicBezTo>
                        <a:pt x="1162" y="1115"/>
                        <a:pt x="1162" y="1115"/>
                        <a:pt x="1193" y="1083"/>
                      </a:cubicBezTo>
                      <a:cubicBezTo>
                        <a:pt x="1209" y="1067"/>
                        <a:pt x="1217" y="1044"/>
                        <a:pt x="1209" y="1028"/>
                      </a:cubicBezTo>
                      <a:cubicBezTo>
                        <a:pt x="1209" y="1020"/>
                        <a:pt x="1201" y="1012"/>
                        <a:pt x="1193" y="1012"/>
                      </a:cubicBezTo>
                      <a:cubicBezTo>
                        <a:pt x="1185" y="1012"/>
                        <a:pt x="1177" y="1012"/>
                        <a:pt x="1170" y="1012"/>
                      </a:cubicBezTo>
                      <a:cubicBezTo>
                        <a:pt x="1154" y="1012"/>
                        <a:pt x="1146" y="1012"/>
                        <a:pt x="1138" y="1004"/>
                      </a:cubicBezTo>
                      <a:cubicBezTo>
                        <a:pt x="1138" y="996"/>
                        <a:pt x="1138" y="989"/>
                        <a:pt x="1146" y="973"/>
                      </a:cubicBezTo>
                      <a:lnTo>
                        <a:pt x="1146" y="973"/>
                      </a:lnTo>
                      <a:cubicBezTo>
                        <a:pt x="1162" y="949"/>
                        <a:pt x="1170" y="933"/>
                        <a:pt x="1162" y="925"/>
                      </a:cubicBezTo>
                      <a:cubicBezTo>
                        <a:pt x="1162" y="925"/>
                        <a:pt x="1162" y="917"/>
                        <a:pt x="1154" y="917"/>
                      </a:cubicBezTo>
                      <a:cubicBezTo>
                        <a:pt x="1138" y="909"/>
                        <a:pt x="1122" y="901"/>
                        <a:pt x="1122" y="894"/>
                      </a:cubicBezTo>
                      <a:cubicBezTo>
                        <a:pt x="1114" y="909"/>
                        <a:pt x="1098" y="925"/>
                        <a:pt x="1083" y="925"/>
                      </a:cubicBezTo>
                      <a:lnTo>
                        <a:pt x="1083" y="925"/>
                      </a:lnTo>
                      <a:cubicBezTo>
                        <a:pt x="1067" y="925"/>
                        <a:pt x="1035" y="894"/>
                        <a:pt x="996" y="846"/>
                      </a:cubicBezTo>
                      <a:lnTo>
                        <a:pt x="988" y="838"/>
                      </a:lnTo>
                      <a:cubicBezTo>
                        <a:pt x="980" y="830"/>
                        <a:pt x="980" y="807"/>
                        <a:pt x="980" y="783"/>
                      </a:cubicBezTo>
                      <a:cubicBezTo>
                        <a:pt x="980" y="759"/>
                        <a:pt x="980" y="736"/>
                        <a:pt x="972" y="720"/>
                      </a:cubicBezTo>
                      <a:cubicBezTo>
                        <a:pt x="964" y="712"/>
                        <a:pt x="956" y="712"/>
                        <a:pt x="948" y="712"/>
                      </a:cubicBezTo>
                      <a:cubicBezTo>
                        <a:pt x="940" y="712"/>
                        <a:pt x="932" y="712"/>
                        <a:pt x="924" y="720"/>
                      </a:cubicBezTo>
                      <a:cubicBezTo>
                        <a:pt x="909" y="720"/>
                        <a:pt x="893" y="728"/>
                        <a:pt x="885" y="728"/>
                      </a:cubicBezTo>
                      <a:cubicBezTo>
                        <a:pt x="877" y="728"/>
                        <a:pt x="861" y="720"/>
                        <a:pt x="861" y="720"/>
                      </a:cubicBezTo>
                      <a:cubicBezTo>
                        <a:pt x="822" y="688"/>
                        <a:pt x="814" y="633"/>
                        <a:pt x="814" y="633"/>
                      </a:cubicBezTo>
                      <a:cubicBezTo>
                        <a:pt x="814" y="633"/>
                        <a:pt x="664" y="222"/>
                        <a:pt x="648" y="166"/>
                      </a:cubicBezTo>
                      <a:cubicBezTo>
                        <a:pt x="624" y="111"/>
                        <a:pt x="529" y="40"/>
                        <a:pt x="482" y="16"/>
                      </a:cubicBezTo>
                      <a:cubicBezTo>
                        <a:pt x="466" y="16"/>
                        <a:pt x="458" y="8"/>
                        <a:pt x="450" y="8"/>
                      </a:cubicBezTo>
                      <a:cubicBezTo>
                        <a:pt x="434" y="8"/>
                        <a:pt x="434" y="24"/>
                        <a:pt x="426" y="40"/>
                      </a:cubicBezTo>
                      <a:cubicBezTo>
                        <a:pt x="419" y="40"/>
                        <a:pt x="419" y="40"/>
                        <a:pt x="419" y="48"/>
                      </a:cubicBezTo>
                      <a:cubicBezTo>
                        <a:pt x="403" y="71"/>
                        <a:pt x="300" y="143"/>
                        <a:pt x="260" y="143"/>
                      </a:cubicBezTo>
                      <a:cubicBezTo>
                        <a:pt x="253" y="143"/>
                        <a:pt x="244" y="143"/>
                        <a:pt x="244" y="143"/>
                      </a:cubicBezTo>
                      <a:cubicBezTo>
                        <a:pt x="229" y="127"/>
                        <a:pt x="213" y="111"/>
                        <a:pt x="197" y="87"/>
                      </a:cubicBezTo>
                      <a:cubicBezTo>
                        <a:pt x="189" y="71"/>
                        <a:pt x="181" y="56"/>
                        <a:pt x="173" y="48"/>
                      </a:cubicBezTo>
                      <a:lnTo>
                        <a:pt x="166" y="48"/>
                      </a:lnTo>
                      <a:cubicBezTo>
                        <a:pt x="150" y="48"/>
                        <a:pt x="126" y="87"/>
                        <a:pt x="118" y="127"/>
                      </a:cubicBezTo>
                      <a:cubicBezTo>
                        <a:pt x="110" y="135"/>
                        <a:pt x="110" y="150"/>
                        <a:pt x="102" y="174"/>
                      </a:cubicBezTo>
                      <a:cubicBezTo>
                        <a:pt x="79" y="253"/>
                        <a:pt x="47" y="388"/>
                        <a:pt x="23" y="427"/>
                      </a:cubicBezTo>
                      <a:cubicBezTo>
                        <a:pt x="7" y="451"/>
                        <a:pt x="15" y="467"/>
                        <a:pt x="15" y="498"/>
                      </a:cubicBezTo>
                      <a:cubicBezTo>
                        <a:pt x="23" y="506"/>
                        <a:pt x="31" y="530"/>
                        <a:pt x="31" y="546"/>
                      </a:cubicBezTo>
                      <a:cubicBezTo>
                        <a:pt x="31" y="554"/>
                        <a:pt x="31" y="561"/>
                        <a:pt x="31" y="561"/>
                      </a:cubicBezTo>
                      <a:cubicBezTo>
                        <a:pt x="379" y="1747"/>
                        <a:pt x="379" y="1747"/>
                        <a:pt x="379" y="1747"/>
                      </a:cubicBezTo>
                      <a:cubicBezTo>
                        <a:pt x="379" y="1740"/>
                        <a:pt x="379" y="1740"/>
                        <a:pt x="387" y="1740"/>
                      </a:cubicBezTo>
                      <a:cubicBezTo>
                        <a:pt x="403" y="1747"/>
                        <a:pt x="403" y="1755"/>
                        <a:pt x="411" y="1771"/>
                      </a:cubicBezTo>
                      <a:lnTo>
                        <a:pt x="411" y="1779"/>
                      </a:lnTo>
                      <a:cubicBezTo>
                        <a:pt x="411" y="1779"/>
                        <a:pt x="411" y="1779"/>
                        <a:pt x="419" y="1771"/>
                      </a:cubicBezTo>
                      <a:cubicBezTo>
                        <a:pt x="426" y="1771"/>
                        <a:pt x="426" y="1763"/>
                        <a:pt x="434" y="17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4" name="Freeform 755">
                  <a:extLst>
                    <a:ext uri="{FF2B5EF4-FFF2-40B4-BE49-F238E27FC236}">
                      <a16:creationId xmlns:a16="http://schemas.microsoft.com/office/drawing/2014/main" id="{84A08CFB-B255-824C-BE80-BE98B017F3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673731" y="3665822"/>
                  <a:ext cx="278317" cy="890613"/>
                </a:xfrm>
                <a:custGeom>
                  <a:avLst/>
                  <a:gdLst>
                    <a:gd name="T0" fmla="*/ 340 w 531"/>
                    <a:gd name="T1" fmla="*/ 1534 h 1693"/>
                    <a:gd name="T2" fmla="*/ 340 w 531"/>
                    <a:gd name="T3" fmla="*/ 1534 h 1693"/>
                    <a:gd name="T4" fmla="*/ 364 w 531"/>
                    <a:gd name="T5" fmla="*/ 1692 h 1693"/>
                    <a:gd name="T6" fmla="*/ 380 w 531"/>
                    <a:gd name="T7" fmla="*/ 1676 h 1693"/>
                    <a:gd name="T8" fmla="*/ 419 w 531"/>
                    <a:gd name="T9" fmla="*/ 1613 h 1693"/>
                    <a:gd name="T10" fmla="*/ 435 w 531"/>
                    <a:gd name="T11" fmla="*/ 1510 h 1693"/>
                    <a:gd name="T12" fmla="*/ 490 w 531"/>
                    <a:gd name="T13" fmla="*/ 1376 h 1693"/>
                    <a:gd name="T14" fmla="*/ 490 w 531"/>
                    <a:gd name="T15" fmla="*/ 1321 h 1693"/>
                    <a:gd name="T16" fmla="*/ 490 w 531"/>
                    <a:gd name="T17" fmla="*/ 1257 h 1693"/>
                    <a:gd name="T18" fmla="*/ 530 w 531"/>
                    <a:gd name="T19" fmla="*/ 1186 h 1693"/>
                    <a:gd name="T20" fmla="*/ 182 w 531"/>
                    <a:gd name="T21" fmla="*/ 0 h 1693"/>
                    <a:gd name="T22" fmla="*/ 127 w 531"/>
                    <a:gd name="T23" fmla="*/ 103 h 1693"/>
                    <a:gd name="T24" fmla="*/ 159 w 531"/>
                    <a:gd name="T25" fmla="*/ 167 h 1693"/>
                    <a:gd name="T26" fmla="*/ 159 w 531"/>
                    <a:gd name="T27" fmla="*/ 238 h 1693"/>
                    <a:gd name="T28" fmla="*/ 190 w 531"/>
                    <a:gd name="T29" fmla="*/ 325 h 1693"/>
                    <a:gd name="T30" fmla="*/ 127 w 531"/>
                    <a:gd name="T31" fmla="*/ 412 h 1693"/>
                    <a:gd name="T32" fmla="*/ 103 w 531"/>
                    <a:gd name="T33" fmla="*/ 530 h 1693"/>
                    <a:gd name="T34" fmla="*/ 79 w 531"/>
                    <a:gd name="T35" fmla="*/ 578 h 1693"/>
                    <a:gd name="T36" fmla="*/ 48 w 531"/>
                    <a:gd name="T37" fmla="*/ 617 h 1693"/>
                    <a:gd name="T38" fmla="*/ 24 w 531"/>
                    <a:gd name="T39" fmla="*/ 609 h 1693"/>
                    <a:gd name="T40" fmla="*/ 0 w 531"/>
                    <a:gd name="T41" fmla="*/ 657 h 1693"/>
                    <a:gd name="T42" fmla="*/ 261 w 531"/>
                    <a:gd name="T43" fmla="*/ 1447 h 1693"/>
                    <a:gd name="T44" fmla="*/ 340 w 531"/>
                    <a:gd name="T45" fmla="*/ 1534 h 16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31" h="1693">
                      <a:moveTo>
                        <a:pt x="340" y="1534"/>
                      </a:moveTo>
                      <a:lnTo>
                        <a:pt x="340" y="1534"/>
                      </a:lnTo>
                      <a:cubicBezTo>
                        <a:pt x="364" y="1542"/>
                        <a:pt x="340" y="1653"/>
                        <a:pt x="364" y="1692"/>
                      </a:cubicBezTo>
                      <a:cubicBezTo>
                        <a:pt x="364" y="1684"/>
                        <a:pt x="372" y="1684"/>
                        <a:pt x="380" y="1676"/>
                      </a:cubicBezTo>
                      <a:cubicBezTo>
                        <a:pt x="419" y="1645"/>
                        <a:pt x="419" y="1653"/>
                        <a:pt x="419" y="1613"/>
                      </a:cubicBezTo>
                      <a:cubicBezTo>
                        <a:pt x="419" y="1574"/>
                        <a:pt x="451" y="1542"/>
                        <a:pt x="435" y="1510"/>
                      </a:cubicBezTo>
                      <a:cubicBezTo>
                        <a:pt x="419" y="1479"/>
                        <a:pt x="514" y="1392"/>
                        <a:pt x="490" y="1376"/>
                      </a:cubicBezTo>
                      <a:cubicBezTo>
                        <a:pt x="467" y="1360"/>
                        <a:pt x="498" y="1368"/>
                        <a:pt x="490" y="1321"/>
                      </a:cubicBezTo>
                      <a:cubicBezTo>
                        <a:pt x="475" y="1273"/>
                        <a:pt x="459" y="1273"/>
                        <a:pt x="490" y="1257"/>
                      </a:cubicBezTo>
                      <a:cubicBezTo>
                        <a:pt x="506" y="1234"/>
                        <a:pt x="514" y="1194"/>
                        <a:pt x="530" y="1186"/>
                      </a:cubicBez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82" y="48"/>
                        <a:pt x="143" y="72"/>
                        <a:pt x="127" y="103"/>
                      </a:cubicBezTo>
                      <a:cubicBezTo>
                        <a:pt x="111" y="135"/>
                        <a:pt x="159" y="143"/>
                        <a:pt x="159" y="167"/>
                      </a:cubicBezTo>
                      <a:cubicBezTo>
                        <a:pt x="166" y="182"/>
                        <a:pt x="103" y="190"/>
                        <a:pt x="159" y="238"/>
                      </a:cubicBezTo>
                      <a:cubicBezTo>
                        <a:pt x="214" y="285"/>
                        <a:pt x="174" y="309"/>
                        <a:pt x="190" y="325"/>
                      </a:cubicBezTo>
                      <a:cubicBezTo>
                        <a:pt x="198" y="340"/>
                        <a:pt x="143" y="372"/>
                        <a:pt x="127" y="412"/>
                      </a:cubicBezTo>
                      <a:cubicBezTo>
                        <a:pt x="103" y="443"/>
                        <a:pt x="79" y="483"/>
                        <a:pt x="103" y="530"/>
                      </a:cubicBezTo>
                      <a:cubicBezTo>
                        <a:pt x="119" y="570"/>
                        <a:pt x="79" y="562"/>
                        <a:pt x="79" y="578"/>
                      </a:cubicBezTo>
                      <a:cubicBezTo>
                        <a:pt x="79" y="593"/>
                        <a:pt x="48" y="617"/>
                        <a:pt x="48" y="617"/>
                      </a:cubicBezTo>
                      <a:cubicBezTo>
                        <a:pt x="48" y="617"/>
                        <a:pt x="32" y="546"/>
                        <a:pt x="24" y="609"/>
                      </a:cubicBezTo>
                      <a:cubicBezTo>
                        <a:pt x="16" y="633"/>
                        <a:pt x="8" y="649"/>
                        <a:pt x="0" y="657"/>
                      </a:cubicBezTo>
                      <a:cubicBezTo>
                        <a:pt x="261" y="1447"/>
                        <a:pt x="261" y="1447"/>
                        <a:pt x="261" y="1447"/>
                      </a:cubicBezTo>
                      <a:cubicBezTo>
                        <a:pt x="261" y="1447"/>
                        <a:pt x="317" y="1526"/>
                        <a:pt x="340" y="153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5" name="Freeform 756">
                  <a:extLst>
                    <a:ext uri="{FF2B5EF4-FFF2-40B4-BE49-F238E27FC236}">
                      <a16:creationId xmlns:a16="http://schemas.microsoft.com/office/drawing/2014/main" id="{68389CB8-B21F-D543-8E2B-D0A6819A40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671411" y="3656545"/>
                  <a:ext cx="287594" cy="902209"/>
                </a:xfrm>
                <a:custGeom>
                  <a:avLst/>
                  <a:gdLst>
                    <a:gd name="T0" fmla="*/ 372 w 547"/>
                    <a:gd name="T1" fmla="*/ 1715 h 1716"/>
                    <a:gd name="T2" fmla="*/ 356 w 547"/>
                    <a:gd name="T3" fmla="*/ 1620 h 1716"/>
                    <a:gd name="T4" fmla="*/ 269 w 547"/>
                    <a:gd name="T5" fmla="*/ 1462 h 1716"/>
                    <a:gd name="T6" fmla="*/ 0 w 547"/>
                    <a:gd name="T7" fmla="*/ 664 h 1716"/>
                    <a:gd name="T8" fmla="*/ 24 w 547"/>
                    <a:gd name="T9" fmla="*/ 624 h 1716"/>
                    <a:gd name="T10" fmla="*/ 64 w 547"/>
                    <a:gd name="T11" fmla="*/ 624 h 1716"/>
                    <a:gd name="T12" fmla="*/ 95 w 547"/>
                    <a:gd name="T13" fmla="*/ 577 h 1716"/>
                    <a:gd name="T14" fmla="*/ 127 w 547"/>
                    <a:gd name="T15" fmla="*/ 427 h 1716"/>
                    <a:gd name="T16" fmla="*/ 167 w 547"/>
                    <a:gd name="T17" fmla="*/ 379 h 1716"/>
                    <a:gd name="T18" fmla="*/ 190 w 547"/>
                    <a:gd name="T19" fmla="*/ 316 h 1716"/>
                    <a:gd name="T20" fmla="*/ 143 w 547"/>
                    <a:gd name="T21" fmla="*/ 221 h 1716"/>
                    <a:gd name="T22" fmla="*/ 167 w 547"/>
                    <a:gd name="T23" fmla="*/ 182 h 1716"/>
                    <a:gd name="T24" fmla="*/ 135 w 547"/>
                    <a:gd name="T25" fmla="*/ 118 h 1716"/>
                    <a:gd name="T26" fmla="*/ 190 w 547"/>
                    <a:gd name="T27" fmla="*/ 15 h 1716"/>
                    <a:gd name="T28" fmla="*/ 546 w 547"/>
                    <a:gd name="T29" fmla="*/ 1201 h 1716"/>
                    <a:gd name="T30" fmla="*/ 522 w 547"/>
                    <a:gd name="T31" fmla="*/ 1233 h 1716"/>
                    <a:gd name="T32" fmla="*/ 491 w 547"/>
                    <a:gd name="T33" fmla="*/ 1304 h 1716"/>
                    <a:gd name="T34" fmla="*/ 498 w 547"/>
                    <a:gd name="T35" fmla="*/ 1375 h 1716"/>
                    <a:gd name="T36" fmla="*/ 506 w 547"/>
                    <a:gd name="T37" fmla="*/ 1391 h 1716"/>
                    <a:gd name="T38" fmla="*/ 443 w 547"/>
                    <a:gd name="T39" fmla="*/ 1525 h 1716"/>
                    <a:gd name="T40" fmla="*/ 435 w 547"/>
                    <a:gd name="T41" fmla="*/ 1628 h 1716"/>
                    <a:gd name="T42" fmla="*/ 396 w 547"/>
                    <a:gd name="T43" fmla="*/ 1691 h 1716"/>
                    <a:gd name="T44" fmla="*/ 372 w 547"/>
                    <a:gd name="T45" fmla="*/ 1715 h 1716"/>
                    <a:gd name="T46" fmla="*/ 277 w 547"/>
                    <a:gd name="T47" fmla="*/ 1462 h 1716"/>
                    <a:gd name="T48" fmla="*/ 364 w 547"/>
                    <a:gd name="T49" fmla="*/ 1620 h 1716"/>
                    <a:gd name="T50" fmla="*/ 388 w 547"/>
                    <a:gd name="T51" fmla="*/ 1684 h 1716"/>
                    <a:gd name="T52" fmla="*/ 427 w 547"/>
                    <a:gd name="T53" fmla="*/ 1628 h 1716"/>
                    <a:gd name="T54" fmla="*/ 443 w 547"/>
                    <a:gd name="T55" fmla="*/ 1533 h 1716"/>
                    <a:gd name="T56" fmla="*/ 498 w 547"/>
                    <a:gd name="T57" fmla="*/ 1399 h 1716"/>
                    <a:gd name="T58" fmla="*/ 491 w 547"/>
                    <a:gd name="T59" fmla="*/ 1375 h 1716"/>
                    <a:gd name="T60" fmla="*/ 483 w 547"/>
                    <a:gd name="T61" fmla="*/ 1304 h 1716"/>
                    <a:gd name="T62" fmla="*/ 514 w 547"/>
                    <a:gd name="T63" fmla="*/ 1233 h 1716"/>
                    <a:gd name="T64" fmla="*/ 190 w 547"/>
                    <a:gd name="T65" fmla="*/ 31 h 1716"/>
                    <a:gd name="T66" fmla="*/ 143 w 547"/>
                    <a:gd name="T67" fmla="*/ 118 h 1716"/>
                    <a:gd name="T68" fmla="*/ 174 w 547"/>
                    <a:gd name="T69" fmla="*/ 182 h 1716"/>
                    <a:gd name="T70" fmla="*/ 151 w 547"/>
                    <a:gd name="T71" fmla="*/ 221 h 1716"/>
                    <a:gd name="T72" fmla="*/ 198 w 547"/>
                    <a:gd name="T73" fmla="*/ 324 h 1716"/>
                    <a:gd name="T74" fmla="*/ 167 w 547"/>
                    <a:gd name="T75" fmla="*/ 387 h 1716"/>
                    <a:gd name="T76" fmla="*/ 135 w 547"/>
                    <a:gd name="T77" fmla="*/ 427 h 1716"/>
                    <a:gd name="T78" fmla="*/ 103 w 547"/>
                    <a:gd name="T79" fmla="*/ 585 h 1716"/>
                    <a:gd name="T80" fmla="*/ 64 w 547"/>
                    <a:gd name="T81" fmla="*/ 632 h 1716"/>
                    <a:gd name="T82" fmla="*/ 56 w 547"/>
                    <a:gd name="T83" fmla="*/ 632 h 1716"/>
                    <a:gd name="T84" fmla="*/ 32 w 547"/>
                    <a:gd name="T85" fmla="*/ 624 h 1716"/>
                    <a:gd name="T86" fmla="*/ 277 w 547"/>
                    <a:gd name="T87" fmla="*/ 1462 h 17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47" h="1716">
                      <a:moveTo>
                        <a:pt x="372" y="1715"/>
                      </a:moveTo>
                      <a:lnTo>
                        <a:pt x="372" y="1715"/>
                      </a:lnTo>
                      <a:cubicBezTo>
                        <a:pt x="364" y="1707"/>
                        <a:pt x="364" y="1707"/>
                        <a:pt x="364" y="1707"/>
                      </a:cubicBezTo>
                      <a:cubicBezTo>
                        <a:pt x="356" y="1691"/>
                        <a:pt x="356" y="1652"/>
                        <a:pt x="356" y="1620"/>
                      </a:cubicBezTo>
                      <a:cubicBezTo>
                        <a:pt x="356" y="1589"/>
                        <a:pt x="356" y="1557"/>
                        <a:pt x="348" y="1549"/>
                      </a:cubicBezTo>
                      <a:cubicBezTo>
                        <a:pt x="317" y="1541"/>
                        <a:pt x="269" y="1462"/>
                        <a:pt x="269" y="1462"/>
                      </a:cubicBezTo>
                      <a:lnTo>
                        <a:pt x="269" y="1462"/>
                      </a:lnTo>
                      <a:cubicBezTo>
                        <a:pt x="0" y="664"/>
                        <a:pt x="0" y="664"/>
                        <a:pt x="0" y="664"/>
                      </a:cubicBezTo>
                      <a:lnTo>
                        <a:pt x="0" y="664"/>
                      </a:lnTo>
                      <a:cubicBezTo>
                        <a:pt x="16" y="656"/>
                        <a:pt x="24" y="648"/>
                        <a:pt x="24" y="624"/>
                      </a:cubicBezTo>
                      <a:cubicBezTo>
                        <a:pt x="32" y="601"/>
                        <a:pt x="32" y="593"/>
                        <a:pt x="40" y="593"/>
                      </a:cubicBezTo>
                      <a:cubicBezTo>
                        <a:pt x="48" y="593"/>
                        <a:pt x="56" y="616"/>
                        <a:pt x="64" y="624"/>
                      </a:cubicBezTo>
                      <a:cubicBezTo>
                        <a:pt x="72" y="616"/>
                        <a:pt x="87" y="608"/>
                        <a:pt x="87" y="593"/>
                      </a:cubicBezTo>
                      <a:cubicBezTo>
                        <a:pt x="87" y="585"/>
                        <a:pt x="87" y="585"/>
                        <a:pt x="95" y="577"/>
                      </a:cubicBezTo>
                      <a:cubicBezTo>
                        <a:pt x="103" y="577"/>
                        <a:pt x="119" y="569"/>
                        <a:pt x="103" y="545"/>
                      </a:cubicBezTo>
                      <a:cubicBezTo>
                        <a:pt x="87" y="498"/>
                        <a:pt x="111" y="458"/>
                        <a:pt x="127" y="427"/>
                      </a:cubicBezTo>
                      <a:lnTo>
                        <a:pt x="127" y="427"/>
                      </a:lnTo>
                      <a:cubicBezTo>
                        <a:pt x="135" y="411"/>
                        <a:pt x="151" y="395"/>
                        <a:pt x="167" y="379"/>
                      </a:cubicBezTo>
                      <a:cubicBezTo>
                        <a:pt x="182" y="363"/>
                        <a:pt x="198" y="348"/>
                        <a:pt x="190" y="340"/>
                      </a:cubicBezTo>
                      <a:cubicBezTo>
                        <a:pt x="190" y="332"/>
                        <a:pt x="190" y="324"/>
                        <a:pt x="190" y="316"/>
                      </a:cubicBezTo>
                      <a:cubicBezTo>
                        <a:pt x="190" y="308"/>
                        <a:pt x="198" y="284"/>
                        <a:pt x="167" y="261"/>
                      </a:cubicBezTo>
                      <a:cubicBezTo>
                        <a:pt x="151" y="245"/>
                        <a:pt x="143" y="229"/>
                        <a:pt x="143" y="221"/>
                      </a:cubicBezTo>
                      <a:cubicBezTo>
                        <a:pt x="143" y="213"/>
                        <a:pt x="151" y="205"/>
                        <a:pt x="158" y="197"/>
                      </a:cubicBezTo>
                      <a:cubicBezTo>
                        <a:pt x="158" y="190"/>
                        <a:pt x="167" y="182"/>
                        <a:pt x="167" y="182"/>
                      </a:cubicBezTo>
                      <a:cubicBezTo>
                        <a:pt x="167" y="174"/>
                        <a:pt x="158" y="166"/>
                        <a:pt x="151" y="166"/>
                      </a:cubicBezTo>
                      <a:cubicBezTo>
                        <a:pt x="135" y="150"/>
                        <a:pt x="119" y="142"/>
                        <a:pt x="135" y="118"/>
                      </a:cubicBezTo>
                      <a:cubicBezTo>
                        <a:pt x="143" y="110"/>
                        <a:pt x="143" y="103"/>
                        <a:pt x="151" y="87"/>
                      </a:cubicBezTo>
                      <a:cubicBezTo>
                        <a:pt x="167" y="71"/>
                        <a:pt x="182" y="47"/>
                        <a:pt x="190" y="15"/>
                      </a:cubicBezTo>
                      <a:cubicBezTo>
                        <a:pt x="190" y="0"/>
                        <a:pt x="190" y="0"/>
                        <a:pt x="190" y="0"/>
                      </a:cubicBezTo>
                      <a:cubicBezTo>
                        <a:pt x="546" y="1201"/>
                        <a:pt x="546" y="1201"/>
                        <a:pt x="546" y="1201"/>
                      </a:cubicBezTo>
                      <a:cubicBezTo>
                        <a:pt x="538" y="1209"/>
                        <a:pt x="538" y="1209"/>
                        <a:pt x="538" y="1209"/>
                      </a:cubicBezTo>
                      <a:cubicBezTo>
                        <a:pt x="530" y="1209"/>
                        <a:pt x="530" y="1225"/>
                        <a:pt x="522" y="1233"/>
                      </a:cubicBezTo>
                      <a:cubicBezTo>
                        <a:pt x="514" y="1249"/>
                        <a:pt x="506" y="1265"/>
                        <a:pt x="498" y="1272"/>
                      </a:cubicBezTo>
                      <a:cubicBezTo>
                        <a:pt x="483" y="1288"/>
                        <a:pt x="483" y="1288"/>
                        <a:pt x="491" y="1304"/>
                      </a:cubicBezTo>
                      <a:cubicBezTo>
                        <a:pt x="491" y="1312"/>
                        <a:pt x="491" y="1320"/>
                        <a:pt x="498" y="1336"/>
                      </a:cubicBezTo>
                      <a:cubicBezTo>
                        <a:pt x="506" y="1360"/>
                        <a:pt x="498" y="1367"/>
                        <a:pt x="498" y="1375"/>
                      </a:cubicBezTo>
                      <a:cubicBezTo>
                        <a:pt x="491" y="1383"/>
                        <a:pt x="491" y="1383"/>
                        <a:pt x="498" y="1391"/>
                      </a:cubicBezTo>
                      <a:cubicBezTo>
                        <a:pt x="506" y="1391"/>
                        <a:pt x="506" y="1391"/>
                        <a:pt x="506" y="1391"/>
                      </a:cubicBezTo>
                      <a:cubicBezTo>
                        <a:pt x="506" y="1407"/>
                        <a:pt x="498" y="1423"/>
                        <a:pt x="483" y="1447"/>
                      </a:cubicBezTo>
                      <a:cubicBezTo>
                        <a:pt x="459" y="1478"/>
                        <a:pt x="435" y="1510"/>
                        <a:pt x="443" y="1525"/>
                      </a:cubicBezTo>
                      <a:cubicBezTo>
                        <a:pt x="459" y="1549"/>
                        <a:pt x="451" y="1565"/>
                        <a:pt x="443" y="1589"/>
                      </a:cubicBezTo>
                      <a:cubicBezTo>
                        <a:pt x="435" y="1597"/>
                        <a:pt x="435" y="1612"/>
                        <a:pt x="435" y="1628"/>
                      </a:cubicBezTo>
                      <a:cubicBezTo>
                        <a:pt x="435" y="1660"/>
                        <a:pt x="435" y="1660"/>
                        <a:pt x="411" y="1676"/>
                      </a:cubicBezTo>
                      <a:cubicBezTo>
                        <a:pt x="411" y="1676"/>
                        <a:pt x="404" y="1684"/>
                        <a:pt x="396" y="1691"/>
                      </a:cubicBezTo>
                      <a:cubicBezTo>
                        <a:pt x="380" y="1699"/>
                        <a:pt x="372" y="1707"/>
                        <a:pt x="372" y="1707"/>
                      </a:cubicBezTo>
                      <a:lnTo>
                        <a:pt x="372" y="1715"/>
                      </a:lnTo>
                      <a:close/>
                      <a:moveTo>
                        <a:pt x="277" y="1462"/>
                      </a:moveTo>
                      <a:lnTo>
                        <a:pt x="277" y="1462"/>
                      </a:lnTo>
                      <a:cubicBezTo>
                        <a:pt x="285" y="1478"/>
                        <a:pt x="325" y="1541"/>
                        <a:pt x="348" y="1541"/>
                      </a:cubicBezTo>
                      <a:cubicBezTo>
                        <a:pt x="364" y="1549"/>
                        <a:pt x="364" y="1573"/>
                        <a:pt x="364" y="1620"/>
                      </a:cubicBezTo>
                      <a:cubicBezTo>
                        <a:pt x="364" y="1652"/>
                        <a:pt x="364" y="1684"/>
                        <a:pt x="372" y="1699"/>
                      </a:cubicBezTo>
                      <a:cubicBezTo>
                        <a:pt x="372" y="1699"/>
                        <a:pt x="380" y="1691"/>
                        <a:pt x="388" y="1684"/>
                      </a:cubicBezTo>
                      <a:cubicBezTo>
                        <a:pt x="396" y="1676"/>
                        <a:pt x="404" y="1676"/>
                        <a:pt x="411" y="1668"/>
                      </a:cubicBezTo>
                      <a:cubicBezTo>
                        <a:pt x="427" y="1660"/>
                        <a:pt x="427" y="1660"/>
                        <a:pt x="427" y="1628"/>
                      </a:cubicBezTo>
                      <a:cubicBezTo>
                        <a:pt x="427" y="1612"/>
                        <a:pt x="427" y="1597"/>
                        <a:pt x="435" y="1581"/>
                      </a:cubicBezTo>
                      <a:cubicBezTo>
                        <a:pt x="443" y="1565"/>
                        <a:pt x="451" y="1549"/>
                        <a:pt x="443" y="1533"/>
                      </a:cubicBezTo>
                      <a:cubicBezTo>
                        <a:pt x="427" y="1510"/>
                        <a:pt x="451" y="1478"/>
                        <a:pt x="475" y="1447"/>
                      </a:cubicBezTo>
                      <a:cubicBezTo>
                        <a:pt x="483" y="1423"/>
                        <a:pt x="498" y="1407"/>
                        <a:pt x="498" y="1399"/>
                      </a:cubicBezTo>
                      <a:cubicBezTo>
                        <a:pt x="498" y="1391"/>
                        <a:pt x="498" y="1391"/>
                        <a:pt x="498" y="1391"/>
                      </a:cubicBezTo>
                      <a:cubicBezTo>
                        <a:pt x="483" y="1383"/>
                        <a:pt x="483" y="1383"/>
                        <a:pt x="491" y="1375"/>
                      </a:cubicBezTo>
                      <a:cubicBezTo>
                        <a:pt x="491" y="1367"/>
                        <a:pt x="498" y="1360"/>
                        <a:pt x="491" y="1336"/>
                      </a:cubicBezTo>
                      <a:cubicBezTo>
                        <a:pt x="491" y="1320"/>
                        <a:pt x="483" y="1312"/>
                        <a:pt x="483" y="1304"/>
                      </a:cubicBezTo>
                      <a:cubicBezTo>
                        <a:pt x="475" y="1288"/>
                        <a:pt x="475" y="1280"/>
                        <a:pt x="491" y="1265"/>
                      </a:cubicBezTo>
                      <a:cubicBezTo>
                        <a:pt x="506" y="1257"/>
                        <a:pt x="514" y="1241"/>
                        <a:pt x="514" y="1233"/>
                      </a:cubicBezTo>
                      <a:cubicBezTo>
                        <a:pt x="522" y="1217"/>
                        <a:pt x="530" y="1209"/>
                        <a:pt x="538" y="1201"/>
                      </a:cubicBezTo>
                      <a:cubicBezTo>
                        <a:pt x="190" y="31"/>
                        <a:pt x="190" y="31"/>
                        <a:pt x="190" y="31"/>
                      </a:cubicBezTo>
                      <a:cubicBezTo>
                        <a:pt x="190" y="63"/>
                        <a:pt x="174" y="79"/>
                        <a:pt x="158" y="95"/>
                      </a:cubicBezTo>
                      <a:cubicBezTo>
                        <a:pt x="151" y="103"/>
                        <a:pt x="143" y="110"/>
                        <a:pt x="143" y="118"/>
                      </a:cubicBezTo>
                      <a:cubicBezTo>
                        <a:pt x="127" y="142"/>
                        <a:pt x="143" y="142"/>
                        <a:pt x="151" y="158"/>
                      </a:cubicBezTo>
                      <a:cubicBezTo>
                        <a:pt x="158" y="166"/>
                        <a:pt x="174" y="166"/>
                        <a:pt x="174" y="182"/>
                      </a:cubicBezTo>
                      <a:cubicBezTo>
                        <a:pt x="174" y="190"/>
                        <a:pt x="167" y="197"/>
                        <a:pt x="158" y="197"/>
                      </a:cubicBezTo>
                      <a:cubicBezTo>
                        <a:pt x="151" y="205"/>
                        <a:pt x="143" y="213"/>
                        <a:pt x="151" y="221"/>
                      </a:cubicBezTo>
                      <a:cubicBezTo>
                        <a:pt x="151" y="229"/>
                        <a:pt x="151" y="237"/>
                        <a:pt x="167" y="253"/>
                      </a:cubicBezTo>
                      <a:cubicBezTo>
                        <a:pt x="206" y="284"/>
                        <a:pt x="198" y="308"/>
                        <a:pt x="198" y="324"/>
                      </a:cubicBezTo>
                      <a:cubicBezTo>
                        <a:pt x="198" y="324"/>
                        <a:pt x="198" y="332"/>
                        <a:pt x="198" y="340"/>
                      </a:cubicBezTo>
                      <a:cubicBezTo>
                        <a:pt x="206" y="355"/>
                        <a:pt x="190" y="371"/>
                        <a:pt x="167" y="387"/>
                      </a:cubicBezTo>
                      <a:cubicBezTo>
                        <a:pt x="158" y="403"/>
                        <a:pt x="143" y="411"/>
                        <a:pt x="135" y="427"/>
                      </a:cubicBezTo>
                      <a:lnTo>
                        <a:pt x="135" y="427"/>
                      </a:lnTo>
                      <a:cubicBezTo>
                        <a:pt x="111" y="458"/>
                        <a:pt x="95" y="498"/>
                        <a:pt x="111" y="545"/>
                      </a:cubicBezTo>
                      <a:cubicBezTo>
                        <a:pt x="127" y="569"/>
                        <a:pt x="111" y="577"/>
                        <a:pt x="103" y="585"/>
                      </a:cubicBezTo>
                      <a:cubicBezTo>
                        <a:pt x="95" y="593"/>
                        <a:pt x="95" y="593"/>
                        <a:pt x="95" y="593"/>
                      </a:cubicBezTo>
                      <a:cubicBezTo>
                        <a:pt x="95" y="616"/>
                        <a:pt x="64" y="632"/>
                        <a:pt x="64" y="632"/>
                      </a:cubicBezTo>
                      <a:cubicBezTo>
                        <a:pt x="56" y="640"/>
                        <a:pt x="56" y="640"/>
                        <a:pt x="56" y="640"/>
                      </a:cubicBezTo>
                      <a:cubicBezTo>
                        <a:pt x="56" y="632"/>
                        <a:pt x="56" y="632"/>
                        <a:pt x="56" y="632"/>
                      </a:cubicBezTo>
                      <a:cubicBezTo>
                        <a:pt x="48" y="616"/>
                        <a:pt x="48" y="601"/>
                        <a:pt x="40" y="601"/>
                      </a:cubicBezTo>
                      <a:cubicBezTo>
                        <a:pt x="40" y="601"/>
                        <a:pt x="40" y="601"/>
                        <a:pt x="32" y="624"/>
                      </a:cubicBezTo>
                      <a:cubicBezTo>
                        <a:pt x="24" y="648"/>
                        <a:pt x="24" y="664"/>
                        <a:pt x="8" y="672"/>
                      </a:cubicBezTo>
                      <a:lnTo>
                        <a:pt x="277" y="1462"/>
                      </a:ln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6" name="Freeform 757">
                  <a:extLst>
                    <a:ext uri="{FF2B5EF4-FFF2-40B4-BE49-F238E27FC236}">
                      <a16:creationId xmlns:a16="http://schemas.microsoft.com/office/drawing/2014/main" id="{C700FFEC-9247-3E41-AE51-C2F5ABFD4F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529934" y="4011398"/>
                  <a:ext cx="336299" cy="670280"/>
                </a:xfrm>
                <a:custGeom>
                  <a:avLst/>
                  <a:gdLst>
                    <a:gd name="T0" fmla="*/ 182 w 641"/>
                    <a:gd name="T1" fmla="*/ 174 h 1273"/>
                    <a:gd name="T2" fmla="*/ 182 w 641"/>
                    <a:gd name="T3" fmla="*/ 174 h 1273"/>
                    <a:gd name="T4" fmla="*/ 166 w 641"/>
                    <a:gd name="T5" fmla="*/ 300 h 1273"/>
                    <a:gd name="T6" fmla="*/ 213 w 641"/>
                    <a:gd name="T7" fmla="*/ 379 h 1273"/>
                    <a:gd name="T8" fmla="*/ 102 w 641"/>
                    <a:gd name="T9" fmla="*/ 569 h 1273"/>
                    <a:gd name="T10" fmla="*/ 102 w 641"/>
                    <a:gd name="T11" fmla="*/ 711 h 1273"/>
                    <a:gd name="T12" fmla="*/ 79 w 641"/>
                    <a:gd name="T13" fmla="*/ 964 h 1273"/>
                    <a:gd name="T14" fmla="*/ 102 w 641"/>
                    <a:gd name="T15" fmla="*/ 1099 h 1273"/>
                    <a:gd name="T16" fmla="*/ 87 w 641"/>
                    <a:gd name="T17" fmla="*/ 1193 h 1273"/>
                    <a:gd name="T18" fmla="*/ 118 w 641"/>
                    <a:gd name="T19" fmla="*/ 1265 h 1273"/>
                    <a:gd name="T20" fmla="*/ 458 w 641"/>
                    <a:gd name="T21" fmla="*/ 1201 h 1273"/>
                    <a:gd name="T22" fmla="*/ 529 w 641"/>
                    <a:gd name="T23" fmla="*/ 1162 h 1273"/>
                    <a:gd name="T24" fmla="*/ 640 w 641"/>
                    <a:gd name="T25" fmla="*/ 1035 h 1273"/>
                    <a:gd name="T26" fmla="*/ 616 w 641"/>
                    <a:gd name="T27" fmla="*/ 877 h 1273"/>
                    <a:gd name="T28" fmla="*/ 537 w 641"/>
                    <a:gd name="T29" fmla="*/ 790 h 1273"/>
                    <a:gd name="T30" fmla="*/ 276 w 641"/>
                    <a:gd name="T31" fmla="*/ 0 h 1273"/>
                    <a:gd name="T32" fmla="*/ 213 w 641"/>
                    <a:gd name="T33" fmla="*/ 8 h 1273"/>
                    <a:gd name="T34" fmla="*/ 182 w 641"/>
                    <a:gd name="T35" fmla="*/ 126 h 1273"/>
                    <a:gd name="T36" fmla="*/ 182 w 641"/>
                    <a:gd name="T37" fmla="*/ 174 h 1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41" h="1273">
                      <a:moveTo>
                        <a:pt x="182" y="174"/>
                      </a:moveTo>
                      <a:lnTo>
                        <a:pt x="182" y="174"/>
                      </a:lnTo>
                      <a:cubicBezTo>
                        <a:pt x="182" y="197"/>
                        <a:pt x="142" y="269"/>
                        <a:pt x="166" y="300"/>
                      </a:cubicBezTo>
                      <a:cubicBezTo>
                        <a:pt x="197" y="324"/>
                        <a:pt x="229" y="355"/>
                        <a:pt x="213" y="379"/>
                      </a:cubicBezTo>
                      <a:cubicBezTo>
                        <a:pt x="189" y="395"/>
                        <a:pt x="0" y="529"/>
                        <a:pt x="102" y="569"/>
                      </a:cubicBezTo>
                      <a:cubicBezTo>
                        <a:pt x="197" y="608"/>
                        <a:pt x="118" y="664"/>
                        <a:pt x="102" y="711"/>
                      </a:cubicBezTo>
                      <a:cubicBezTo>
                        <a:pt x="87" y="751"/>
                        <a:pt x="47" y="877"/>
                        <a:pt x="79" y="964"/>
                      </a:cubicBezTo>
                      <a:cubicBezTo>
                        <a:pt x="110" y="1043"/>
                        <a:pt x="110" y="1067"/>
                        <a:pt x="102" y="1099"/>
                      </a:cubicBezTo>
                      <a:cubicBezTo>
                        <a:pt x="102" y="1138"/>
                        <a:pt x="71" y="1162"/>
                        <a:pt x="87" y="1193"/>
                      </a:cubicBezTo>
                      <a:cubicBezTo>
                        <a:pt x="102" y="1233"/>
                        <a:pt x="102" y="1265"/>
                        <a:pt x="118" y="1265"/>
                      </a:cubicBezTo>
                      <a:cubicBezTo>
                        <a:pt x="134" y="1272"/>
                        <a:pt x="411" y="1201"/>
                        <a:pt x="458" y="1201"/>
                      </a:cubicBezTo>
                      <a:cubicBezTo>
                        <a:pt x="514" y="1193"/>
                        <a:pt x="514" y="1193"/>
                        <a:pt x="529" y="1162"/>
                      </a:cubicBezTo>
                      <a:cubicBezTo>
                        <a:pt x="545" y="1138"/>
                        <a:pt x="640" y="1035"/>
                        <a:pt x="640" y="1035"/>
                      </a:cubicBezTo>
                      <a:cubicBezTo>
                        <a:pt x="616" y="996"/>
                        <a:pt x="640" y="885"/>
                        <a:pt x="616" y="877"/>
                      </a:cubicBezTo>
                      <a:cubicBezTo>
                        <a:pt x="593" y="869"/>
                        <a:pt x="537" y="790"/>
                        <a:pt x="537" y="790"/>
                      </a:cubicBezTo>
                      <a:cubicBezTo>
                        <a:pt x="276" y="0"/>
                        <a:pt x="276" y="0"/>
                        <a:pt x="276" y="0"/>
                      </a:cubicBezTo>
                      <a:cubicBezTo>
                        <a:pt x="253" y="16"/>
                        <a:pt x="229" y="0"/>
                        <a:pt x="213" y="8"/>
                      </a:cubicBezTo>
                      <a:cubicBezTo>
                        <a:pt x="189" y="8"/>
                        <a:pt x="182" y="79"/>
                        <a:pt x="182" y="126"/>
                      </a:cubicBezTo>
                      <a:cubicBezTo>
                        <a:pt x="182" y="126"/>
                        <a:pt x="182" y="150"/>
                        <a:pt x="182" y="17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7" name="Freeform 758">
                  <a:extLst>
                    <a:ext uri="{FF2B5EF4-FFF2-40B4-BE49-F238E27FC236}">
                      <a16:creationId xmlns:a16="http://schemas.microsoft.com/office/drawing/2014/main" id="{41DDEAFA-F9E1-2746-8C8F-41927DBC9F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555446" y="4006759"/>
                  <a:ext cx="313107" cy="672599"/>
                </a:xfrm>
                <a:custGeom>
                  <a:avLst/>
                  <a:gdLst>
                    <a:gd name="T0" fmla="*/ 71 w 594"/>
                    <a:gd name="T1" fmla="*/ 1280 h 1281"/>
                    <a:gd name="T2" fmla="*/ 71 w 594"/>
                    <a:gd name="T3" fmla="*/ 1280 h 1281"/>
                    <a:gd name="T4" fmla="*/ 40 w 594"/>
                    <a:gd name="T5" fmla="*/ 1201 h 1281"/>
                    <a:gd name="T6" fmla="*/ 55 w 594"/>
                    <a:gd name="T7" fmla="*/ 1107 h 1281"/>
                    <a:gd name="T8" fmla="*/ 32 w 594"/>
                    <a:gd name="T9" fmla="*/ 972 h 1281"/>
                    <a:gd name="T10" fmla="*/ 55 w 594"/>
                    <a:gd name="T11" fmla="*/ 711 h 1281"/>
                    <a:gd name="T12" fmla="*/ 95 w 594"/>
                    <a:gd name="T13" fmla="*/ 616 h 1281"/>
                    <a:gd name="T14" fmla="*/ 24 w 594"/>
                    <a:gd name="T15" fmla="*/ 545 h 1281"/>
                    <a:gd name="T16" fmla="*/ 158 w 594"/>
                    <a:gd name="T17" fmla="*/ 379 h 1281"/>
                    <a:gd name="T18" fmla="*/ 119 w 594"/>
                    <a:gd name="T19" fmla="*/ 308 h 1281"/>
                    <a:gd name="T20" fmla="*/ 135 w 594"/>
                    <a:gd name="T21" fmla="*/ 182 h 1281"/>
                    <a:gd name="T22" fmla="*/ 127 w 594"/>
                    <a:gd name="T23" fmla="*/ 134 h 1281"/>
                    <a:gd name="T24" fmla="*/ 166 w 594"/>
                    <a:gd name="T25" fmla="*/ 8 h 1281"/>
                    <a:gd name="T26" fmla="*/ 198 w 594"/>
                    <a:gd name="T27" fmla="*/ 8 h 1281"/>
                    <a:gd name="T28" fmla="*/ 229 w 594"/>
                    <a:gd name="T29" fmla="*/ 0 h 1281"/>
                    <a:gd name="T30" fmla="*/ 498 w 594"/>
                    <a:gd name="T31" fmla="*/ 798 h 1281"/>
                    <a:gd name="T32" fmla="*/ 585 w 594"/>
                    <a:gd name="T33" fmla="*/ 956 h 1281"/>
                    <a:gd name="T34" fmla="*/ 593 w 594"/>
                    <a:gd name="T35" fmla="*/ 1043 h 1281"/>
                    <a:gd name="T36" fmla="*/ 490 w 594"/>
                    <a:gd name="T37" fmla="*/ 1170 h 1281"/>
                    <a:gd name="T38" fmla="*/ 411 w 594"/>
                    <a:gd name="T39" fmla="*/ 1209 h 1281"/>
                    <a:gd name="T40" fmla="*/ 71 w 594"/>
                    <a:gd name="T41" fmla="*/ 1280 h 1281"/>
                    <a:gd name="T42" fmla="*/ 135 w 594"/>
                    <a:gd name="T43" fmla="*/ 134 h 1281"/>
                    <a:gd name="T44" fmla="*/ 135 w 594"/>
                    <a:gd name="T45" fmla="*/ 213 h 1281"/>
                    <a:gd name="T46" fmla="*/ 135 w 594"/>
                    <a:gd name="T47" fmla="*/ 316 h 1281"/>
                    <a:gd name="T48" fmla="*/ 142 w 594"/>
                    <a:gd name="T49" fmla="*/ 411 h 1281"/>
                    <a:gd name="T50" fmla="*/ 55 w 594"/>
                    <a:gd name="T51" fmla="*/ 569 h 1281"/>
                    <a:gd name="T52" fmla="*/ 79 w 594"/>
                    <a:gd name="T53" fmla="*/ 680 h 1281"/>
                    <a:gd name="T54" fmla="*/ 55 w 594"/>
                    <a:gd name="T55" fmla="*/ 719 h 1281"/>
                    <a:gd name="T56" fmla="*/ 63 w 594"/>
                    <a:gd name="T57" fmla="*/ 1107 h 1281"/>
                    <a:gd name="T58" fmla="*/ 48 w 594"/>
                    <a:gd name="T59" fmla="*/ 1146 h 1281"/>
                    <a:gd name="T60" fmla="*/ 55 w 594"/>
                    <a:gd name="T61" fmla="*/ 1233 h 1281"/>
                    <a:gd name="T62" fmla="*/ 221 w 594"/>
                    <a:gd name="T63" fmla="*/ 1241 h 1281"/>
                    <a:gd name="T64" fmla="*/ 419 w 594"/>
                    <a:gd name="T65" fmla="*/ 1201 h 1281"/>
                    <a:gd name="T66" fmla="*/ 585 w 594"/>
                    <a:gd name="T67" fmla="*/ 1043 h 1281"/>
                    <a:gd name="T68" fmla="*/ 569 w 594"/>
                    <a:gd name="T69" fmla="*/ 885 h 1281"/>
                    <a:gd name="T70" fmla="*/ 490 w 594"/>
                    <a:gd name="T71" fmla="*/ 798 h 1281"/>
                    <a:gd name="T72" fmla="*/ 198 w 594"/>
                    <a:gd name="T73" fmla="*/ 16 h 1281"/>
                    <a:gd name="T74" fmla="*/ 166 w 594"/>
                    <a:gd name="T75" fmla="*/ 16 h 12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594" h="1281">
                      <a:moveTo>
                        <a:pt x="71" y="1280"/>
                      </a:moveTo>
                      <a:lnTo>
                        <a:pt x="71" y="1280"/>
                      </a:lnTo>
                      <a:lnTo>
                        <a:pt x="71" y="1280"/>
                      </a:lnTo>
                      <a:lnTo>
                        <a:pt x="71" y="1280"/>
                      </a:lnTo>
                      <a:cubicBezTo>
                        <a:pt x="63" y="1280"/>
                        <a:pt x="55" y="1257"/>
                        <a:pt x="48" y="1233"/>
                      </a:cubicBezTo>
                      <a:cubicBezTo>
                        <a:pt x="48" y="1225"/>
                        <a:pt x="40" y="1217"/>
                        <a:pt x="40" y="1201"/>
                      </a:cubicBezTo>
                      <a:cubicBezTo>
                        <a:pt x="24" y="1178"/>
                        <a:pt x="32" y="1162"/>
                        <a:pt x="40" y="1146"/>
                      </a:cubicBezTo>
                      <a:cubicBezTo>
                        <a:pt x="48" y="1130"/>
                        <a:pt x="55" y="1122"/>
                        <a:pt x="55" y="1107"/>
                      </a:cubicBezTo>
                      <a:lnTo>
                        <a:pt x="55" y="1107"/>
                      </a:lnTo>
                      <a:cubicBezTo>
                        <a:pt x="55" y="1075"/>
                        <a:pt x="63" y="1051"/>
                        <a:pt x="32" y="972"/>
                      </a:cubicBezTo>
                      <a:cubicBezTo>
                        <a:pt x="0" y="893"/>
                        <a:pt x="40" y="767"/>
                        <a:pt x="48" y="719"/>
                      </a:cubicBezTo>
                      <a:cubicBezTo>
                        <a:pt x="55" y="711"/>
                        <a:pt x="55" y="711"/>
                        <a:pt x="55" y="711"/>
                      </a:cubicBezTo>
                      <a:cubicBezTo>
                        <a:pt x="55" y="703"/>
                        <a:pt x="63" y="687"/>
                        <a:pt x="71" y="680"/>
                      </a:cubicBezTo>
                      <a:cubicBezTo>
                        <a:pt x="87" y="656"/>
                        <a:pt x="103" y="632"/>
                        <a:pt x="95" y="616"/>
                      </a:cubicBezTo>
                      <a:cubicBezTo>
                        <a:pt x="95" y="601"/>
                        <a:pt x="79" y="593"/>
                        <a:pt x="55" y="577"/>
                      </a:cubicBezTo>
                      <a:cubicBezTo>
                        <a:pt x="32" y="569"/>
                        <a:pt x="24" y="561"/>
                        <a:pt x="24" y="545"/>
                      </a:cubicBezTo>
                      <a:cubicBezTo>
                        <a:pt x="16" y="506"/>
                        <a:pt x="95" y="435"/>
                        <a:pt x="135" y="403"/>
                      </a:cubicBezTo>
                      <a:cubicBezTo>
                        <a:pt x="150" y="395"/>
                        <a:pt x="158" y="387"/>
                        <a:pt x="158" y="379"/>
                      </a:cubicBezTo>
                      <a:cubicBezTo>
                        <a:pt x="174" y="363"/>
                        <a:pt x="158" y="348"/>
                        <a:pt x="135" y="324"/>
                      </a:cubicBezTo>
                      <a:cubicBezTo>
                        <a:pt x="127" y="316"/>
                        <a:pt x="119" y="308"/>
                        <a:pt x="119" y="308"/>
                      </a:cubicBezTo>
                      <a:cubicBezTo>
                        <a:pt x="95" y="284"/>
                        <a:pt x="111" y="237"/>
                        <a:pt x="127" y="205"/>
                      </a:cubicBezTo>
                      <a:cubicBezTo>
                        <a:pt x="127" y="197"/>
                        <a:pt x="135" y="182"/>
                        <a:pt x="135" y="182"/>
                      </a:cubicBezTo>
                      <a:cubicBezTo>
                        <a:pt x="135" y="158"/>
                        <a:pt x="127" y="134"/>
                        <a:pt x="127" y="134"/>
                      </a:cubicBezTo>
                      <a:lnTo>
                        <a:pt x="127" y="134"/>
                      </a:lnTo>
                      <a:lnTo>
                        <a:pt x="127" y="134"/>
                      </a:lnTo>
                      <a:cubicBezTo>
                        <a:pt x="127" y="103"/>
                        <a:pt x="142" y="16"/>
                        <a:pt x="166" y="8"/>
                      </a:cubicBezTo>
                      <a:cubicBezTo>
                        <a:pt x="174" y="8"/>
                        <a:pt x="174" y="8"/>
                        <a:pt x="182" y="8"/>
                      </a:cubicBezTo>
                      <a:cubicBezTo>
                        <a:pt x="182" y="8"/>
                        <a:pt x="190" y="8"/>
                        <a:pt x="198" y="8"/>
                      </a:cubicBezTo>
                      <a:cubicBezTo>
                        <a:pt x="206" y="8"/>
                        <a:pt x="214" y="8"/>
                        <a:pt x="221" y="0"/>
                      </a:cubicBezTo>
                      <a:cubicBezTo>
                        <a:pt x="229" y="0"/>
                        <a:pt x="229" y="0"/>
                        <a:pt x="229" y="0"/>
                      </a:cubicBezTo>
                      <a:lnTo>
                        <a:pt x="229" y="0"/>
                      </a:lnTo>
                      <a:cubicBezTo>
                        <a:pt x="498" y="798"/>
                        <a:pt x="498" y="798"/>
                        <a:pt x="498" y="798"/>
                      </a:cubicBezTo>
                      <a:cubicBezTo>
                        <a:pt x="506" y="814"/>
                        <a:pt x="546" y="877"/>
                        <a:pt x="569" y="877"/>
                      </a:cubicBezTo>
                      <a:cubicBezTo>
                        <a:pt x="585" y="885"/>
                        <a:pt x="585" y="909"/>
                        <a:pt x="585" y="956"/>
                      </a:cubicBezTo>
                      <a:cubicBezTo>
                        <a:pt x="585" y="988"/>
                        <a:pt x="585" y="1020"/>
                        <a:pt x="593" y="1043"/>
                      </a:cubicBezTo>
                      <a:lnTo>
                        <a:pt x="593" y="1043"/>
                      </a:lnTo>
                      <a:lnTo>
                        <a:pt x="593" y="1043"/>
                      </a:lnTo>
                      <a:cubicBezTo>
                        <a:pt x="593" y="1043"/>
                        <a:pt x="506" y="1146"/>
                        <a:pt x="490" y="1170"/>
                      </a:cubicBezTo>
                      <a:cubicBezTo>
                        <a:pt x="474" y="1201"/>
                        <a:pt x="467" y="1201"/>
                        <a:pt x="427" y="1209"/>
                      </a:cubicBezTo>
                      <a:cubicBezTo>
                        <a:pt x="411" y="1209"/>
                        <a:pt x="411" y="1209"/>
                        <a:pt x="411" y="1209"/>
                      </a:cubicBezTo>
                      <a:cubicBezTo>
                        <a:pt x="388" y="1209"/>
                        <a:pt x="301" y="1233"/>
                        <a:pt x="221" y="1249"/>
                      </a:cubicBezTo>
                      <a:cubicBezTo>
                        <a:pt x="135" y="1265"/>
                        <a:pt x="79" y="1280"/>
                        <a:pt x="71" y="1280"/>
                      </a:cubicBezTo>
                      <a:close/>
                      <a:moveTo>
                        <a:pt x="135" y="134"/>
                      </a:moveTo>
                      <a:lnTo>
                        <a:pt x="135" y="134"/>
                      </a:lnTo>
                      <a:cubicBezTo>
                        <a:pt x="135" y="134"/>
                        <a:pt x="142" y="158"/>
                        <a:pt x="142" y="182"/>
                      </a:cubicBezTo>
                      <a:cubicBezTo>
                        <a:pt x="142" y="190"/>
                        <a:pt x="135" y="197"/>
                        <a:pt x="135" y="213"/>
                      </a:cubicBezTo>
                      <a:cubicBezTo>
                        <a:pt x="119" y="237"/>
                        <a:pt x="103" y="284"/>
                        <a:pt x="127" y="300"/>
                      </a:cubicBezTo>
                      <a:cubicBezTo>
                        <a:pt x="127" y="308"/>
                        <a:pt x="135" y="308"/>
                        <a:pt x="135" y="316"/>
                      </a:cubicBezTo>
                      <a:cubicBezTo>
                        <a:pt x="158" y="340"/>
                        <a:pt x="182" y="363"/>
                        <a:pt x="166" y="387"/>
                      </a:cubicBezTo>
                      <a:cubicBezTo>
                        <a:pt x="166" y="395"/>
                        <a:pt x="158" y="395"/>
                        <a:pt x="142" y="411"/>
                      </a:cubicBezTo>
                      <a:cubicBezTo>
                        <a:pt x="103" y="443"/>
                        <a:pt x="24" y="506"/>
                        <a:pt x="32" y="545"/>
                      </a:cubicBezTo>
                      <a:cubicBezTo>
                        <a:pt x="32" y="553"/>
                        <a:pt x="40" y="569"/>
                        <a:pt x="55" y="569"/>
                      </a:cubicBezTo>
                      <a:cubicBezTo>
                        <a:pt x="79" y="585"/>
                        <a:pt x="95" y="601"/>
                        <a:pt x="103" y="616"/>
                      </a:cubicBezTo>
                      <a:cubicBezTo>
                        <a:pt x="111" y="640"/>
                        <a:pt x="95" y="656"/>
                        <a:pt x="79" y="680"/>
                      </a:cubicBezTo>
                      <a:cubicBezTo>
                        <a:pt x="71" y="696"/>
                        <a:pt x="63" y="703"/>
                        <a:pt x="55" y="719"/>
                      </a:cubicBezTo>
                      <a:lnTo>
                        <a:pt x="55" y="719"/>
                      </a:lnTo>
                      <a:cubicBezTo>
                        <a:pt x="48" y="767"/>
                        <a:pt x="8" y="893"/>
                        <a:pt x="40" y="972"/>
                      </a:cubicBezTo>
                      <a:cubicBezTo>
                        <a:pt x="63" y="1051"/>
                        <a:pt x="63" y="1075"/>
                        <a:pt x="63" y="1107"/>
                      </a:cubicBezTo>
                      <a:lnTo>
                        <a:pt x="63" y="1107"/>
                      </a:lnTo>
                      <a:cubicBezTo>
                        <a:pt x="55" y="1122"/>
                        <a:pt x="55" y="1138"/>
                        <a:pt x="48" y="1146"/>
                      </a:cubicBezTo>
                      <a:cubicBezTo>
                        <a:pt x="40" y="1162"/>
                        <a:pt x="32" y="1178"/>
                        <a:pt x="40" y="1201"/>
                      </a:cubicBezTo>
                      <a:cubicBezTo>
                        <a:pt x="48" y="1209"/>
                        <a:pt x="48" y="1225"/>
                        <a:pt x="55" y="1233"/>
                      </a:cubicBezTo>
                      <a:cubicBezTo>
                        <a:pt x="63" y="1257"/>
                        <a:pt x="63" y="1273"/>
                        <a:pt x="71" y="1273"/>
                      </a:cubicBezTo>
                      <a:cubicBezTo>
                        <a:pt x="79" y="1273"/>
                        <a:pt x="150" y="1257"/>
                        <a:pt x="221" y="1241"/>
                      </a:cubicBezTo>
                      <a:cubicBezTo>
                        <a:pt x="293" y="1225"/>
                        <a:pt x="388" y="1209"/>
                        <a:pt x="411" y="1201"/>
                      </a:cubicBezTo>
                      <a:cubicBezTo>
                        <a:pt x="419" y="1201"/>
                        <a:pt x="419" y="1201"/>
                        <a:pt x="419" y="1201"/>
                      </a:cubicBezTo>
                      <a:cubicBezTo>
                        <a:pt x="467" y="1194"/>
                        <a:pt x="467" y="1194"/>
                        <a:pt x="482" y="1170"/>
                      </a:cubicBezTo>
                      <a:cubicBezTo>
                        <a:pt x="498" y="1146"/>
                        <a:pt x="577" y="1059"/>
                        <a:pt x="585" y="1043"/>
                      </a:cubicBezTo>
                      <a:cubicBezTo>
                        <a:pt x="577" y="1020"/>
                        <a:pt x="577" y="988"/>
                        <a:pt x="577" y="956"/>
                      </a:cubicBezTo>
                      <a:cubicBezTo>
                        <a:pt x="577" y="925"/>
                        <a:pt x="577" y="893"/>
                        <a:pt x="569" y="885"/>
                      </a:cubicBezTo>
                      <a:cubicBezTo>
                        <a:pt x="538" y="877"/>
                        <a:pt x="490" y="798"/>
                        <a:pt x="490" y="798"/>
                      </a:cubicBezTo>
                      <a:lnTo>
                        <a:pt x="490" y="798"/>
                      </a:lnTo>
                      <a:cubicBezTo>
                        <a:pt x="229" y="8"/>
                        <a:pt x="229" y="8"/>
                        <a:pt x="229" y="8"/>
                      </a:cubicBezTo>
                      <a:cubicBezTo>
                        <a:pt x="214" y="16"/>
                        <a:pt x="206" y="16"/>
                        <a:pt x="198" y="16"/>
                      </a:cubicBezTo>
                      <a:cubicBezTo>
                        <a:pt x="190" y="16"/>
                        <a:pt x="182" y="16"/>
                        <a:pt x="182" y="16"/>
                      </a:cubicBezTo>
                      <a:cubicBezTo>
                        <a:pt x="174" y="16"/>
                        <a:pt x="174" y="16"/>
                        <a:pt x="166" y="16"/>
                      </a:cubicBezTo>
                      <a:cubicBezTo>
                        <a:pt x="150" y="16"/>
                        <a:pt x="135" y="79"/>
                        <a:pt x="135" y="13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8" name="Freeform 759">
                  <a:extLst>
                    <a:ext uri="{FF2B5EF4-FFF2-40B4-BE49-F238E27FC236}">
                      <a16:creationId xmlns:a16="http://schemas.microsoft.com/office/drawing/2014/main" id="{B32B20B1-6C30-E14F-AFEF-8140B98482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309600" y="4076339"/>
                  <a:ext cx="340939" cy="640128"/>
                </a:xfrm>
                <a:custGeom>
                  <a:avLst/>
                  <a:gdLst>
                    <a:gd name="T0" fmla="*/ 15 w 649"/>
                    <a:gd name="T1" fmla="*/ 269 h 1219"/>
                    <a:gd name="T2" fmla="*/ 15 w 649"/>
                    <a:gd name="T3" fmla="*/ 269 h 1219"/>
                    <a:gd name="T4" fmla="*/ 23 w 649"/>
                    <a:gd name="T5" fmla="*/ 364 h 1219"/>
                    <a:gd name="T6" fmla="*/ 63 w 649"/>
                    <a:gd name="T7" fmla="*/ 419 h 1219"/>
                    <a:gd name="T8" fmla="*/ 102 w 649"/>
                    <a:gd name="T9" fmla="*/ 522 h 1219"/>
                    <a:gd name="T10" fmla="*/ 95 w 649"/>
                    <a:gd name="T11" fmla="*/ 617 h 1219"/>
                    <a:gd name="T12" fmla="*/ 118 w 649"/>
                    <a:gd name="T13" fmla="*/ 743 h 1219"/>
                    <a:gd name="T14" fmla="*/ 150 w 649"/>
                    <a:gd name="T15" fmla="*/ 838 h 1219"/>
                    <a:gd name="T16" fmla="*/ 190 w 649"/>
                    <a:gd name="T17" fmla="*/ 838 h 1219"/>
                    <a:gd name="T18" fmla="*/ 237 w 649"/>
                    <a:gd name="T19" fmla="*/ 988 h 1219"/>
                    <a:gd name="T20" fmla="*/ 284 w 649"/>
                    <a:gd name="T21" fmla="*/ 1210 h 1219"/>
                    <a:gd name="T22" fmla="*/ 537 w 649"/>
                    <a:gd name="T23" fmla="*/ 1139 h 1219"/>
                    <a:gd name="T24" fmla="*/ 506 w 649"/>
                    <a:gd name="T25" fmla="*/ 1067 h 1219"/>
                    <a:gd name="T26" fmla="*/ 521 w 649"/>
                    <a:gd name="T27" fmla="*/ 973 h 1219"/>
                    <a:gd name="T28" fmla="*/ 498 w 649"/>
                    <a:gd name="T29" fmla="*/ 838 h 1219"/>
                    <a:gd name="T30" fmla="*/ 521 w 649"/>
                    <a:gd name="T31" fmla="*/ 585 h 1219"/>
                    <a:gd name="T32" fmla="*/ 521 w 649"/>
                    <a:gd name="T33" fmla="*/ 443 h 1219"/>
                    <a:gd name="T34" fmla="*/ 632 w 649"/>
                    <a:gd name="T35" fmla="*/ 253 h 1219"/>
                    <a:gd name="T36" fmla="*/ 585 w 649"/>
                    <a:gd name="T37" fmla="*/ 174 h 1219"/>
                    <a:gd name="T38" fmla="*/ 601 w 649"/>
                    <a:gd name="T39" fmla="*/ 48 h 1219"/>
                    <a:gd name="T40" fmla="*/ 601 w 649"/>
                    <a:gd name="T41" fmla="*/ 0 h 1219"/>
                    <a:gd name="T42" fmla="*/ 0 w 649"/>
                    <a:gd name="T43" fmla="*/ 174 h 1219"/>
                    <a:gd name="T44" fmla="*/ 15 w 649"/>
                    <a:gd name="T45" fmla="*/ 269 h 1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49" h="1219">
                      <a:moveTo>
                        <a:pt x="15" y="269"/>
                      </a:moveTo>
                      <a:lnTo>
                        <a:pt x="15" y="269"/>
                      </a:lnTo>
                      <a:cubicBezTo>
                        <a:pt x="23" y="285"/>
                        <a:pt x="15" y="324"/>
                        <a:pt x="23" y="364"/>
                      </a:cubicBezTo>
                      <a:cubicBezTo>
                        <a:pt x="31" y="396"/>
                        <a:pt x="55" y="396"/>
                        <a:pt x="63" y="419"/>
                      </a:cubicBezTo>
                      <a:cubicBezTo>
                        <a:pt x="79" y="443"/>
                        <a:pt x="95" y="498"/>
                        <a:pt x="102" y="522"/>
                      </a:cubicBezTo>
                      <a:cubicBezTo>
                        <a:pt x="102" y="553"/>
                        <a:pt x="79" y="577"/>
                        <a:pt x="95" y="617"/>
                      </a:cubicBezTo>
                      <a:cubicBezTo>
                        <a:pt x="110" y="656"/>
                        <a:pt x="118" y="720"/>
                        <a:pt x="118" y="743"/>
                      </a:cubicBezTo>
                      <a:cubicBezTo>
                        <a:pt x="118" y="767"/>
                        <a:pt x="126" y="830"/>
                        <a:pt x="150" y="838"/>
                      </a:cubicBezTo>
                      <a:cubicBezTo>
                        <a:pt x="174" y="838"/>
                        <a:pt x="174" y="807"/>
                        <a:pt x="190" y="838"/>
                      </a:cubicBezTo>
                      <a:cubicBezTo>
                        <a:pt x="205" y="862"/>
                        <a:pt x="221" y="933"/>
                        <a:pt x="237" y="988"/>
                      </a:cubicBezTo>
                      <a:cubicBezTo>
                        <a:pt x="253" y="1044"/>
                        <a:pt x="284" y="1202"/>
                        <a:pt x="284" y="1210"/>
                      </a:cubicBezTo>
                      <a:cubicBezTo>
                        <a:pt x="292" y="1218"/>
                        <a:pt x="537" y="1139"/>
                        <a:pt x="537" y="1139"/>
                      </a:cubicBezTo>
                      <a:cubicBezTo>
                        <a:pt x="521" y="1139"/>
                        <a:pt x="521" y="1107"/>
                        <a:pt x="506" y="1067"/>
                      </a:cubicBezTo>
                      <a:cubicBezTo>
                        <a:pt x="490" y="1036"/>
                        <a:pt x="521" y="1012"/>
                        <a:pt x="521" y="973"/>
                      </a:cubicBezTo>
                      <a:cubicBezTo>
                        <a:pt x="529" y="941"/>
                        <a:pt x="529" y="917"/>
                        <a:pt x="498" y="838"/>
                      </a:cubicBezTo>
                      <a:cubicBezTo>
                        <a:pt x="466" y="751"/>
                        <a:pt x="506" y="625"/>
                        <a:pt x="521" y="585"/>
                      </a:cubicBezTo>
                      <a:cubicBezTo>
                        <a:pt x="537" y="538"/>
                        <a:pt x="616" y="482"/>
                        <a:pt x="521" y="443"/>
                      </a:cubicBezTo>
                      <a:cubicBezTo>
                        <a:pt x="419" y="403"/>
                        <a:pt x="608" y="269"/>
                        <a:pt x="632" y="253"/>
                      </a:cubicBezTo>
                      <a:cubicBezTo>
                        <a:pt x="648" y="229"/>
                        <a:pt x="616" y="198"/>
                        <a:pt x="585" y="174"/>
                      </a:cubicBezTo>
                      <a:cubicBezTo>
                        <a:pt x="561" y="143"/>
                        <a:pt x="601" y="71"/>
                        <a:pt x="601" y="48"/>
                      </a:cubicBezTo>
                      <a:cubicBezTo>
                        <a:pt x="601" y="24"/>
                        <a:pt x="601" y="0"/>
                        <a:pt x="601" y="0"/>
                      </a:cubicBezTo>
                      <a:cubicBezTo>
                        <a:pt x="593" y="24"/>
                        <a:pt x="292" y="103"/>
                        <a:pt x="0" y="174"/>
                      </a:cubicBezTo>
                      <a:cubicBezTo>
                        <a:pt x="0" y="198"/>
                        <a:pt x="8" y="253"/>
                        <a:pt x="15" y="26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9" name="Freeform 760">
                  <a:extLst>
                    <a:ext uri="{FF2B5EF4-FFF2-40B4-BE49-F238E27FC236}">
                      <a16:creationId xmlns:a16="http://schemas.microsoft.com/office/drawing/2014/main" id="{B0D73B62-C448-774E-90CC-345496A7EB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309600" y="4064743"/>
                  <a:ext cx="340939" cy="654044"/>
                </a:xfrm>
                <a:custGeom>
                  <a:avLst/>
                  <a:gdLst>
                    <a:gd name="T0" fmla="*/ 292 w 649"/>
                    <a:gd name="T1" fmla="*/ 1242 h 1243"/>
                    <a:gd name="T2" fmla="*/ 253 w 649"/>
                    <a:gd name="T3" fmla="*/ 1091 h 1243"/>
                    <a:gd name="T4" fmla="*/ 190 w 649"/>
                    <a:gd name="T5" fmla="*/ 862 h 1243"/>
                    <a:gd name="T6" fmla="*/ 174 w 649"/>
                    <a:gd name="T7" fmla="*/ 854 h 1243"/>
                    <a:gd name="T8" fmla="*/ 150 w 649"/>
                    <a:gd name="T9" fmla="*/ 862 h 1243"/>
                    <a:gd name="T10" fmla="*/ 95 w 649"/>
                    <a:gd name="T11" fmla="*/ 641 h 1243"/>
                    <a:gd name="T12" fmla="*/ 95 w 649"/>
                    <a:gd name="T13" fmla="*/ 554 h 1243"/>
                    <a:gd name="T14" fmla="*/ 47 w 649"/>
                    <a:gd name="T15" fmla="*/ 427 h 1243"/>
                    <a:gd name="T16" fmla="*/ 15 w 649"/>
                    <a:gd name="T17" fmla="*/ 340 h 1243"/>
                    <a:gd name="T18" fmla="*/ 0 w 649"/>
                    <a:gd name="T19" fmla="*/ 198 h 1243"/>
                    <a:gd name="T20" fmla="*/ 0 w 649"/>
                    <a:gd name="T21" fmla="*/ 190 h 1243"/>
                    <a:gd name="T22" fmla="*/ 593 w 649"/>
                    <a:gd name="T23" fmla="*/ 0 h 1243"/>
                    <a:gd name="T24" fmla="*/ 608 w 649"/>
                    <a:gd name="T25" fmla="*/ 72 h 1243"/>
                    <a:gd name="T26" fmla="*/ 593 w 649"/>
                    <a:gd name="T27" fmla="*/ 190 h 1243"/>
                    <a:gd name="T28" fmla="*/ 632 w 649"/>
                    <a:gd name="T29" fmla="*/ 277 h 1243"/>
                    <a:gd name="T30" fmla="*/ 498 w 649"/>
                    <a:gd name="T31" fmla="*/ 435 h 1243"/>
                    <a:gd name="T32" fmla="*/ 569 w 649"/>
                    <a:gd name="T33" fmla="*/ 506 h 1243"/>
                    <a:gd name="T34" fmla="*/ 521 w 649"/>
                    <a:gd name="T35" fmla="*/ 609 h 1243"/>
                    <a:gd name="T36" fmla="*/ 506 w 649"/>
                    <a:gd name="T37" fmla="*/ 862 h 1243"/>
                    <a:gd name="T38" fmla="*/ 529 w 649"/>
                    <a:gd name="T39" fmla="*/ 997 h 1243"/>
                    <a:gd name="T40" fmla="*/ 506 w 649"/>
                    <a:gd name="T41" fmla="*/ 1091 h 1243"/>
                    <a:gd name="T42" fmla="*/ 537 w 649"/>
                    <a:gd name="T43" fmla="*/ 1163 h 1243"/>
                    <a:gd name="T44" fmla="*/ 537 w 649"/>
                    <a:gd name="T45" fmla="*/ 1170 h 1243"/>
                    <a:gd name="T46" fmla="*/ 181 w 649"/>
                    <a:gd name="T47" fmla="*/ 846 h 1243"/>
                    <a:gd name="T48" fmla="*/ 197 w 649"/>
                    <a:gd name="T49" fmla="*/ 854 h 1243"/>
                    <a:gd name="T50" fmla="*/ 261 w 649"/>
                    <a:gd name="T51" fmla="*/ 1091 h 1243"/>
                    <a:gd name="T52" fmla="*/ 529 w 649"/>
                    <a:gd name="T53" fmla="*/ 1163 h 1243"/>
                    <a:gd name="T54" fmla="*/ 506 w 649"/>
                    <a:gd name="T55" fmla="*/ 1091 h 1243"/>
                    <a:gd name="T56" fmla="*/ 521 w 649"/>
                    <a:gd name="T57" fmla="*/ 997 h 1243"/>
                    <a:gd name="T58" fmla="*/ 498 w 649"/>
                    <a:gd name="T59" fmla="*/ 862 h 1243"/>
                    <a:gd name="T60" fmla="*/ 521 w 649"/>
                    <a:gd name="T61" fmla="*/ 601 h 1243"/>
                    <a:gd name="T62" fmla="*/ 561 w 649"/>
                    <a:gd name="T63" fmla="*/ 506 h 1243"/>
                    <a:gd name="T64" fmla="*/ 490 w 649"/>
                    <a:gd name="T65" fmla="*/ 435 h 1243"/>
                    <a:gd name="T66" fmla="*/ 624 w 649"/>
                    <a:gd name="T67" fmla="*/ 269 h 1243"/>
                    <a:gd name="T68" fmla="*/ 585 w 649"/>
                    <a:gd name="T69" fmla="*/ 198 h 1243"/>
                    <a:gd name="T70" fmla="*/ 601 w 649"/>
                    <a:gd name="T71" fmla="*/ 72 h 1243"/>
                    <a:gd name="T72" fmla="*/ 8 w 649"/>
                    <a:gd name="T73" fmla="*/ 198 h 1243"/>
                    <a:gd name="T74" fmla="*/ 23 w 649"/>
                    <a:gd name="T75" fmla="*/ 340 h 1243"/>
                    <a:gd name="T76" fmla="*/ 55 w 649"/>
                    <a:gd name="T77" fmla="*/ 420 h 1243"/>
                    <a:gd name="T78" fmla="*/ 102 w 649"/>
                    <a:gd name="T79" fmla="*/ 546 h 1243"/>
                    <a:gd name="T80" fmla="*/ 95 w 649"/>
                    <a:gd name="T81" fmla="*/ 641 h 1243"/>
                    <a:gd name="T82" fmla="*/ 150 w 649"/>
                    <a:gd name="T83" fmla="*/ 854 h 1243"/>
                    <a:gd name="T84" fmla="*/ 174 w 649"/>
                    <a:gd name="T85" fmla="*/ 846 h 1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649" h="1243">
                      <a:moveTo>
                        <a:pt x="292" y="1242"/>
                      </a:moveTo>
                      <a:lnTo>
                        <a:pt x="292" y="1242"/>
                      </a:lnTo>
                      <a:cubicBezTo>
                        <a:pt x="292" y="1242"/>
                        <a:pt x="284" y="1242"/>
                        <a:pt x="284" y="1234"/>
                      </a:cubicBezTo>
                      <a:cubicBezTo>
                        <a:pt x="284" y="1234"/>
                        <a:pt x="276" y="1186"/>
                        <a:pt x="253" y="1091"/>
                      </a:cubicBezTo>
                      <a:cubicBezTo>
                        <a:pt x="245" y="1060"/>
                        <a:pt x="237" y="1028"/>
                        <a:pt x="237" y="1012"/>
                      </a:cubicBezTo>
                      <a:cubicBezTo>
                        <a:pt x="213" y="933"/>
                        <a:pt x="197" y="886"/>
                        <a:pt x="190" y="862"/>
                      </a:cubicBezTo>
                      <a:cubicBezTo>
                        <a:pt x="181" y="854"/>
                        <a:pt x="181" y="854"/>
                        <a:pt x="181" y="854"/>
                      </a:cubicBezTo>
                      <a:cubicBezTo>
                        <a:pt x="181" y="854"/>
                        <a:pt x="181" y="854"/>
                        <a:pt x="174" y="854"/>
                      </a:cubicBezTo>
                      <a:cubicBezTo>
                        <a:pt x="174" y="862"/>
                        <a:pt x="166" y="862"/>
                        <a:pt x="158" y="862"/>
                      </a:cubicBezTo>
                      <a:cubicBezTo>
                        <a:pt x="150" y="862"/>
                        <a:pt x="150" y="862"/>
                        <a:pt x="150" y="862"/>
                      </a:cubicBezTo>
                      <a:cubicBezTo>
                        <a:pt x="126" y="854"/>
                        <a:pt x="118" y="799"/>
                        <a:pt x="118" y="767"/>
                      </a:cubicBezTo>
                      <a:cubicBezTo>
                        <a:pt x="118" y="744"/>
                        <a:pt x="102" y="673"/>
                        <a:pt x="95" y="641"/>
                      </a:cubicBezTo>
                      <a:cubicBezTo>
                        <a:pt x="87" y="617"/>
                        <a:pt x="87" y="601"/>
                        <a:pt x="95" y="577"/>
                      </a:cubicBezTo>
                      <a:cubicBezTo>
                        <a:pt x="95" y="570"/>
                        <a:pt x="95" y="562"/>
                        <a:pt x="95" y="554"/>
                      </a:cubicBezTo>
                      <a:cubicBezTo>
                        <a:pt x="95" y="522"/>
                        <a:pt x="79" y="467"/>
                        <a:pt x="63" y="443"/>
                      </a:cubicBezTo>
                      <a:cubicBezTo>
                        <a:pt x="63" y="435"/>
                        <a:pt x="55" y="427"/>
                        <a:pt x="47" y="427"/>
                      </a:cubicBezTo>
                      <a:cubicBezTo>
                        <a:pt x="39" y="420"/>
                        <a:pt x="31" y="411"/>
                        <a:pt x="23" y="388"/>
                      </a:cubicBezTo>
                      <a:cubicBezTo>
                        <a:pt x="15" y="372"/>
                        <a:pt x="15" y="356"/>
                        <a:pt x="15" y="340"/>
                      </a:cubicBezTo>
                      <a:cubicBezTo>
                        <a:pt x="15" y="317"/>
                        <a:pt x="15" y="301"/>
                        <a:pt x="8" y="293"/>
                      </a:cubicBezTo>
                      <a:cubicBezTo>
                        <a:pt x="0" y="277"/>
                        <a:pt x="0" y="238"/>
                        <a:pt x="0" y="198"/>
                      </a:cubicBezTo>
                      <a:cubicBezTo>
                        <a:pt x="0" y="190"/>
                        <a:pt x="0" y="190"/>
                        <a:pt x="0" y="190"/>
                      </a:cubicBezTo>
                      <a:lnTo>
                        <a:pt x="0" y="190"/>
                      </a:lnTo>
                      <a:cubicBezTo>
                        <a:pt x="545" y="64"/>
                        <a:pt x="593" y="24"/>
                        <a:pt x="593" y="24"/>
                      </a:cubicBezTo>
                      <a:cubicBezTo>
                        <a:pt x="593" y="0"/>
                        <a:pt x="593" y="0"/>
                        <a:pt x="593" y="0"/>
                      </a:cubicBezTo>
                      <a:cubicBezTo>
                        <a:pt x="601" y="24"/>
                        <a:pt x="601" y="24"/>
                        <a:pt x="601" y="24"/>
                      </a:cubicBezTo>
                      <a:cubicBezTo>
                        <a:pt x="601" y="24"/>
                        <a:pt x="608" y="48"/>
                        <a:pt x="608" y="72"/>
                      </a:cubicBezTo>
                      <a:cubicBezTo>
                        <a:pt x="608" y="80"/>
                        <a:pt x="601" y="87"/>
                        <a:pt x="601" y="103"/>
                      </a:cubicBezTo>
                      <a:cubicBezTo>
                        <a:pt x="585" y="127"/>
                        <a:pt x="569" y="174"/>
                        <a:pt x="593" y="190"/>
                      </a:cubicBezTo>
                      <a:cubicBezTo>
                        <a:pt x="593" y="198"/>
                        <a:pt x="601" y="198"/>
                        <a:pt x="601" y="206"/>
                      </a:cubicBezTo>
                      <a:cubicBezTo>
                        <a:pt x="624" y="230"/>
                        <a:pt x="648" y="253"/>
                        <a:pt x="632" y="277"/>
                      </a:cubicBezTo>
                      <a:cubicBezTo>
                        <a:pt x="632" y="285"/>
                        <a:pt x="624" y="285"/>
                        <a:pt x="608" y="301"/>
                      </a:cubicBezTo>
                      <a:cubicBezTo>
                        <a:pt x="569" y="333"/>
                        <a:pt x="490" y="396"/>
                        <a:pt x="498" y="435"/>
                      </a:cubicBezTo>
                      <a:cubicBezTo>
                        <a:pt x="498" y="443"/>
                        <a:pt x="506" y="459"/>
                        <a:pt x="521" y="459"/>
                      </a:cubicBezTo>
                      <a:cubicBezTo>
                        <a:pt x="545" y="475"/>
                        <a:pt x="561" y="491"/>
                        <a:pt x="569" y="506"/>
                      </a:cubicBezTo>
                      <a:cubicBezTo>
                        <a:pt x="577" y="530"/>
                        <a:pt x="561" y="546"/>
                        <a:pt x="545" y="570"/>
                      </a:cubicBezTo>
                      <a:cubicBezTo>
                        <a:pt x="537" y="586"/>
                        <a:pt x="529" y="593"/>
                        <a:pt x="521" y="609"/>
                      </a:cubicBezTo>
                      <a:lnTo>
                        <a:pt x="521" y="609"/>
                      </a:lnTo>
                      <a:cubicBezTo>
                        <a:pt x="514" y="657"/>
                        <a:pt x="474" y="783"/>
                        <a:pt x="506" y="862"/>
                      </a:cubicBezTo>
                      <a:cubicBezTo>
                        <a:pt x="529" y="941"/>
                        <a:pt x="529" y="965"/>
                        <a:pt x="529" y="997"/>
                      </a:cubicBezTo>
                      <a:lnTo>
                        <a:pt x="529" y="997"/>
                      </a:lnTo>
                      <a:cubicBezTo>
                        <a:pt x="521" y="1012"/>
                        <a:pt x="521" y="1028"/>
                        <a:pt x="514" y="1036"/>
                      </a:cubicBezTo>
                      <a:cubicBezTo>
                        <a:pt x="506" y="1052"/>
                        <a:pt x="498" y="1068"/>
                        <a:pt x="506" y="1091"/>
                      </a:cubicBezTo>
                      <a:cubicBezTo>
                        <a:pt x="514" y="1099"/>
                        <a:pt x="514" y="1115"/>
                        <a:pt x="521" y="1123"/>
                      </a:cubicBezTo>
                      <a:cubicBezTo>
                        <a:pt x="529" y="1147"/>
                        <a:pt x="529" y="1163"/>
                        <a:pt x="537" y="1163"/>
                      </a:cubicBezTo>
                      <a:cubicBezTo>
                        <a:pt x="553" y="1163"/>
                        <a:pt x="553" y="1163"/>
                        <a:pt x="553" y="1163"/>
                      </a:cubicBezTo>
                      <a:cubicBezTo>
                        <a:pt x="537" y="1170"/>
                        <a:pt x="537" y="1170"/>
                        <a:pt x="537" y="1170"/>
                      </a:cubicBezTo>
                      <a:cubicBezTo>
                        <a:pt x="529" y="1170"/>
                        <a:pt x="316" y="1242"/>
                        <a:pt x="292" y="1242"/>
                      </a:cubicBezTo>
                      <a:close/>
                      <a:moveTo>
                        <a:pt x="181" y="846"/>
                      </a:moveTo>
                      <a:lnTo>
                        <a:pt x="181" y="846"/>
                      </a:lnTo>
                      <a:cubicBezTo>
                        <a:pt x="190" y="846"/>
                        <a:pt x="190" y="846"/>
                        <a:pt x="197" y="854"/>
                      </a:cubicBezTo>
                      <a:cubicBezTo>
                        <a:pt x="213" y="886"/>
                        <a:pt x="229" y="957"/>
                        <a:pt x="237" y="1012"/>
                      </a:cubicBezTo>
                      <a:cubicBezTo>
                        <a:pt x="245" y="1028"/>
                        <a:pt x="253" y="1060"/>
                        <a:pt x="261" y="1091"/>
                      </a:cubicBezTo>
                      <a:cubicBezTo>
                        <a:pt x="268" y="1147"/>
                        <a:pt x="284" y="1218"/>
                        <a:pt x="292" y="1234"/>
                      </a:cubicBezTo>
                      <a:cubicBezTo>
                        <a:pt x="308" y="1234"/>
                        <a:pt x="450" y="1186"/>
                        <a:pt x="529" y="1163"/>
                      </a:cubicBezTo>
                      <a:cubicBezTo>
                        <a:pt x="521" y="1155"/>
                        <a:pt x="521" y="1147"/>
                        <a:pt x="514" y="1123"/>
                      </a:cubicBezTo>
                      <a:cubicBezTo>
                        <a:pt x="514" y="1115"/>
                        <a:pt x="506" y="1107"/>
                        <a:pt x="506" y="1091"/>
                      </a:cubicBezTo>
                      <a:cubicBezTo>
                        <a:pt x="490" y="1068"/>
                        <a:pt x="498" y="1052"/>
                        <a:pt x="506" y="1036"/>
                      </a:cubicBezTo>
                      <a:cubicBezTo>
                        <a:pt x="514" y="1020"/>
                        <a:pt x="521" y="1012"/>
                        <a:pt x="521" y="997"/>
                      </a:cubicBezTo>
                      <a:lnTo>
                        <a:pt x="521" y="997"/>
                      </a:lnTo>
                      <a:cubicBezTo>
                        <a:pt x="521" y="965"/>
                        <a:pt x="529" y="941"/>
                        <a:pt x="498" y="862"/>
                      </a:cubicBezTo>
                      <a:cubicBezTo>
                        <a:pt x="466" y="783"/>
                        <a:pt x="506" y="657"/>
                        <a:pt x="514" y="609"/>
                      </a:cubicBezTo>
                      <a:cubicBezTo>
                        <a:pt x="521" y="601"/>
                        <a:pt x="521" y="601"/>
                        <a:pt x="521" y="601"/>
                      </a:cubicBezTo>
                      <a:cubicBezTo>
                        <a:pt x="521" y="593"/>
                        <a:pt x="529" y="577"/>
                        <a:pt x="537" y="570"/>
                      </a:cubicBezTo>
                      <a:cubicBezTo>
                        <a:pt x="553" y="546"/>
                        <a:pt x="569" y="522"/>
                        <a:pt x="561" y="506"/>
                      </a:cubicBezTo>
                      <a:cubicBezTo>
                        <a:pt x="561" y="491"/>
                        <a:pt x="545" y="483"/>
                        <a:pt x="521" y="467"/>
                      </a:cubicBezTo>
                      <a:cubicBezTo>
                        <a:pt x="498" y="459"/>
                        <a:pt x="490" y="451"/>
                        <a:pt x="490" y="435"/>
                      </a:cubicBezTo>
                      <a:cubicBezTo>
                        <a:pt x="482" y="396"/>
                        <a:pt x="561" y="325"/>
                        <a:pt x="601" y="293"/>
                      </a:cubicBezTo>
                      <a:cubicBezTo>
                        <a:pt x="616" y="285"/>
                        <a:pt x="624" y="277"/>
                        <a:pt x="624" y="269"/>
                      </a:cubicBezTo>
                      <a:cubicBezTo>
                        <a:pt x="640" y="253"/>
                        <a:pt x="624" y="238"/>
                        <a:pt x="601" y="214"/>
                      </a:cubicBezTo>
                      <a:cubicBezTo>
                        <a:pt x="593" y="206"/>
                        <a:pt x="585" y="198"/>
                        <a:pt x="585" y="198"/>
                      </a:cubicBezTo>
                      <a:cubicBezTo>
                        <a:pt x="561" y="174"/>
                        <a:pt x="577" y="127"/>
                        <a:pt x="593" y="95"/>
                      </a:cubicBezTo>
                      <a:cubicBezTo>
                        <a:pt x="593" y="87"/>
                        <a:pt x="601" y="72"/>
                        <a:pt x="601" y="72"/>
                      </a:cubicBezTo>
                      <a:cubicBezTo>
                        <a:pt x="601" y="56"/>
                        <a:pt x="601" y="40"/>
                        <a:pt x="593" y="32"/>
                      </a:cubicBezTo>
                      <a:cubicBezTo>
                        <a:pt x="577" y="48"/>
                        <a:pt x="474" y="87"/>
                        <a:pt x="8" y="198"/>
                      </a:cubicBezTo>
                      <a:cubicBezTo>
                        <a:pt x="8" y="246"/>
                        <a:pt x="8" y="277"/>
                        <a:pt x="15" y="293"/>
                      </a:cubicBezTo>
                      <a:cubicBezTo>
                        <a:pt x="23" y="301"/>
                        <a:pt x="23" y="317"/>
                        <a:pt x="23" y="340"/>
                      </a:cubicBezTo>
                      <a:cubicBezTo>
                        <a:pt x="23" y="356"/>
                        <a:pt x="23" y="372"/>
                        <a:pt x="31" y="380"/>
                      </a:cubicBezTo>
                      <a:cubicBezTo>
                        <a:pt x="31" y="404"/>
                        <a:pt x="47" y="411"/>
                        <a:pt x="55" y="420"/>
                      </a:cubicBezTo>
                      <a:cubicBezTo>
                        <a:pt x="55" y="427"/>
                        <a:pt x="63" y="435"/>
                        <a:pt x="71" y="443"/>
                      </a:cubicBezTo>
                      <a:cubicBezTo>
                        <a:pt x="87" y="459"/>
                        <a:pt x="102" y="522"/>
                        <a:pt x="102" y="546"/>
                      </a:cubicBezTo>
                      <a:cubicBezTo>
                        <a:pt x="102" y="562"/>
                        <a:pt x="102" y="570"/>
                        <a:pt x="95" y="586"/>
                      </a:cubicBezTo>
                      <a:cubicBezTo>
                        <a:pt x="95" y="601"/>
                        <a:pt x="87" y="617"/>
                        <a:pt x="95" y="641"/>
                      </a:cubicBezTo>
                      <a:cubicBezTo>
                        <a:pt x="110" y="673"/>
                        <a:pt x="126" y="736"/>
                        <a:pt x="126" y="767"/>
                      </a:cubicBezTo>
                      <a:cubicBezTo>
                        <a:pt x="126" y="807"/>
                        <a:pt x="134" y="854"/>
                        <a:pt x="150" y="854"/>
                      </a:cubicBezTo>
                      <a:lnTo>
                        <a:pt x="158" y="854"/>
                      </a:lnTo>
                      <a:cubicBezTo>
                        <a:pt x="166" y="854"/>
                        <a:pt x="166" y="854"/>
                        <a:pt x="174" y="846"/>
                      </a:cubicBezTo>
                      <a:cubicBezTo>
                        <a:pt x="174" y="846"/>
                        <a:pt x="174" y="846"/>
                        <a:pt x="181" y="84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0" name="Freeform 761">
                  <a:extLst>
                    <a:ext uri="{FF2B5EF4-FFF2-40B4-BE49-F238E27FC236}">
                      <a16:creationId xmlns:a16="http://schemas.microsoft.com/office/drawing/2014/main" id="{5CED9780-216F-414F-B5C3-46A475FEA5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8035" y="4554116"/>
                  <a:ext cx="674919" cy="361812"/>
                </a:xfrm>
                <a:custGeom>
                  <a:avLst/>
                  <a:gdLst>
                    <a:gd name="T0" fmla="*/ 1241 w 1282"/>
                    <a:gd name="T1" fmla="*/ 404 h 689"/>
                    <a:gd name="T2" fmla="*/ 1241 w 1282"/>
                    <a:gd name="T3" fmla="*/ 404 h 689"/>
                    <a:gd name="T4" fmla="*/ 1186 w 1282"/>
                    <a:gd name="T5" fmla="*/ 324 h 689"/>
                    <a:gd name="T6" fmla="*/ 1107 w 1282"/>
                    <a:gd name="T7" fmla="*/ 309 h 689"/>
                    <a:gd name="T8" fmla="*/ 1139 w 1282"/>
                    <a:gd name="T9" fmla="*/ 340 h 689"/>
                    <a:gd name="T10" fmla="*/ 1170 w 1282"/>
                    <a:gd name="T11" fmla="*/ 364 h 689"/>
                    <a:gd name="T12" fmla="*/ 1194 w 1282"/>
                    <a:gd name="T13" fmla="*/ 388 h 689"/>
                    <a:gd name="T14" fmla="*/ 1218 w 1282"/>
                    <a:gd name="T15" fmla="*/ 427 h 689"/>
                    <a:gd name="T16" fmla="*/ 1170 w 1282"/>
                    <a:gd name="T17" fmla="*/ 451 h 689"/>
                    <a:gd name="T18" fmla="*/ 1131 w 1282"/>
                    <a:gd name="T19" fmla="*/ 482 h 689"/>
                    <a:gd name="T20" fmla="*/ 1076 w 1282"/>
                    <a:gd name="T21" fmla="*/ 475 h 689"/>
                    <a:gd name="T22" fmla="*/ 1044 w 1282"/>
                    <a:gd name="T23" fmla="*/ 467 h 689"/>
                    <a:gd name="T24" fmla="*/ 1004 w 1282"/>
                    <a:gd name="T25" fmla="*/ 419 h 689"/>
                    <a:gd name="T26" fmla="*/ 965 w 1282"/>
                    <a:gd name="T27" fmla="*/ 404 h 689"/>
                    <a:gd name="T28" fmla="*/ 981 w 1282"/>
                    <a:gd name="T29" fmla="*/ 356 h 689"/>
                    <a:gd name="T30" fmla="*/ 854 w 1282"/>
                    <a:gd name="T31" fmla="*/ 293 h 689"/>
                    <a:gd name="T32" fmla="*/ 830 w 1282"/>
                    <a:gd name="T33" fmla="*/ 253 h 689"/>
                    <a:gd name="T34" fmla="*/ 862 w 1282"/>
                    <a:gd name="T35" fmla="*/ 158 h 689"/>
                    <a:gd name="T36" fmla="*/ 909 w 1282"/>
                    <a:gd name="T37" fmla="*/ 119 h 689"/>
                    <a:gd name="T38" fmla="*/ 886 w 1282"/>
                    <a:gd name="T39" fmla="*/ 87 h 689"/>
                    <a:gd name="T40" fmla="*/ 823 w 1282"/>
                    <a:gd name="T41" fmla="*/ 79 h 689"/>
                    <a:gd name="T42" fmla="*/ 783 w 1282"/>
                    <a:gd name="T43" fmla="*/ 16 h 689"/>
                    <a:gd name="T44" fmla="*/ 775 w 1282"/>
                    <a:gd name="T45" fmla="*/ 8 h 689"/>
                    <a:gd name="T46" fmla="*/ 775 w 1282"/>
                    <a:gd name="T47" fmla="*/ 0 h 689"/>
                    <a:gd name="T48" fmla="*/ 664 w 1282"/>
                    <a:gd name="T49" fmla="*/ 127 h 689"/>
                    <a:gd name="T50" fmla="*/ 593 w 1282"/>
                    <a:gd name="T51" fmla="*/ 166 h 689"/>
                    <a:gd name="T52" fmla="*/ 253 w 1282"/>
                    <a:gd name="T53" fmla="*/ 230 h 689"/>
                    <a:gd name="T54" fmla="*/ 0 w 1282"/>
                    <a:gd name="T55" fmla="*/ 301 h 689"/>
                    <a:gd name="T56" fmla="*/ 0 w 1282"/>
                    <a:gd name="T57" fmla="*/ 625 h 689"/>
                    <a:gd name="T58" fmla="*/ 16 w 1282"/>
                    <a:gd name="T59" fmla="*/ 633 h 689"/>
                    <a:gd name="T60" fmla="*/ 506 w 1282"/>
                    <a:gd name="T61" fmla="*/ 506 h 689"/>
                    <a:gd name="T62" fmla="*/ 585 w 1282"/>
                    <a:gd name="T63" fmla="*/ 506 h 689"/>
                    <a:gd name="T64" fmla="*/ 704 w 1282"/>
                    <a:gd name="T65" fmla="*/ 475 h 689"/>
                    <a:gd name="T66" fmla="*/ 759 w 1282"/>
                    <a:gd name="T67" fmla="*/ 546 h 689"/>
                    <a:gd name="T68" fmla="*/ 775 w 1282"/>
                    <a:gd name="T69" fmla="*/ 554 h 689"/>
                    <a:gd name="T70" fmla="*/ 838 w 1282"/>
                    <a:gd name="T71" fmla="*/ 609 h 689"/>
                    <a:gd name="T72" fmla="*/ 846 w 1282"/>
                    <a:gd name="T73" fmla="*/ 672 h 689"/>
                    <a:gd name="T74" fmla="*/ 925 w 1282"/>
                    <a:gd name="T75" fmla="*/ 641 h 689"/>
                    <a:gd name="T76" fmla="*/ 981 w 1282"/>
                    <a:gd name="T77" fmla="*/ 546 h 689"/>
                    <a:gd name="T78" fmla="*/ 1028 w 1282"/>
                    <a:gd name="T79" fmla="*/ 585 h 689"/>
                    <a:gd name="T80" fmla="*/ 1083 w 1282"/>
                    <a:gd name="T81" fmla="*/ 593 h 689"/>
                    <a:gd name="T82" fmla="*/ 1131 w 1282"/>
                    <a:gd name="T83" fmla="*/ 530 h 689"/>
                    <a:gd name="T84" fmla="*/ 1154 w 1282"/>
                    <a:gd name="T85" fmla="*/ 530 h 689"/>
                    <a:gd name="T86" fmla="*/ 1194 w 1282"/>
                    <a:gd name="T87" fmla="*/ 498 h 689"/>
                    <a:gd name="T88" fmla="*/ 1234 w 1282"/>
                    <a:gd name="T89" fmla="*/ 498 h 689"/>
                    <a:gd name="T90" fmla="*/ 1257 w 1282"/>
                    <a:gd name="T91" fmla="*/ 475 h 689"/>
                    <a:gd name="T92" fmla="*/ 1265 w 1282"/>
                    <a:gd name="T93" fmla="*/ 554 h 689"/>
                    <a:gd name="T94" fmla="*/ 1273 w 1282"/>
                    <a:gd name="T95" fmla="*/ 530 h 689"/>
                    <a:gd name="T96" fmla="*/ 1241 w 1282"/>
                    <a:gd name="T97" fmla="*/ 404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82" h="689">
                      <a:moveTo>
                        <a:pt x="1241" y="404"/>
                      </a:moveTo>
                      <a:lnTo>
                        <a:pt x="1241" y="404"/>
                      </a:lnTo>
                      <a:cubicBezTo>
                        <a:pt x="1210" y="348"/>
                        <a:pt x="1218" y="332"/>
                        <a:pt x="1186" y="324"/>
                      </a:cubicBezTo>
                      <a:cubicBezTo>
                        <a:pt x="1154" y="317"/>
                        <a:pt x="1107" y="285"/>
                        <a:pt x="1107" y="309"/>
                      </a:cubicBezTo>
                      <a:cubicBezTo>
                        <a:pt x="1107" y="332"/>
                        <a:pt x="1115" y="332"/>
                        <a:pt x="1139" y="340"/>
                      </a:cubicBezTo>
                      <a:cubicBezTo>
                        <a:pt x="1154" y="340"/>
                        <a:pt x="1170" y="340"/>
                        <a:pt x="1170" y="364"/>
                      </a:cubicBezTo>
                      <a:cubicBezTo>
                        <a:pt x="1162" y="388"/>
                        <a:pt x="1178" y="388"/>
                        <a:pt x="1194" y="388"/>
                      </a:cubicBezTo>
                      <a:cubicBezTo>
                        <a:pt x="1210" y="388"/>
                        <a:pt x="1234" y="404"/>
                        <a:pt x="1218" y="427"/>
                      </a:cubicBezTo>
                      <a:cubicBezTo>
                        <a:pt x="1210" y="443"/>
                        <a:pt x="1178" y="435"/>
                        <a:pt x="1170" y="451"/>
                      </a:cubicBezTo>
                      <a:cubicBezTo>
                        <a:pt x="1162" y="475"/>
                        <a:pt x="1154" y="490"/>
                        <a:pt x="1131" y="482"/>
                      </a:cubicBezTo>
                      <a:cubicBezTo>
                        <a:pt x="1115" y="482"/>
                        <a:pt x="1083" y="467"/>
                        <a:pt x="1076" y="475"/>
                      </a:cubicBezTo>
                      <a:cubicBezTo>
                        <a:pt x="1060" y="490"/>
                        <a:pt x="1067" y="498"/>
                        <a:pt x="1044" y="467"/>
                      </a:cubicBezTo>
                      <a:cubicBezTo>
                        <a:pt x="1020" y="427"/>
                        <a:pt x="1028" y="419"/>
                        <a:pt x="1004" y="419"/>
                      </a:cubicBezTo>
                      <a:cubicBezTo>
                        <a:pt x="973" y="411"/>
                        <a:pt x="941" y="419"/>
                        <a:pt x="965" y="404"/>
                      </a:cubicBezTo>
                      <a:cubicBezTo>
                        <a:pt x="981" y="380"/>
                        <a:pt x="996" y="380"/>
                        <a:pt x="981" y="356"/>
                      </a:cubicBezTo>
                      <a:cubicBezTo>
                        <a:pt x="957" y="340"/>
                        <a:pt x="894" y="301"/>
                        <a:pt x="854" y="293"/>
                      </a:cubicBezTo>
                      <a:cubicBezTo>
                        <a:pt x="814" y="285"/>
                        <a:pt x="814" y="285"/>
                        <a:pt x="830" y="253"/>
                      </a:cubicBezTo>
                      <a:cubicBezTo>
                        <a:pt x="846" y="222"/>
                        <a:pt x="830" y="166"/>
                        <a:pt x="862" y="158"/>
                      </a:cubicBezTo>
                      <a:cubicBezTo>
                        <a:pt x="894" y="143"/>
                        <a:pt x="909" y="135"/>
                        <a:pt x="909" y="119"/>
                      </a:cubicBezTo>
                      <a:cubicBezTo>
                        <a:pt x="917" y="103"/>
                        <a:pt x="909" y="87"/>
                        <a:pt x="886" y="87"/>
                      </a:cubicBezTo>
                      <a:cubicBezTo>
                        <a:pt x="870" y="95"/>
                        <a:pt x="838" y="119"/>
                        <a:pt x="823" y="79"/>
                      </a:cubicBezTo>
                      <a:cubicBezTo>
                        <a:pt x="814" y="40"/>
                        <a:pt x="799" y="24"/>
                        <a:pt x="783" y="16"/>
                      </a:cubicBezTo>
                      <a:cubicBezTo>
                        <a:pt x="783" y="8"/>
                        <a:pt x="783" y="8"/>
                        <a:pt x="775" y="8"/>
                      </a:cubicBezTo>
                      <a:cubicBezTo>
                        <a:pt x="775" y="8"/>
                        <a:pt x="767" y="8"/>
                        <a:pt x="775" y="0"/>
                      </a:cubicBezTo>
                      <a:cubicBezTo>
                        <a:pt x="775" y="0"/>
                        <a:pt x="680" y="103"/>
                        <a:pt x="664" y="127"/>
                      </a:cubicBezTo>
                      <a:cubicBezTo>
                        <a:pt x="649" y="158"/>
                        <a:pt x="649" y="158"/>
                        <a:pt x="593" y="166"/>
                      </a:cubicBezTo>
                      <a:cubicBezTo>
                        <a:pt x="546" y="166"/>
                        <a:pt x="269" y="237"/>
                        <a:pt x="253" y="230"/>
                      </a:cubicBezTo>
                      <a:cubicBezTo>
                        <a:pt x="253" y="230"/>
                        <a:pt x="8" y="309"/>
                        <a:pt x="0" y="301"/>
                      </a:cubicBezTo>
                      <a:cubicBezTo>
                        <a:pt x="0" y="625"/>
                        <a:pt x="0" y="625"/>
                        <a:pt x="0" y="625"/>
                      </a:cubicBezTo>
                      <a:cubicBezTo>
                        <a:pt x="0" y="625"/>
                        <a:pt x="0" y="641"/>
                        <a:pt x="16" y="633"/>
                      </a:cubicBezTo>
                      <a:cubicBezTo>
                        <a:pt x="32" y="625"/>
                        <a:pt x="475" y="522"/>
                        <a:pt x="506" y="506"/>
                      </a:cubicBezTo>
                      <a:cubicBezTo>
                        <a:pt x="538" y="490"/>
                        <a:pt x="577" y="506"/>
                        <a:pt x="585" y="506"/>
                      </a:cubicBezTo>
                      <a:cubicBezTo>
                        <a:pt x="593" y="514"/>
                        <a:pt x="672" y="467"/>
                        <a:pt x="704" y="475"/>
                      </a:cubicBezTo>
                      <a:cubicBezTo>
                        <a:pt x="720" y="482"/>
                        <a:pt x="743" y="522"/>
                        <a:pt x="759" y="546"/>
                      </a:cubicBezTo>
                      <a:cubicBezTo>
                        <a:pt x="759" y="546"/>
                        <a:pt x="767" y="546"/>
                        <a:pt x="775" y="554"/>
                      </a:cubicBezTo>
                      <a:cubicBezTo>
                        <a:pt x="807" y="593"/>
                        <a:pt x="830" y="562"/>
                        <a:pt x="838" y="609"/>
                      </a:cubicBezTo>
                      <a:cubicBezTo>
                        <a:pt x="846" y="657"/>
                        <a:pt x="814" y="664"/>
                        <a:pt x="846" y="672"/>
                      </a:cubicBezTo>
                      <a:cubicBezTo>
                        <a:pt x="886" y="688"/>
                        <a:pt x="886" y="680"/>
                        <a:pt x="925" y="641"/>
                      </a:cubicBezTo>
                      <a:cubicBezTo>
                        <a:pt x="965" y="593"/>
                        <a:pt x="933" y="554"/>
                        <a:pt x="981" y="546"/>
                      </a:cubicBezTo>
                      <a:cubicBezTo>
                        <a:pt x="1028" y="538"/>
                        <a:pt x="1028" y="562"/>
                        <a:pt x="1028" y="585"/>
                      </a:cubicBezTo>
                      <a:cubicBezTo>
                        <a:pt x="1028" y="609"/>
                        <a:pt x="1067" y="617"/>
                        <a:pt x="1083" y="593"/>
                      </a:cubicBezTo>
                      <a:cubicBezTo>
                        <a:pt x="1091" y="562"/>
                        <a:pt x="1123" y="530"/>
                        <a:pt x="1131" y="530"/>
                      </a:cubicBezTo>
                      <a:cubicBezTo>
                        <a:pt x="1131" y="530"/>
                        <a:pt x="1139" y="562"/>
                        <a:pt x="1154" y="530"/>
                      </a:cubicBezTo>
                      <a:cubicBezTo>
                        <a:pt x="1178" y="498"/>
                        <a:pt x="1162" y="490"/>
                        <a:pt x="1194" y="498"/>
                      </a:cubicBezTo>
                      <a:cubicBezTo>
                        <a:pt x="1226" y="514"/>
                        <a:pt x="1234" y="522"/>
                        <a:pt x="1234" y="498"/>
                      </a:cubicBezTo>
                      <a:cubicBezTo>
                        <a:pt x="1234" y="482"/>
                        <a:pt x="1257" y="451"/>
                        <a:pt x="1257" y="475"/>
                      </a:cubicBezTo>
                      <a:cubicBezTo>
                        <a:pt x="1265" y="506"/>
                        <a:pt x="1249" y="530"/>
                        <a:pt x="1265" y="554"/>
                      </a:cubicBezTo>
                      <a:cubicBezTo>
                        <a:pt x="1273" y="570"/>
                        <a:pt x="1265" y="562"/>
                        <a:pt x="1273" y="530"/>
                      </a:cubicBezTo>
                      <a:cubicBezTo>
                        <a:pt x="1281" y="506"/>
                        <a:pt x="1273" y="451"/>
                        <a:pt x="1241" y="404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1" name="Freeform 762">
                  <a:extLst>
                    <a:ext uri="{FF2B5EF4-FFF2-40B4-BE49-F238E27FC236}">
                      <a16:creationId xmlns:a16="http://schemas.microsoft.com/office/drawing/2014/main" id="{285FDB33-B3A6-BC42-A6D9-27FD2637AC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3397" y="4554116"/>
                  <a:ext cx="679557" cy="361812"/>
                </a:xfrm>
                <a:custGeom>
                  <a:avLst/>
                  <a:gdLst>
                    <a:gd name="T0" fmla="*/ 838 w 1290"/>
                    <a:gd name="T1" fmla="*/ 664 h 689"/>
                    <a:gd name="T2" fmla="*/ 783 w 1290"/>
                    <a:gd name="T3" fmla="*/ 562 h 689"/>
                    <a:gd name="T4" fmla="*/ 712 w 1290"/>
                    <a:gd name="T5" fmla="*/ 482 h 689"/>
                    <a:gd name="T6" fmla="*/ 514 w 1290"/>
                    <a:gd name="T7" fmla="*/ 514 h 689"/>
                    <a:gd name="T8" fmla="*/ 0 w 1290"/>
                    <a:gd name="T9" fmla="*/ 625 h 689"/>
                    <a:gd name="T10" fmla="*/ 261 w 1290"/>
                    <a:gd name="T11" fmla="*/ 230 h 689"/>
                    <a:gd name="T12" fmla="*/ 609 w 1290"/>
                    <a:gd name="T13" fmla="*/ 158 h 689"/>
                    <a:gd name="T14" fmla="*/ 783 w 1290"/>
                    <a:gd name="T15" fmla="*/ 0 h 689"/>
                    <a:gd name="T16" fmla="*/ 799 w 1290"/>
                    <a:gd name="T17" fmla="*/ 8 h 689"/>
                    <a:gd name="T18" fmla="*/ 878 w 1290"/>
                    <a:gd name="T19" fmla="*/ 95 h 689"/>
                    <a:gd name="T20" fmla="*/ 870 w 1290"/>
                    <a:gd name="T21" fmla="*/ 158 h 689"/>
                    <a:gd name="T22" fmla="*/ 854 w 1290"/>
                    <a:gd name="T23" fmla="*/ 293 h 689"/>
                    <a:gd name="T24" fmla="*/ 989 w 1290"/>
                    <a:gd name="T25" fmla="*/ 388 h 689"/>
                    <a:gd name="T26" fmla="*/ 1012 w 1290"/>
                    <a:gd name="T27" fmla="*/ 411 h 689"/>
                    <a:gd name="T28" fmla="*/ 1075 w 1290"/>
                    <a:gd name="T29" fmla="*/ 482 h 689"/>
                    <a:gd name="T30" fmla="*/ 1147 w 1290"/>
                    <a:gd name="T31" fmla="*/ 482 h 689"/>
                    <a:gd name="T32" fmla="*/ 1226 w 1290"/>
                    <a:gd name="T33" fmla="*/ 404 h 689"/>
                    <a:gd name="T34" fmla="*/ 1170 w 1290"/>
                    <a:gd name="T35" fmla="*/ 348 h 689"/>
                    <a:gd name="T36" fmla="*/ 1123 w 1290"/>
                    <a:gd name="T37" fmla="*/ 301 h 689"/>
                    <a:gd name="T38" fmla="*/ 1257 w 1290"/>
                    <a:gd name="T39" fmla="*/ 395 h 689"/>
                    <a:gd name="T40" fmla="*/ 1265 w 1290"/>
                    <a:gd name="T41" fmla="*/ 554 h 689"/>
                    <a:gd name="T42" fmla="*/ 1242 w 1290"/>
                    <a:gd name="T43" fmla="*/ 498 h 689"/>
                    <a:gd name="T44" fmla="*/ 1186 w 1290"/>
                    <a:gd name="T45" fmla="*/ 498 h 689"/>
                    <a:gd name="T46" fmla="*/ 1139 w 1290"/>
                    <a:gd name="T47" fmla="*/ 538 h 689"/>
                    <a:gd name="T48" fmla="*/ 1028 w 1290"/>
                    <a:gd name="T49" fmla="*/ 585 h 689"/>
                    <a:gd name="T50" fmla="*/ 965 w 1290"/>
                    <a:gd name="T51" fmla="*/ 585 h 689"/>
                    <a:gd name="T52" fmla="*/ 767 w 1290"/>
                    <a:gd name="T53" fmla="*/ 538 h 689"/>
                    <a:gd name="T54" fmla="*/ 846 w 1290"/>
                    <a:gd name="T55" fmla="*/ 609 h 689"/>
                    <a:gd name="T56" fmla="*/ 886 w 1290"/>
                    <a:gd name="T57" fmla="*/ 680 h 689"/>
                    <a:gd name="T58" fmla="*/ 989 w 1290"/>
                    <a:gd name="T59" fmla="*/ 546 h 689"/>
                    <a:gd name="T60" fmla="*/ 1068 w 1290"/>
                    <a:gd name="T61" fmla="*/ 601 h 689"/>
                    <a:gd name="T62" fmla="*/ 1147 w 1290"/>
                    <a:gd name="T63" fmla="*/ 546 h 689"/>
                    <a:gd name="T64" fmla="*/ 1202 w 1290"/>
                    <a:gd name="T65" fmla="*/ 498 h 689"/>
                    <a:gd name="T66" fmla="*/ 1265 w 1290"/>
                    <a:gd name="T67" fmla="*/ 467 h 689"/>
                    <a:gd name="T68" fmla="*/ 1273 w 1290"/>
                    <a:gd name="T69" fmla="*/ 554 h 689"/>
                    <a:gd name="T70" fmla="*/ 1226 w 1290"/>
                    <a:gd name="T71" fmla="*/ 364 h 689"/>
                    <a:gd name="T72" fmla="*/ 1115 w 1290"/>
                    <a:gd name="T73" fmla="*/ 309 h 689"/>
                    <a:gd name="T74" fmla="*/ 1178 w 1290"/>
                    <a:gd name="T75" fmla="*/ 364 h 689"/>
                    <a:gd name="T76" fmla="*/ 1234 w 1290"/>
                    <a:gd name="T77" fmla="*/ 427 h 689"/>
                    <a:gd name="T78" fmla="*/ 1139 w 1290"/>
                    <a:gd name="T79" fmla="*/ 490 h 689"/>
                    <a:gd name="T80" fmla="*/ 1075 w 1290"/>
                    <a:gd name="T81" fmla="*/ 490 h 689"/>
                    <a:gd name="T82" fmla="*/ 1012 w 1290"/>
                    <a:gd name="T83" fmla="*/ 419 h 689"/>
                    <a:gd name="T84" fmla="*/ 981 w 1290"/>
                    <a:gd name="T85" fmla="*/ 380 h 689"/>
                    <a:gd name="T86" fmla="*/ 854 w 1290"/>
                    <a:gd name="T87" fmla="*/ 293 h 689"/>
                    <a:gd name="T88" fmla="*/ 870 w 1290"/>
                    <a:gd name="T89" fmla="*/ 151 h 689"/>
                    <a:gd name="T90" fmla="*/ 886 w 1290"/>
                    <a:gd name="T91" fmla="*/ 103 h 689"/>
                    <a:gd name="T92" fmla="*/ 783 w 1290"/>
                    <a:gd name="T93" fmla="*/ 8 h 689"/>
                    <a:gd name="T94" fmla="*/ 617 w 1290"/>
                    <a:gd name="T95" fmla="*/ 166 h 689"/>
                    <a:gd name="T96" fmla="*/ 16 w 1290"/>
                    <a:gd name="T97" fmla="*/ 309 h 689"/>
                    <a:gd name="T98" fmla="*/ 135 w 1290"/>
                    <a:gd name="T99" fmla="*/ 601 h 689"/>
                    <a:gd name="T100" fmla="*/ 704 w 1290"/>
                    <a:gd name="T101" fmla="*/ 475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290" h="689">
                      <a:moveTo>
                        <a:pt x="886" y="688"/>
                      </a:moveTo>
                      <a:lnTo>
                        <a:pt x="886" y="688"/>
                      </a:lnTo>
                      <a:cubicBezTo>
                        <a:pt x="878" y="688"/>
                        <a:pt x="870" y="680"/>
                        <a:pt x="854" y="680"/>
                      </a:cubicBezTo>
                      <a:cubicBezTo>
                        <a:pt x="846" y="672"/>
                        <a:pt x="838" y="672"/>
                        <a:pt x="838" y="664"/>
                      </a:cubicBezTo>
                      <a:cubicBezTo>
                        <a:pt x="831" y="664"/>
                        <a:pt x="838" y="657"/>
                        <a:pt x="838" y="648"/>
                      </a:cubicBezTo>
                      <a:cubicBezTo>
                        <a:pt x="838" y="641"/>
                        <a:pt x="846" y="633"/>
                        <a:pt x="846" y="609"/>
                      </a:cubicBezTo>
                      <a:cubicBezTo>
                        <a:pt x="838" y="585"/>
                        <a:pt x="831" y="585"/>
                        <a:pt x="822" y="585"/>
                      </a:cubicBezTo>
                      <a:cubicBezTo>
                        <a:pt x="807" y="577"/>
                        <a:pt x="799" y="577"/>
                        <a:pt x="783" y="562"/>
                      </a:cubicBezTo>
                      <a:cubicBezTo>
                        <a:pt x="767" y="546"/>
                        <a:pt x="767" y="546"/>
                        <a:pt x="767" y="546"/>
                      </a:cubicBezTo>
                      <a:cubicBezTo>
                        <a:pt x="759" y="546"/>
                        <a:pt x="759" y="546"/>
                        <a:pt x="759" y="546"/>
                      </a:cubicBezTo>
                      <a:lnTo>
                        <a:pt x="759" y="546"/>
                      </a:lnTo>
                      <a:cubicBezTo>
                        <a:pt x="744" y="506"/>
                        <a:pt x="720" y="482"/>
                        <a:pt x="712" y="482"/>
                      </a:cubicBezTo>
                      <a:cubicBezTo>
                        <a:pt x="704" y="482"/>
                        <a:pt x="704" y="482"/>
                        <a:pt x="704" y="482"/>
                      </a:cubicBezTo>
                      <a:cubicBezTo>
                        <a:pt x="680" y="482"/>
                        <a:pt x="649" y="490"/>
                        <a:pt x="625" y="498"/>
                      </a:cubicBezTo>
                      <a:cubicBezTo>
                        <a:pt x="609" y="514"/>
                        <a:pt x="593" y="514"/>
                        <a:pt x="593" y="514"/>
                      </a:cubicBezTo>
                      <a:cubicBezTo>
                        <a:pt x="562" y="498"/>
                        <a:pt x="530" y="498"/>
                        <a:pt x="514" y="514"/>
                      </a:cubicBezTo>
                      <a:cubicBezTo>
                        <a:pt x="491" y="522"/>
                        <a:pt x="277" y="577"/>
                        <a:pt x="135" y="609"/>
                      </a:cubicBezTo>
                      <a:cubicBezTo>
                        <a:pt x="79" y="625"/>
                        <a:pt x="24" y="633"/>
                        <a:pt x="24" y="641"/>
                      </a:cubicBezTo>
                      <a:lnTo>
                        <a:pt x="16" y="641"/>
                      </a:lnTo>
                      <a:cubicBezTo>
                        <a:pt x="8" y="641"/>
                        <a:pt x="0" y="633"/>
                        <a:pt x="0" y="625"/>
                      </a:cubicBezTo>
                      <a:cubicBezTo>
                        <a:pt x="8" y="293"/>
                        <a:pt x="8" y="293"/>
                        <a:pt x="8" y="293"/>
                      </a:cubicBezTo>
                      <a:cubicBezTo>
                        <a:pt x="16" y="301"/>
                        <a:pt x="16" y="301"/>
                        <a:pt x="16" y="301"/>
                      </a:cubicBezTo>
                      <a:cubicBezTo>
                        <a:pt x="32" y="293"/>
                        <a:pt x="182" y="253"/>
                        <a:pt x="261" y="230"/>
                      </a:cubicBezTo>
                      <a:lnTo>
                        <a:pt x="261" y="230"/>
                      </a:lnTo>
                      <a:lnTo>
                        <a:pt x="261" y="230"/>
                      </a:lnTo>
                      <a:cubicBezTo>
                        <a:pt x="269" y="230"/>
                        <a:pt x="340" y="214"/>
                        <a:pt x="411" y="198"/>
                      </a:cubicBezTo>
                      <a:cubicBezTo>
                        <a:pt x="483" y="182"/>
                        <a:pt x="578" y="166"/>
                        <a:pt x="601" y="158"/>
                      </a:cubicBezTo>
                      <a:cubicBezTo>
                        <a:pt x="609" y="158"/>
                        <a:pt x="609" y="158"/>
                        <a:pt x="609" y="158"/>
                      </a:cubicBezTo>
                      <a:cubicBezTo>
                        <a:pt x="657" y="151"/>
                        <a:pt x="657" y="151"/>
                        <a:pt x="672" y="127"/>
                      </a:cubicBezTo>
                      <a:cubicBezTo>
                        <a:pt x="688" y="95"/>
                        <a:pt x="775" y="0"/>
                        <a:pt x="775" y="0"/>
                      </a:cubicBezTo>
                      <a:cubicBezTo>
                        <a:pt x="783" y="0"/>
                        <a:pt x="783" y="0"/>
                        <a:pt x="783" y="0"/>
                      </a:cubicBezTo>
                      <a:lnTo>
                        <a:pt x="783" y="0"/>
                      </a:lnTo>
                      <a:lnTo>
                        <a:pt x="783" y="0"/>
                      </a:lnTo>
                      <a:cubicBezTo>
                        <a:pt x="791" y="8"/>
                        <a:pt x="791" y="8"/>
                        <a:pt x="791" y="8"/>
                      </a:cubicBezTo>
                      <a:lnTo>
                        <a:pt x="791" y="8"/>
                      </a:lnTo>
                      <a:cubicBezTo>
                        <a:pt x="799" y="8"/>
                        <a:pt x="799" y="8"/>
                        <a:pt x="799" y="8"/>
                      </a:cubicBezTo>
                      <a:lnTo>
                        <a:pt x="799" y="8"/>
                      </a:lnTo>
                      <a:cubicBezTo>
                        <a:pt x="815" y="24"/>
                        <a:pt x="822" y="48"/>
                        <a:pt x="838" y="79"/>
                      </a:cubicBezTo>
                      <a:cubicBezTo>
                        <a:pt x="838" y="95"/>
                        <a:pt x="846" y="103"/>
                        <a:pt x="854" y="103"/>
                      </a:cubicBezTo>
                      <a:cubicBezTo>
                        <a:pt x="862" y="103"/>
                        <a:pt x="870" y="95"/>
                        <a:pt x="878" y="95"/>
                      </a:cubicBezTo>
                      <a:cubicBezTo>
                        <a:pt x="886" y="87"/>
                        <a:pt x="886" y="87"/>
                        <a:pt x="894" y="87"/>
                      </a:cubicBezTo>
                      <a:cubicBezTo>
                        <a:pt x="902" y="87"/>
                        <a:pt x="909" y="87"/>
                        <a:pt x="917" y="95"/>
                      </a:cubicBezTo>
                      <a:cubicBezTo>
                        <a:pt x="925" y="103"/>
                        <a:pt x="925" y="111"/>
                        <a:pt x="925" y="119"/>
                      </a:cubicBezTo>
                      <a:cubicBezTo>
                        <a:pt x="925" y="135"/>
                        <a:pt x="902" y="151"/>
                        <a:pt x="870" y="158"/>
                      </a:cubicBezTo>
                      <a:cubicBezTo>
                        <a:pt x="854" y="166"/>
                        <a:pt x="854" y="182"/>
                        <a:pt x="854" y="206"/>
                      </a:cubicBezTo>
                      <a:cubicBezTo>
                        <a:pt x="846" y="222"/>
                        <a:pt x="846" y="237"/>
                        <a:pt x="838" y="253"/>
                      </a:cubicBezTo>
                      <a:cubicBezTo>
                        <a:pt x="838" y="269"/>
                        <a:pt x="831" y="277"/>
                        <a:pt x="831" y="285"/>
                      </a:cubicBezTo>
                      <a:cubicBezTo>
                        <a:pt x="831" y="285"/>
                        <a:pt x="838" y="285"/>
                        <a:pt x="854" y="293"/>
                      </a:cubicBezTo>
                      <a:cubicBezTo>
                        <a:pt x="862" y="293"/>
                        <a:pt x="862" y="293"/>
                        <a:pt x="862" y="293"/>
                      </a:cubicBezTo>
                      <a:cubicBezTo>
                        <a:pt x="902" y="301"/>
                        <a:pt x="965" y="340"/>
                        <a:pt x="989" y="356"/>
                      </a:cubicBezTo>
                      <a:cubicBezTo>
                        <a:pt x="997" y="364"/>
                        <a:pt x="997" y="372"/>
                        <a:pt x="997" y="372"/>
                      </a:cubicBezTo>
                      <a:cubicBezTo>
                        <a:pt x="997" y="380"/>
                        <a:pt x="997" y="388"/>
                        <a:pt x="989" y="388"/>
                      </a:cubicBezTo>
                      <a:cubicBezTo>
                        <a:pt x="989" y="395"/>
                        <a:pt x="981" y="395"/>
                        <a:pt x="973" y="404"/>
                      </a:cubicBezTo>
                      <a:cubicBezTo>
                        <a:pt x="973" y="411"/>
                        <a:pt x="973" y="411"/>
                        <a:pt x="973" y="411"/>
                      </a:cubicBezTo>
                      <a:cubicBezTo>
                        <a:pt x="973" y="411"/>
                        <a:pt x="981" y="411"/>
                        <a:pt x="989" y="411"/>
                      </a:cubicBezTo>
                      <a:cubicBezTo>
                        <a:pt x="997" y="411"/>
                        <a:pt x="1004" y="411"/>
                        <a:pt x="1012" y="411"/>
                      </a:cubicBezTo>
                      <a:cubicBezTo>
                        <a:pt x="1028" y="411"/>
                        <a:pt x="1036" y="419"/>
                        <a:pt x="1044" y="435"/>
                      </a:cubicBezTo>
                      <a:cubicBezTo>
                        <a:pt x="1044" y="443"/>
                        <a:pt x="1044" y="451"/>
                        <a:pt x="1052" y="467"/>
                      </a:cubicBezTo>
                      <a:cubicBezTo>
                        <a:pt x="1060" y="467"/>
                        <a:pt x="1068" y="482"/>
                        <a:pt x="1068" y="490"/>
                      </a:cubicBezTo>
                      <a:lnTo>
                        <a:pt x="1075" y="482"/>
                      </a:lnTo>
                      <a:lnTo>
                        <a:pt x="1075" y="475"/>
                      </a:lnTo>
                      <a:cubicBezTo>
                        <a:pt x="1084" y="475"/>
                        <a:pt x="1084" y="467"/>
                        <a:pt x="1091" y="467"/>
                      </a:cubicBezTo>
                      <a:cubicBezTo>
                        <a:pt x="1099" y="467"/>
                        <a:pt x="1115" y="475"/>
                        <a:pt x="1123" y="475"/>
                      </a:cubicBezTo>
                      <a:cubicBezTo>
                        <a:pt x="1131" y="475"/>
                        <a:pt x="1139" y="482"/>
                        <a:pt x="1147" y="482"/>
                      </a:cubicBezTo>
                      <a:cubicBezTo>
                        <a:pt x="1162" y="482"/>
                        <a:pt x="1170" y="475"/>
                        <a:pt x="1178" y="451"/>
                      </a:cubicBezTo>
                      <a:cubicBezTo>
                        <a:pt x="1178" y="443"/>
                        <a:pt x="1194" y="435"/>
                        <a:pt x="1202" y="435"/>
                      </a:cubicBezTo>
                      <a:cubicBezTo>
                        <a:pt x="1210" y="435"/>
                        <a:pt x="1218" y="435"/>
                        <a:pt x="1226" y="427"/>
                      </a:cubicBezTo>
                      <a:cubicBezTo>
                        <a:pt x="1234" y="419"/>
                        <a:pt x="1234" y="411"/>
                        <a:pt x="1226" y="404"/>
                      </a:cubicBezTo>
                      <a:cubicBezTo>
                        <a:pt x="1226" y="395"/>
                        <a:pt x="1210" y="388"/>
                        <a:pt x="1202" y="388"/>
                      </a:cubicBezTo>
                      <a:cubicBezTo>
                        <a:pt x="1194" y="388"/>
                        <a:pt x="1186" y="388"/>
                        <a:pt x="1178" y="380"/>
                      </a:cubicBezTo>
                      <a:cubicBezTo>
                        <a:pt x="1170" y="380"/>
                        <a:pt x="1170" y="372"/>
                        <a:pt x="1170" y="364"/>
                      </a:cubicBezTo>
                      <a:cubicBezTo>
                        <a:pt x="1170" y="356"/>
                        <a:pt x="1170" y="348"/>
                        <a:pt x="1170" y="348"/>
                      </a:cubicBezTo>
                      <a:cubicBezTo>
                        <a:pt x="1162" y="340"/>
                        <a:pt x="1155" y="340"/>
                        <a:pt x="1147" y="340"/>
                      </a:cubicBezTo>
                      <a:cubicBezTo>
                        <a:pt x="1139" y="340"/>
                        <a:pt x="1139" y="340"/>
                        <a:pt x="1139" y="340"/>
                      </a:cubicBezTo>
                      <a:cubicBezTo>
                        <a:pt x="1123" y="340"/>
                        <a:pt x="1107" y="340"/>
                        <a:pt x="1107" y="309"/>
                      </a:cubicBezTo>
                      <a:cubicBezTo>
                        <a:pt x="1107" y="301"/>
                        <a:pt x="1115" y="301"/>
                        <a:pt x="1123" y="301"/>
                      </a:cubicBezTo>
                      <a:cubicBezTo>
                        <a:pt x="1131" y="301"/>
                        <a:pt x="1147" y="309"/>
                        <a:pt x="1162" y="309"/>
                      </a:cubicBezTo>
                      <a:cubicBezTo>
                        <a:pt x="1178" y="317"/>
                        <a:pt x="1186" y="317"/>
                        <a:pt x="1194" y="324"/>
                      </a:cubicBezTo>
                      <a:cubicBezTo>
                        <a:pt x="1218" y="332"/>
                        <a:pt x="1226" y="340"/>
                        <a:pt x="1234" y="364"/>
                      </a:cubicBezTo>
                      <a:cubicBezTo>
                        <a:pt x="1242" y="372"/>
                        <a:pt x="1242" y="388"/>
                        <a:pt x="1257" y="395"/>
                      </a:cubicBezTo>
                      <a:cubicBezTo>
                        <a:pt x="1281" y="451"/>
                        <a:pt x="1289" y="506"/>
                        <a:pt x="1289" y="538"/>
                      </a:cubicBezTo>
                      <a:cubicBezTo>
                        <a:pt x="1281" y="538"/>
                        <a:pt x="1281" y="546"/>
                        <a:pt x="1281" y="554"/>
                      </a:cubicBezTo>
                      <a:cubicBezTo>
                        <a:pt x="1281" y="562"/>
                        <a:pt x="1281" y="570"/>
                        <a:pt x="1273" y="570"/>
                      </a:cubicBezTo>
                      <a:cubicBezTo>
                        <a:pt x="1273" y="570"/>
                        <a:pt x="1273" y="562"/>
                        <a:pt x="1265" y="554"/>
                      </a:cubicBezTo>
                      <a:cubicBezTo>
                        <a:pt x="1257" y="538"/>
                        <a:pt x="1265" y="522"/>
                        <a:pt x="1265" y="506"/>
                      </a:cubicBezTo>
                      <a:cubicBezTo>
                        <a:pt x="1265" y="498"/>
                        <a:pt x="1265" y="490"/>
                        <a:pt x="1265" y="482"/>
                      </a:cubicBezTo>
                      <a:cubicBezTo>
                        <a:pt x="1265" y="475"/>
                        <a:pt x="1265" y="475"/>
                        <a:pt x="1265" y="475"/>
                      </a:cubicBezTo>
                      <a:cubicBezTo>
                        <a:pt x="1257" y="475"/>
                        <a:pt x="1242" y="490"/>
                        <a:pt x="1242" y="498"/>
                      </a:cubicBezTo>
                      <a:cubicBezTo>
                        <a:pt x="1242" y="506"/>
                        <a:pt x="1242" y="514"/>
                        <a:pt x="1234" y="514"/>
                      </a:cubicBezTo>
                      <a:lnTo>
                        <a:pt x="1226" y="514"/>
                      </a:lnTo>
                      <a:cubicBezTo>
                        <a:pt x="1218" y="514"/>
                        <a:pt x="1210" y="506"/>
                        <a:pt x="1202" y="506"/>
                      </a:cubicBezTo>
                      <a:cubicBezTo>
                        <a:pt x="1194" y="506"/>
                        <a:pt x="1186" y="498"/>
                        <a:pt x="1186" y="498"/>
                      </a:cubicBezTo>
                      <a:cubicBezTo>
                        <a:pt x="1178" y="498"/>
                        <a:pt x="1178" y="498"/>
                        <a:pt x="1178" y="506"/>
                      </a:cubicBezTo>
                      <a:cubicBezTo>
                        <a:pt x="1178" y="514"/>
                        <a:pt x="1170" y="522"/>
                        <a:pt x="1162" y="530"/>
                      </a:cubicBezTo>
                      <a:cubicBezTo>
                        <a:pt x="1162" y="546"/>
                        <a:pt x="1155" y="546"/>
                        <a:pt x="1147" y="546"/>
                      </a:cubicBezTo>
                      <a:cubicBezTo>
                        <a:pt x="1147" y="546"/>
                        <a:pt x="1139" y="546"/>
                        <a:pt x="1139" y="538"/>
                      </a:cubicBezTo>
                      <a:lnTo>
                        <a:pt x="1139" y="538"/>
                      </a:lnTo>
                      <a:cubicBezTo>
                        <a:pt x="1131" y="538"/>
                        <a:pt x="1107" y="570"/>
                        <a:pt x="1091" y="593"/>
                      </a:cubicBezTo>
                      <a:cubicBezTo>
                        <a:pt x="1084" y="601"/>
                        <a:pt x="1075" y="609"/>
                        <a:pt x="1068" y="609"/>
                      </a:cubicBezTo>
                      <a:cubicBezTo>
                        <a:pt x="1052" y="609"/>
                        <a:pt x="1036" y="601"/>
                        <a:pt x="1028" y="585"/>
                      </a:cubicBezTo>
                      <a:cubicBezTo>
                        <a:pt x="1028" y="577"/>
                        <a:pt x="1028" y="577"/>
                        <a:pt x="1028" y="577"/>
                      </a:cubicBezTo>
                      <a:cubicBezTo>
                        <a:pt x="1028" y="562"/>
                        <a:pt x="1028" y="554"/>
                        <a:pt x="1012" y="554"/>
                      </a:cubicBezTo>
                      <a:cubicBezTo>
                        <a:pt x="1004" y="554"/>
                        <a:pt x="997" y="554"/>
                        <a:pt x="989" y="554"/>
                      </a:cubicBezTo>
                      <a:cubicBezTo>
                        <a:pt x="965" y="554"/>
                        <a:pt x="965" y="570"/>
                        <a:pt x="965" y="585"/>
                      </a:cubicBezTo>
                      <a:cubicBezTo>
                        <a:pt x="957" y="601"/>
                        <a:pt x="957" y="617"/>
                        <a:pt x="941" y="641"/>
                      </a:cubicBezTo>
                      <a:cubicBezTo>
                        <a:pt x="933" y="648"/>
                        <a:pt x="933" y="648"/>
                        <a:pt x="933" y="648"/>
                      </a:cubicBezTo>
                      <a:cubicBezTo>
                        <a:pt x="909" y="672"/>
                        <a:pt x="902" y="688"/>
                        <a:pt x="886" y="688"/>
                      </a:cubicBezTo>
                      <a:close/>
                      <a:moveTo>
                        <a:pt x="767" y="538"/>
                      </a:moveTo>
                      <a:lnTo>
                        <a:pt x="767" y="538"/>
                      </a:lnTo>
                      <a:cubicBezTo>
                        <a:pt x="775" y="546"/>
                        <a:pt x="775" y="546"/>
                        <a:pt x="783" y="554"/>
                      </a:cubicBezTo>
                      <a:cubicBezTo>
                        <a:pt x="799" y="570"/>
                        <a:pt x="815" y="570"/>
                        <a:pt x="822" y="577"/>
                      </a:cubicBezTo>
                      <a:cubicBezTo>
                        <a:pt x="838" y="577"/>
                        <a:pt x="846" y="585"/>
                        <a:pt x="846" y="609"/>
                      </a:cubicBezTo>
                      <a:cubicBezTo>
                        <a:pt x="854" y="633"/>
                        <a:pt x="846" y="648"/>
                        <a:pt x="846" y="657"/>
                      </a:cubicBezTo>
                      <a:cubicBezTo>
                        <a:pt x="838" y="657"/>
                        <a:pt x="838" y="664"/>
                        <a:pt x="838" y="664"/>
                      </a:cubicBezTo>
                      <a:cubicBezTo>
                        <a:pt x="846" y="664"/>
                        <a:pt x="854" y="672"/>
                        <a:pt x="854" y="672"/>
                      </a:cubicBezTo>
                      <a:cubicBezTo>
                        <a:pt x="870" y="672"/>
                        <a:pt x="878" y="680"/>
                        <a:pt x="886" y="680"/>
                      </a:cubicBezTo>
                      <a:cubicBezTo>
                        <a:pt x="894" y="680"/>
                        <a:pt x="902" y="672"/>
                        <a:pt x="925" y="641"/>
                      </a:cubicBezTo>
                      <a:cubicBezTo>
                        <a:pt x="933" y="641"/>
                        <a:pt x="933" y="641"/>
                        <a:pt x="933" y="641"/>
                      </a:cubicBezTo>
                      <a:cubicBezTo>
                        <a:pt x="949" y="617"/>
                        <a:pt x="949" y="601"/>
                        <a:pt x="957" y="585"/>
                      </a:cubicBezTo>
                      <a:cubicBezTo>
                        <a:pt x="957" y="570"/>
                        <a:pt x="957" y="554"/>
                        <a:pt x="989" y="546"/>
                      </a:cubicBezTo>
                      <a:cubicBezTo>
                        <a:pt x="997" y="546"/>
                        <a:pt x="1004" y="546"/>
                        <a:pt x="1012" y="546"/>
                      </a:cubicBezTo>
                      <a:cubicBezTo>
                        <a:pt x="1036" y="546"/>
                        <a:pt x="1036" y="562"/>
                        <a:pt x="1036" y="577"/>
                      </a:cubicBezTo>
                      <a:cubicBezTo>
                        <a:pt x="1036" y="577"/>
                        <a:pt x="1036" y="577"/>
                        <a:pt x="1036" y="585"/>
                      </a:cubicBezTo>
                      <a:cubicBezTo>
                        <a:pt x="1044" y="593"/>
                        <a:pt x="1052" y="601"/>
                        <a:pt x="1068" y="601"/>
                      </a:cubicBezTo>
                      <a:cubicBezTo>
                        <a:pt x="1068" y="601"/>
                        <a:pt x="1084" y="601"/>
                        <a:pt x="1084" y="593"/>
                      </a:cubicBezTo>
                      <a:cubicBezTo>
                        <a:pt x="1099" y="562"/>
                        <a:pt x="1123" y="530"/>
                        <a:pt x="1139" y="530"/>
                      </a:cubicBezTo>
                      <a:cubicBezTo>
                        <a:pt x="1139" y="530"/>
                        <a:pt x="1139" y="530"/>
                        <a:pt x="1147" y="538"/>
                      </a:cubicBezTo>
                      <a:lnTo>
                        <a:pt x="1147" y="546"/>
                      </a:lnTo>
                      <a:cubicBezTo>
                        <a:pt x="1147" y="546"/>
                        <a:pt x="1155" y="538"/>
                        <a:pt x="1162" y="530"/>
                      </a:cubicBezTo>
                      <a:cubicBezTo>
                        <a:pt x="1162" y="522"/>
                        <a:pt x="1170" y="514"/>
                        <a:pt x="1170" y="506"/>
                      </a:cubicBezTo>
                      <a:cubicBezTo>
                        <a:pt x="1170" y="498"/>
                        <a:pt x="1178" y="498"/>
                        <a:pt x="1186" y="498"/>
                      </a:cubicBezTo>
                      <a:cubicBezTo>
                        <a:pt x="1186" y="498"/>
                        <a:pt x="1194" y="498"/>
                        <a:pt x="1202" y="498"/>
                      </a:cubicBezTo>
                      <a:cubicBezTo>
                        <a:pt x="1218" y="498"/>
                        <a:pt x="1226" y="506"/>
                        <a:pt x="1226" y="506"/>
                      </a:cubicBezTo>
                      <a:cubicBezTo>
                        <a:pt x="1234" y="506"/>
                        <a:pt x="1234" y="506"/>
                        <a:pt x="1234" y="506"/>
                      </a:cubicBezTo>
                      <a:cubicBezTo>
                        <a:pt x="1234" y="506"/>
                        <a:pt x="1234" y="506"/>
                        <a:pt x="1234" y="498"/>
                      </a:cubicBezTo>
                      <a:cubicBezTo>
                        <a:pt x="1242" y="490"/>
                        <a:pt x="1249" y="467"/>
                        <a:pt x="1265" y="467"/>
                      </a:cubicBezTo>
                      <a:cubicBezTo>
                        <a:pt x="1265" y="467"/>
                        <a:pt x="1273" y="467"/>
                        <a:pt x="1273" y="475"/>
                      </a:cubicBezTo>
                      <a:cubicBezTo>
                        <a:pt x="1273" y="490"/>
                        <a:pt x="1273" y="498"/>
                        <a:pt x="1273" y="506"/>
                      </a:cubicBezTo>
                      <a:cubicBezTo>
                        <a:pt x="1273" y="522"/>
                        <a:pt x="1265" y="538"/>
                        <a:pt x="1273" y="554"/>
                      </a:cubicBezTo>
                      <a:lnTo>
                        <a:pt x="1273" y="554"/>
                      </a:lnTo>
                      <a:lnTo>
                        <a:pt x="1273" y="554"/>
                      </a:lnTo>
                      <a:cubicBezTo>
                        <a:pt x="1273" y="546"/>
                        <a:pt x="1281" y="538"/>
                        <a:pt x="1281" y="530"/>
                      </a:cubicBezTo>
                      <a:cubicBezTo>
                        <a:pt x="1289" y="506"/>
                        <a:pt x="1273" y="451"/>
                        <a:pt x="1249" y="404"/>
                      </a:cubicBezTo>
                      <a:cubicBezTo>
                        <a:pt x="1242" y="388"/>
                        <a:pt x="1234" y="372"/>
                        <a:pt x="1226" y="364"/>
                      </a:cubicBezTo>
                      <a:cubicBezTo>
                        <a:pt x="1218" y="340"/>
                        <a:pt x="1210" y="332"/>
                        <a:pt x="1194" y="332"/>
                      </a:cubicBezTo>
                      <a:cubicBezTo>
                        <a:pt x="1186" y="324"/>
                        <a:pt x="1170" y="324"/>
                        <a:pt x="1162" y="317"/>
                      </a:cubicBezTo>
                      <a:cubicBezTo>
                        <a:pt x="1147" y="309"/>
                        <a:pt x="1131" y="309"/>
                        <a:pt x="1123" y="309"/>
                      </a:cubicBezTo>
                      <a:lnTo>
                        <a:pt x="1115" y="309"/>
                      </a:lnTo>
                      <a:cubicBezTo>
                        <a:pt x="1115" y="332"/>
                        <a:pt x="1123" y="332"/>
                        <a:pt x="1139" y="332"/>
                      </a:cubicBezTo>
                      <a:cubicBezTo>
                        <a:pt x="1147" y="332"/>
                        <a:pt x="1147" y="332"/>
                        <a:pt x="1147" y="332"/>
                      </a:cubicBezTo>
                      <a:cubicBezTo>
                        <a:pt x="1155" y="332"/>
                        <a:pt x="1162" y="332"/>
                        <a:pt x="1170" y="340"/>
                      </a:cubicBezTo>
                      <a:cubicBezTo>
                        <a:pt x="1178" y="348"/>
                        <a:pt x="1178" y="356"/>
                        <a:pt x="1178" y="364"/>
                      </a:cubicBezTo>
                      <a:cubicBezTo>
                        <a:pt x="1178" y="372"/>
                        <a:pt x="1178" y="372"/>
                        <a:pt x="1186" y="380"/>
                      </a:cubicBezTo>
                      <a:cubicBezTo>
                        <a:pt x="1186" y="380"/>
                        <a:pt x="1194" y="388"/>
                        <a:pt x="1202" y="388"/>
                      </a:cubicBezTo>
                      <a:cubicBezTo>
                        <a:pt x="1210" y="388"/>
                        <a:pt x="1226" y="388"/>
                        <a:pt x="1234" y="404"/>
                      </a:cubicBezTo>
                      <a:cubicBezTo>
                        <a:pt x="1242" y="411"/>
                        <a:pt x="1242" y="419"/>
                        <a:pt x="1234" y="427"/>
                      </a:cubicBezTo>
                      <a:cubicBezTo>
                        <a:pt x="1226" y="443"/>
                        <a:pt x="1210" y="443"/>
                        <a:pt x="1202" y="443"/>
                      </a:cubicBezTo>
                      <a:cubicBezTo>
                        <a:pt x="1194" y="443"/>
                        <a:pt x="1186" y="451"/>
                        <a:pt x="1186" y="451"/>
                      </a:cubicBezTo>
                      <a:cubicBezTo>
                        <a:pt x="1178" y="467"/>
                        <a:pt x="1170" y="490"/>
                        <a:pt x="1147" y="490"/>
                      </a:cubicBezTo>
                      <a:cubicBezTo>
                        <a:pt x="1147" y="490"/>
                        <a:pt x="1147" y="490"/>
                        <a:pt x="1139" y="490"/>
                      </a:cubicBezTo>
                      <a:cubicBezTo>
                        <a:pt x="1139" y="490"/>
                        <a:pt x="1131" y="482"/>
                        <a:pt x="1123" y="482"/>
                      </a:cubicBezTo>
                      <a:cubicBezTo>
                        <a:pt x="1115" y="482"/>
                        <a:pt x="1099" y="475"/>
                        <a:pt x="1091" y="475"/>
                      </a:cubicBezTo>
                      <a:cubicBezTo>
                        <a:pt x="1091" y="475"/>
                        <a:pt x="1084" y="475"/>
                        <a:pt x="1084" y="482"/>
                      </a:cubicBezTo>
                      <a:cubicBezTo>
                        <a:pt x="1084" y="482"/>
                        <a:pt x="1084" y="482"/>
                        <a:pt x="1075" y="490"/>
                      </a:cubicBezTo>
                      <a:cubicBezTo>
                        <a:pt x="1075" y="490"/>
                        <a:pt x="1075" y="490"/>
                        <a:pt x="1068" y="490"/>
                      </a:cubicBezTo>
                      <a:cubicBezTo>
                        <a:pt x="1068" y="490"/>
                        <a:pt x="1060" y="490"/>
                        <a:pt x="1044" y="467"/>
                      </a:cubicBezTo>
                      <a:cubicBezTo>
                        <a:pt x="1044" y="459"/>
                        <a:pt x="1036" y="443"/>
                        <a:pt x="1036" y="435"/>
                      </a:cubicBezTo>
                      <a:cubicBezTo>
                        <a:pt x="1028" y="427"/>
                        <a:pt x="1028" y="419"/>
                        <a:pt x="1012" y="419"/>
                      </a:cubicBezTo>
                      <a:cubicBezTo>
                        <a:pt x="1004" y="419"/>
                        <a:pt x="997" y="419"/>
                        <a:pt x="989" y="419"/>
                      </a:cubicBezTo>
                      <a:cubicBezTo>
                        <a:pt x="973" y="419"/>
                        <a:pt x="965" y="419"/>
                        <a:pt x="965" y="411"/>
                      </a:cubicBezTo>
                      <a:cubicBezTo>
                        <a:pt x="957" y="411"/>
                        <a:pt x="965" y="404"/>
                        <a:pt x="973" y="395"/>
                      </a:cubicBezTo>
                      <a:cubicBezTo>
                        <a:pt x="973" y="395"/>
                        <a:pt x="981" y="388"/>
                        <a:pt x="981" y="380"/>
                      </a:cubicBezTo>
                      <a:cubicBezTo>
                        <a:pt x="989" y="380"/>
                        <a:pt x="997" y="380"/>
                        <a:pt x="997" y="372"/>
                      </a:cubicBezTo>
                      <a:cubicBezTo>
                        <a:pt x="997" y="372"/>
                        <a:pt x="989" y="364"/>
                        <a:pt x="981" y="364"/>
                      </a:cubicBezTo>
                      <a:cubicBezTo>
                        <a:pt x="965" y="340"/>
                        <a:pt x="894" y="309"/>
                        <a:pt x="862" y="301"/>
                      </a:cubicBezTo>
                      <a:cubicBezTo>
                        <a:pt x="854" y="293"/>
                        <a:pt x="854" y="293"/>
                        <a:pt x="854" y="293"/>
                      </a:cubicBezTo>
                      <a:cubicBezTo>
                        <a:pt x="838" y="293"/>
                        <a:pt x="831" y="293"/>
                        <a:pt x="822" y="285"/>
                      </a:cubicBezTo>
                      <a:cubicBezTo>
                        <a:pt x="822" y="277"/>
                        <a:pt x="822" y="269"/>
                        <a:pt x="838" y="253"/>
                      </a:cubicBezTo>
                      <a:cubicBezTo>
                        <a:pt x="838" y="237"/>
                        <a:pt x="838" y="222"/>
                        <a:pt x="846" y="206"/>
                      </a:cubicBezTo>
                      <a:cubicBezTo>
                        <a:pt x="846" y="182"/>
                        <a:pt x="846" y="158"/>
                        <a:pt x="870" y="151"/>
                      </a:cubicBezTo>
                      <a:cubicBezTo>
                        <a:pt x="902" y="143"/>
                        <a:pt x="917" y="135"/>
                        <a:pt x="917" y="119"/>
                      </a:cubicBezTo>
                      <a:cubicBezTo>
                        <a:pt x="917" y="111"/>
                        <a:pt x="917" y="103"/>
                        <a:pt x="909" y="95"/>
                      </a:cubicBezTo>
                      <a:cubicBezTo>
                        <a:pt x="909" y="95"/>
                        <a:pt x="902" y="95"/>
                        <a:pt x="894" y="95"/>
                      </a:cubicBezTo>
                      <a:cubicBezTo>
                        <a:pt x="894" y="95"/>
                        <a:pt x="886" y="95"/>
                        <a:pt x="886" y="103"/>
                      </a:cubicBezTo>
                      <a:cubicBezTo>
                        <a:pt x="870" y="103"/>
                        <a:pt x="862" y="111"/>
                        <a:pt x="854" y="111"/>
                      </a:cubicBezTo>
                      <a:cubicBezTo>
                        <a:pt x="838" y="111"/>
                        <a:pt x="831" y="103"/>
                        <a:pt x="831" y="87"/>
                      </a:cubicBezTo>
                      <a:cubicBezTo>
                        <a:pt x="815" y="55"/>
                        <a:pt x="807" y="32"/>
                        <a:pt x="791" y="16"/>
                      </a:cubicBezTo>
                      <a:cubicBezTo>
                        <a:pt x="791" y="16"/>
                        <a:pt x="783" y="16"/>
                        <a:pt x="783" y="8"/>
                      </a:cubicBezTo>
                      <a:lnTo>
                        <a:pt x="783" y="8"/>
                      </a:lnTo>
                      <a:lnTo>
                        <a:pt x="775" y="8"/>
                      </a:lnTo>
                      <a:cubicBezTo>
                        <a:pt x="759" y="32"/>
                        <a:pt x="688" y="111"/>
                        <a:pt x="680" y="127"/>
                      </a:cubicBezTo>
                      <a:cubicBezTo>
                        <a:pt x="664" y="158"/>
                        <a:pt x="657" y="158"/>
                        <a:pt x="617" y="166"/>
                      </a:cubicBezTo>
                      <a:cubicBezTo>
                        <a:pt x="601" y="166"/>
                        <a:pt x="601" y="166"/>
                        <a:pt x="601" y="166"/>
                      </a:cubicBezTo>
                      <a:cubicBezTo>
                        <a:pt x="578" y="166"/>
                        <a:pt x="491" y="190"/>
                        <a:pt x="411" y="206"/>
                      </a:cubicBezTo>
                      <a:cubicBezTo>
                        <a:pt x="325" y="222"/>
                        <a:pt x="269" y="237"/>
                        <a:pt x="261" y="237"/>
                      </a:cubicBezTo>
                      <a:cubicBezTo>
                        <a:pt x="245" y="245"/>
                        <a:pt x="48" y="301"/>
                        <a:pt x="16" y="309"/>
                      </a:cubicBezTo>
                      <a:cubicBezTo>
                        <a:pt x="8" y="625"/>
                        <a:pt x="8" y="625"/>
                        <a:pt x="8" y="625"/>
                      </a:cubicBezTo>
                      <a:cubicBezTo>
                        <a:pt x="8" y="625"/>
                        <a:pt x="8" y="633"/>
                        <a:pt x="16" y="633"/>
                      </a:cubicBezTo>
                      <a:cubicBezTo>
                        <a:pt x="16" y="633"/>
                        <a:pt x="16" y="633"/>
                        <a:pt x="24" y="633"/>
                      </a:cubicBezTo>
                      <a:cubicBezTo>
                        <a:pt x="24" y="625"/>
                        <a:pt x="64" y="617"/>
                        <a:pt x="135" y="601"/>
                      </a:cubicBezTo>
                      <a:cubicBezTo>
                        <a:pt x="269" y="570"/>
                        <a:pt x="491" y="514"/>
                        <a:pt x="514" y="506"/>
                      </a:cubicBezTo>
                      <a:cubicBezTo>
                        <a:pt x="530" y="490"/>
                        <a:pt x="562" y="490"/>
                        <a:pt x="593" y="506"/>
                      </a:cubicBezTo>
                      <a:cubicBezTo>
                        <a:pt x="601" y="506"/>
                        <a:pt x="609" y="498"/>
                        <a:pt x="625" y="498"/>
                      </a:cubicBezTo>
                      <a:cubicBezTo>
                        <a:pt x="649" y="482"/>
                        <a:pt x="680" y="475"/>
                        <a:pt x="704" y="475"/>
                      </a:cubicBezTo>
                      <a:lnTo>
                        <a:pt x="712" y="475"/>
                      </a:lnTo>
                      <a:cubicBezTo>
                        <a:pt x="728" y="482"/>
                        <a:pt x="751" y="514"/>
                        <a:pt x="767" y="538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2" name="Freeform 765">
                  <a:extLst>
                    <a:ext uri="{FF2B5EF4-FFF2-40B4-BE49-F238E27FC236}">
                      <a16:creationId xmlns:a16="http://schemas.microsoft.com/office/drawing/2014/main" id="{1BCB810B-817C-384B-8B75-F3EBAB49CC2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62674" y="4813878"/>
                  <a:ext cx="340939" cy="345577"/>
                </a:xfrm>
                <a:custGeom>
                  <a:avLst/>
                  <a:gdLst>
                    <a:gd name="T0" fmla="*/ 8 w 649"/>
                    <a:gd name="T1" fmla="*/ 222 h 658"/>
                    <a:gd name="T2" fmla="*/ 8 w 649"/>
                    <a:gd name="T3" fmla="*/ 222 h 658"/>
                    <a:gd name="T4" fmla="*/ 32 w 649"/>
                    <a:gd name="T5" fmla="*/ 325 h 658"/>
                    <a:gd name="T6" fmla="*/ 63 w 649"/>
                    <a:gd name="T7" fmla="*/ 459 h 658"/>
                    <a:gd name="T8" fmla="*/ 79 w 649"/>
                    <a:gd name="T9" fmla="*/ 506 h 658"/>
                    <a:gd name="T10" fmla="*/ 71 w 649"/>
                    <a:gd name="T11" fmla="*/ 554 h 658"/>
                    <a:gd name="T12" fmla="*/ 32 w 649"/>
                    <a:gd name="T13" fmla="*/ 617 h 658"/>
                    <a:gd name="T14" fmla="*/ 63 w 649"/>
                    <a:gd name="T15" fmla="*/ 657 h 658"/>
                    <a:gd name="T16" fmla="*/ 127 w 649"/>
                    <a:gd name="T17" fmla="*/ 601 h 658"/>
                    <a:gd name="T18" fmla="*/ 269 w 649"/>
                    <a:gd name="T19" fmla="*/ 475 h 658"/>
                    <a:gd name="T20" fmla="*/ 514 w 649"/>
                    <a:gd name="T21" fmla="*/ 388 h 658"/>
                    <a:gd name="T22" fmla="*/ 648 w 649"/>
                    <a:gd name="T23" fmla="*/ 325 h 658"/>
                    <a:gd name="T24" fmla="*/ 593 w 649"/>
                    <a:gd name="T25" fmla="*/ 80 h 658"/>
                    <a:gd name="T26" fmla="*/ 585 w 649"/>
                    <a:gd name="T27" fmla="*/ 16 h 658"/>
                    <a:gd name="T28" fmla="*/ 577 w 649"/>
                    <a:gd name="T29" fmla="*/ 16 h 658"/>
                    <a:gd name="T30" fmla="*/ 498 w 649"/>
                    <a:gd name="T31" fmla="*/ 16 h 658"/>
                    <a:gd name="T32" fmla="*/ 8 w 649"/>
                    <a:gd name="T33" fmla="*/ 143 h 658"/>
                    <a:gd name="T34" fmla="*/ 0 w 649"/>
                    <a:gd name="T35" fmla="*/ 143 h 658"/>
                    <a:gd name="T36" fmla="*/ 0 w 649"/>
                    <a:gd name="T37" fmla="*/ 143 h 658"/>
                    <a:gd name="T38" fmla="*/ 8 w 649"/>
                    <a:gd name="T39" fmla="*/ 222 h 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9" h="658">
                      <a:moveTo>
                        <a:pt x="8" y="222"/>
                      </a:moveTo>
                      <a:lnTo>
                        <a:pt x="8" y="222"/>
                      </a:lnTo>
                      <a:cubicBezTo>
                        <a:pt x="8" y="230"/>
                        <a:pt x="16" y="293"/>
                        <a:pt x="32" y="325"/>
                      </a:cubicBezTo>
                      <a:cubicBezTo>
                        <a:pt x="48" y="364"/>
                        <a:pt x="63" y="435"/>
                        <a:pt x="63" y="459"/>
                      </a:cubicBezTo>
                      <a:cubicBezTo>
                        <a:pt x="63" y="483"/>
                        <a:pt x="71" y="491"/>
                        <a:pt x="79" y="506"/>
                      </a:cubicBezTo>
                      <a:cubicBezTo>
                        <a:pt x="87" y="522"/>
                        <a:pt x="87" y="546"/>
                        <a:pt x="71" y="554"/>
                      </a:cubicBezTo>
                      <a:cubicBezTo>
                        <a:pt x="56" y="570"/>
                        <a:pt x="32" y="601"/>
                        <a:pt x="32" y="617"/>
                      </a:cubicBezTo>
                      <a:cubicBezTo>
                        <a:pt x="40" y="625"/>
                        <a:pt x="56" y="641"/>
                        <a:pt x="63" y="657"/>
                      </a:cubicBezTo>
                      <a:cubicBezTo>
                        <a:pt x="87" y="641"/>
                        <a:pt x="111" y="625"/>
                        <a:pt x="127" y="601"/>
                      </a:cubicBezTo>
                      <a:cubicBezTo>
                        <a:pt x="158" y="562"/>
                        <a:pt x="222" y="514"/>
                        <a:pt x="269" y="475"/>
                      </a:cubicBezTo>
                      <a:cubicBezTo>
                        <a:pt x="324" y="435"/>
                        <a:pt x="475" y="396"/>
                        <a:pt x="514" y="388"/>
                      </a:cubicBezTo>
                      <a:cubicBezTo>
                        <a:pt x="530" y="380"/>
                        <a:pt x="593" y="348"/>
                        <a:pt x="648" y="325"/>
                      </a:cubicBezTo>
                      <a:cubicBezTo>
                        <a:pt x="633" y="230"/>
                        <a:pt x="593" y="95"/>
                        <a:pt x="593" y="80"/>
                      </a:cubicBezTo>
                      <a:cubicBezTo>
                        <a:pt x="585" y="72"/>
                        <a:pt x="585" y="40"/>
                        <a:pt x="585" y="16"/>
                      </a:cubicBezTo>
                      <a:cubicBezTo>
                        <a:pt x="577" y="16"/>
                        <a:pt x="577" y="16"/>
                        <a:pt x="577" y="16"/>
                      </a:cubicBezTo>
                      <a:cubicBezTo>
                        <a:pt x="569" y="16"/>
                        <a:pt x="530" y="0"/>
                        <a:pt x="498" y="16"/>
                      </a:cubicBezTo>
                      <a:cubicBezTo>
                        <a:pt x="467" y="32"/>
                        <a:pt x="24" y="135"/>
                        <a:pt x="8" y="143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lnTo>
                        <a:pt x="0" y="143"/>
                      </a:lnTo>
                      <a:cubicBezTo>
                        <a:pt x="0" y="151"/>
                        <a:pt x="0" y="214"/>
                        <a:pt x="8" y="2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3" name="Freeform 766">
                  <a:extLst>
                    <a:ext uri="{FF2B5EF4-FFF2-40B4-BE49-F238E27FC236}">
                      <a16:creationId xmlns:a16="http://schemas.microsoft.com/office/drawing/2014/main" id="{B1A7694F-AA73-D448-8AEA-E1DF7DCC7F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458035" y="4813878"/>
                  <a:ext cx="345577" cy="350216"/>
                </a:xfrm>
                <a:custGeom>
                  <a:avLst/>
                  <a:gdLst>
                    <a:gd name="T0" fmla="*/ 71 w 657"/>
                    <a:gd name="T1" fmla="*/ 664 h 665"/>
                    <a:gd name="T2" fmla="*/ 71 w 657"/>
                    <a:gd name="T3" fmla="*/ 664 h 665"/>
                    <a:gd name="T4" fmla="*/ 71 w 657"/>
                    <a:gd name="T5" fmla="*/ 657 h 665"/>
                    <a:gd name="T6" fmla="*/ 40 w 657"/>
                    <a:gd name="T7" fmla="*/ 617 h 665"/>
                    <a:gd name="T8" fmla="*/ 79 w 657"/>
                    <a:gd name="T9" fmla="*/ 554 h 665"/>
                    <a:gd name="T10" fmla="*/ 79 w 657"/>
                    <a:gd name="T11" fmla="*/ 506 h 665"/>
                    <a:gd name="T12" fmla="*/ 71 w 657"/>
                    <a:gd name="T13" fmla="*/ 491 h 665"/>
                    <a:gd name="T14" fmla="*/ 64 w 657"/>
                    <a:gd name="T15" fmla="*/ 459 h 665"/>
                    <a:gd name="T16" fmla="*/ 40 w 657"/>
                    <a:gd name="T17" fmla="*/ 332 h 665"/>
                    <a:gd name="T18" fmla="*/ 16 w 657"/>
                    <a:gd name="T19" fmla="*/ 245 h 665"/>
                    <a:gd name="T20" fmla="*/ 8 w 657"/>
                    <a:gd name="T21" fmla="*/ 222 h 665"/>
                    <a:gd name="T22" fmla="*/ 8 w 657"/>
                    <a:gd name="T23" fmla="*/ 174 h 665"/>
                    <a:gd name="T24" fmla="*/ 0 w 657"/>
                    <a:gd name="T25" fmla="*/ 151 h 665"/>
                    <a:gd name="T26" fmla="*/ 0 w 657"/>
                    <a:gd name="T27" fmla="*/ 143 h 665"/>
                    <a:gd name="T28" fmla="*/ 0 w 657"/>
                    <a:gd name="T29" fmla="*/ 143 h 665"/>
                    <a:gd name="T30" fmla="*/ 8 w 657"/>
                    <a:gd name="T31" fmla="*/ 143 h 665"/>
                    <a:gd name="T32" fmla="*/ 16 w 657"/>
                    <a:gd name="T33" fmla="*/ 143 h 665"/>
                    <a:gd name="T34" fmla="*/ 127 w 657"/>
                    <a:gd name="T35" fmla="*/ 111 h 665"/>
                    <a:gd name="T36" fmla="*/ 506 w 657"/>
                    <a:gd name="T37" fmla="*/ 16 h 665"/>
                    <a:gd name="T38" fmla="*/ 585 w 657"/>
                    <a:gd name="T39" fmla="*/ 16 h 665"/>
                    <a:gd name="T40" fmla="*/ 585 w 657"/>
                    <a:gd name="T41" fmla="*/ 16 h 665"/>
                    <a:gd name="T42" fmla="*/ 593 w 657"/>
                    <a:gd name="T43" fmla="*/ 16 h 665"/>
                    <a:gd name="T44" fmla="*/ 593 w 657"/>
                    <a:gd name="T45" fmla="*/ 16 h 665"/>
                    <a:gd name="T46" fmla="*/ 601 w 657"/>
                    <a:gd name="T47" fmla="*/ 80 h 665"/>
                    <a:gd name="T48" fmla="*/ 656 w 657"/>
                    <a:gd name="T49" fmla="*/ 325 h 665"/>
                    <a:gd name="T50" fmla="*/ 656 w 657"/>
                    <a:gd name="T51" fmla="*/ 325 h 665"/>
                    <a:gd name="T52" fmla="*/ 656 w 657"/>
                    <a:gd name="T53" fmla="*/ 325 h 665"/>
                    <a:gd name="T54" fmla="*/ 617 w 657"/>
                    <a:gd name="T55" fmla="*/ 340 h 665"/>
                    <a:gd name="T56" fmla="*/ 522 w 657"/>
                    <a:gd name="T57" fmla="*/ 388 h 665"/>
                    <a:gd name="T58" fmla="*/ 490 w 657"/>
                    <a:gd name="T59" fmla="*/ 404 h 665"/>
                    <a:gd name="T60" fmla="*/ 285 w 657"/>
                    <a:gd name="T61" fmla="*/ 483 h 665"/>
                    <a:gd name="T62" fmla="*/ 143 w 657"/>
                    <a:gd name="T63" fmla="*/ 601 h 665"/>
                    <a:gd name="T64" fmla="*/ 87 w 657"/>
                    <a:gd name="T65" fmla="*/ 649 h 665"/>
                    <a:gd name="T66" fmla="*/ 79 w 657"/>
                    <a:gd name="T67" fmla="*/ 657 h 665"/>
                    <a:gd name="T68" fmla="*/ 71 w 657"/>
                    <a:gd name="T69" fmla="*/ 664 h 665"/>
                    <a:gd name="T70" fmla="*/ 8 w 657"/>
                    <a:gd name="T71" fmla="*/ 151 h 665"/>
                    <a:gd name="T72" fmla="*/ 8 w 657"/>
                    <a:gd name="T73" fmla="*/ 151 h 665"/>
                    <a:gd name="T74" fmla="*/ 16 w 657"/>
                    <a:gd name="T75" fmla="*/ 174 h 665"/>
                    <a:gd name="T76" fmla="*/ 16 w 657"/>
                    <a:gd name="T77" fmla="*/ 214 h 665"/>
                    <a:gd name="T78" fmla="*/ 24 w 657"/>
                    <a:gd name="T79" fmla="*/ 245 h 665"/>
                    <a:gd name="T80" fmla="*/ 40 w 657"/>
                    <a:gd name="T81" fmla="*/ 325 h 665"/>
                    <a:gd name="T82" fmla="*/ 71 w 657"/>
                    <a:gd name="T83" fmla="*/ 459 h 665"/>
                    <a:gd name="T84" fmla="*/ 79 w 657"/>
                    <a:gd name="T85" fmla="*/ 491 h 665"/>
                    <a:gd name="T86" fmla="*/ 87 w 657"/>
                    <a:gd name="T87" fmla="*/ 506 h 665"/>
                    <a:gd name="T88" fmla="*/ 79 w 657"/>
                    <a:gd name="T89" fmla="*/ 562 h 665"/>
                    <a:gd name="T90" fmla="*/ 48 w 657"/>
                    <a:gd name="T91" fmla="*/ 617 h 665"/>
                    <a:gd name="T92" fmla="*/ 71 w 657"/>
                    <a:gd name="T93" fmla="*/ 649 h 665"/>
                    <a:gd name="T94" fmla="*/ 87 w 657"/>
                    <a:gd name="T95" fmla="*/ 641 h 665"/>
                    <a:gd name="T96" fmla="*/ 135 w 657"/>
                    <a:gd name="T97" fmla="*/ 601 h 665"/>
                    <a:gd name="T98" fmla="*/ 277 w 657"/>
                    <a:gd name="T99" fmla="*/ 475 h 665"/>
                    <a:gd name="T100" fmla="*/ 483 w 657"/>
                    <a:gd name="T101" fmla="*/ 396 h 665"/>
                    <a:gd name="T102" fmla="*/ 514 w 657"/>
                    <a:gd name="T103" fmla="*/ 380 h 665"/>
                    <a:gd name="T104" fmla="*/ 617 w 657"/>
                    <a:gd name="T105" fmla="*/ 340 h 665"/>
                    <a:gd name="T106" fmla="*/ 649 w 657"/>
                    <a:gd name="T107" fmla="*/ 317 h 665"/>
                    <a:gd name="T108" fmla="*/ 593 w 657"/>
                    <a:gd name="T109" fmla="*/ 80 h 665"/>
                    <a:gd name="T110" fmla="*/ 585 w 657"/>
                    <a:gd name="T111" fmla="*/ 24 h 665"/>
                    <a:gd name="T112" fmla="*/ 585 w 657"/>
                    <a:gd name="T113" fmla="*/ 24 h 665"/>
                    <a:gd name="T114" fmla="*/ 506 w 657"/>
                    <a:gd name="T115" fmla="*/ 24 h 665"/>
                    <a:gd name="T116" fmla="*/ 127 w 657"/>
                    <a:gd name="T117" fmla="*/ 119 h 665"/>
                    <a:gd name="T118" fmla="*/ 16 w 657"/>
                    <a:gd name="T119" fmla="*/ 151 h 665"/>
                    <a:gd name="T120" fmla="*/ 8 w 657"/>
                    <a:gd name="T121" fmla="*/ 151 h 6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57" h="665">
                      <a:moveTo>
                        <a:pt x="71" y="664"/>
                      </a:moveTo>
                      <a:lnTo>
                        <a:pt x="71" y="664"/>
                      </a:lnTo>
                      <a:cubicBezTo>
                        <a:pt x="71" y="657"/>
                        <a:pt x="71" y="657"/>
                        <a:pt x="71" y="657"/>
                      </a:cubicBezTo>
                      <a:cubicBezTo>
                        <a:pt x="48" y="641"/>
                        <a:pt x="40" y="625"/>
                        <a:pt x="40" y="617"/>
                      </a:cubicBezTo>
                      <a:cubicBezTo>
                        <a:pt x="40" y="601"/>
                        <a:pt x="64" y="570"/>
                        <a:pt x="79" y="554"/>
                      </a:cubicBezTo>
                      <a:cubicBezTo>
                        <a:pt x="95" y="546"/>
                        <a:pt x="87" y="514"/>
                        <a:pt x="79" y="506"/>
                      </a:cubicBezTo>
                      <a:cubicBezTo>
                        <a:pt x="79" y="498"/>
                        <a:pt x="79" y="498"/>
                        <a:pt x="71" y="491"/>
                      </a:cubicBezTo>
                      <a:cubicBezTo>
                        <a:pt x="71" y="483"/>
                        <a:pt x="64" y="475"/>
                        <a:pt x="64" y="459"/>
                      </a:cubicBezTo>
                      <a:cubicBezTo>
                        <a:pt x="64" y="443"/>
                        <a:pt x="56" y="372"/>
                        <a:pt x="40" y="332"/>
                      </a:cubicBezTo>
                      <a:cubicBezTo>
                        <a:pt x="24" y="301"/>
                        <a:pt x="16" y="269"/>
                        <a:pt x="16" y="245"/>
                      </a:cubicBezTo>
                      <a:cubicBezTo>
                        <a:pt x="16" y="230"/>
                        <a:pt x="8" y="222"/>
                        <a:pt x="8" y="222"/>
                      </a:cubicBezTo>
                      <a:cubicBezTo>
                        <a:pt x="8" y="222"/>
                        <a:pt x="8" y="206"/>
                        <a:pt x="8" y="174"/>
                      </a:cubicBezTo>
                      <a:cubicBezTo>
                        <a:pt x="8" y="158"/>
                        <a:pt x="0" y="151"/>
                        <a:pt x="0" y="151"/>
                      </a:cubicBezTo>
                      <a:cubicBezTo>
                        <a:pt x="0" y="143"/>
                        <a:pt x="0" y="143"/>
                        <a:pt x="0" y="143"/>
                      </a:cubicBezTo>
                      <a:lnTo>
                        <a:pt x="0" y="143"/>
                      </a:lnTo>
                      <a:cubicBezTo>
                        <a:pt x="8" y="143"/>
                        <a:pt x="8" y="143"/>
                        <a:pt x="8" y="143"/>
                      </a:cubicBezTo>
                      <a:cubicBezTo>
                        <a:pt x="8" y="143"/>
                        <a:pt x="8" y="143"/>
                        <a:pt x="16" y="143"/>
                      </a:cubicBezTo>
                      <a:cubicBezTo>
                        <a:pt x="16" y="135"/>
                        <a:pt x="56" y="127"/>
                        <a:pt x="127" y="111"/>
                      </a:cubicBezTo>
                      <a:cubicBezTo>
                        <a:pt x="261" y="80"/>
                        <a:pt x="483" y="24"/>
                        <a:pt x="506" y="16"/>
                      </a:cubicBezTo>
                      <a:cubicBezTo>
                        <a:pt x="522" y="0"/>
                        <a:pt x="554" y="0"/>
                        <a:pt x="585" y="16"/>
                      </a:cubicBezTo>
                      <a:lnTo>
                        <a:pt x="585" y="16"/>
                      </a:lnTo>
                      <a:cubicBezTo>
                        <a:pt x="593" y="16"/>
                        <a:pt x="593" y="16"/>
                        <a:pt x="593" y="16"/>
                      </a:cubicBezTo>
                      <a:lnTo>
                        <a:pt x="593" y="16"/>
                      </a:lnTo>
                      <a:cubicBezTo>
                        <a:pt x="601" y="64"/>
                        <a:pt x="601" y="72"/>
                        <a:pt x="601" y="80"/>
                      </a:cubicBezTo>
                      <a:cubicBezTo>
                        <a:pt x="609" y="95"/>
                        <a:pt x="649" y="230"/>
                        <a:pt x="656" y="325"/>
                      </a:cubicBezTo>
                      <a:lnTo>
                        <a:pt x="656" y="325"/>
                      </a:lnTo>
                      <a:lnTo>
                        <a:pt x="656" y="325"/>
                      </a:lnTo>
                      <a:cubicBezTo>
                        <a:pt x="641" y="332"/>
                        <a:pt x="633" y="340"/>
                        <a:pt x="617" y="340"/>
                      </a:cubicBezTo>
                      <a:cubicBezTo>
                        <a:pt x="577" y="364"/>
                        <a:pt x="538" y="388"/>
                        <a:pt x="522" y="388"/>
                      </a:cubicBezTo>
                      <a:cubicBezTo>
                        <a:pt x="514" y="396"/>
                        <a:pt x="498" y="396"/>
                        <a:pt x="490" y="404"/>
                      </a:cubicBezTo>
                      <a:cubicBezTo>
                        <a:pt x="427" y="420"/>
                        <a:pt x="324" y="451"/>
                        <a:pt x="285" y="483"/>
                      </a:cubicBezTo>
                      <a:cubicBezTo>
                        <a:pt x="230" y="514"/>
                        <a:pt x="174" y="570"/>
                        <a:pt x="143" y="601"/>
                      </a:cubicBezTo>
                      <a:cubicBezTo>
                        <a:pt x="127" y="625"/>
                        <a:pt x="103" y="633"/>
                        <a:pt x="87" y="649"/>
                      </a:cubicBezTo>
                      <a:cubicBezTo>
                        <a:pt x="87" y="657"/>
                        <a:pt x="79" y="657"/>
                        <a:pt x="79" y="657"/>
                      </a:cubicBezTo>
                      <a:lnTo>
                        <a:pt x="71" y="664"/>
                      </a:lnTo>
                      <a:close/>
                      <a:moveTo>
                        <a:pt x="8" y="151"/>
                      </a:moveTo>
                      <a:lnTo>
                        <a:pt x="8" y="151"/>
                      </a:lnTo>
                      <a:cubicBezTo>
                        <a:pt x="8" y="151"/>
                        <a:pt x="8" y="158"/>
                        <a:pt x="16" y="174"/>
                      </a:cubicBezTo>
                      <a:cubicBezTo>
                        <a:pt x="16" y="190"/>
                        <a:pt x="16" y="214"/>
                        <a:pt x="16" y="214"/>
                      </a:cubicBezTo>
                      <a:cubicBezTo>
                        <a:pt x="16" y="222"/>
                        <a:pt x="16" y="230"/>
                        <a:pt x="24" y="245"/>
                      </a:cubicBezTo>
                      <a:cubicBezTo>
                        <a:pt x="24" y="269"/>
                        <a:pt x="32" y="301"/>
                        <a:pt x="40" y="325"/>
                      </a:cubicBezTo>
                      <a:cubicBezTo>
                        <a:pt x="64" y="364"/>
                        <a:pt x="71" y="435"/>
                        <a:pt x="71" y="459"/>
                      </a:cubicBezTo>
                      <a:cubicBezTo>
                        <a:pt x="71" y="475"/>
                        <a:pt x="79" y="483"/>
                        <a:pt x="79" y="491"/>
                      </a:cubicBezTo>
                      <a:cubicBezTo>
                        <a:pt x="87" y="491"/>
                        <a:pt x="87" y="498"/>
                        <a:pt x="87" y="506"/>
                      </a:cubicBezTo>
                      <a:cubicBezTo>
                        <a:pt x="95" y="514"/>
                        <a:pt x="103" y="546"/>
                        <a:pt x="79" y="562"/>
                      </a:cubicBezTo>
                      <a:cubicBezTo>
                        <a:pt x="64" y="570"/>
                        <a:pt x="48" y="601"/>
                        <a:pt x="48" y="617"/>
                      </a:cubicBezTo>
                      <a:cubicBezTo>
                        <a:pt x="48" y="617"/>
                        <a:pt x="48" y="625"/>
                        <a:pt x="71" y="649"/>
                      </a:cubicBezTo>
                      <a:cubicBezTo>
                        <a:pt x="79" y="649"/>
                        <a:pt x="79" y="649"/>
                        <a:pt x="87" y="641"/>
                      </a:cubicBezTo>
                      <a:cubicBezTo>
                        <a:pt x="103" y="633"/>
                        <a:pt x="119" y="617"/>
                        <a:pt x="135" y="601"/>
                      </a:cubicBezTo>
                      <a:cubicBezTo>
                        <a:pt x="166" y="562"/>
                        <a:pt x="230" y="514"/>
                        <a:pt x="277" y="475"/>
                      </a:cubicBezTo>
                      <a:cubicBezTo>
                        <a:pt x="324" y="443"/>
                        <a:pt x="427" y="411"/>
                        <a:pt x="483" y="396"/>
                      </a:cubicBezTo>
                      <a:cubicBezTo>
                        <a:pt x="498" y="388"/>
                        <a:pt x="514" y="388"/>
                        <a:pt x="514" y="380"/>
                      </a:cubicBezTo>
                      <a:cubicBezTo>
                        <a:pt x="538" y="380"/>
                        <a:pt x="577" y="356"/>
                        <a:pt x="617" y="340"/>
                      </a:cubicBezTo>
                      <a:cubicBezTo>
                        <a:pt x="625" y="332"/>
                        <a:pt x="641" y="325"/>
                        <a:pt x="649" y="317"/>
                      </a:cubicBezTo>
                      <a:cubicBezTo>
                        <a:pt x="641" y="230"/>
                        <a:pt x="601" y="95"/>
                        <a:pt x="593" y="80"/>
                      </a:cubicBezTo>
                      <a:cubicBezTo>
                        <a:pt x="593" y="72"/>
                        <a:pt x="593" y="56"/>
                        <a:pt x="585" y="24"/>
                      </a:cubicBezTo>
                      <a:lnTo>
                        <a:pt x="585" y="24"/>
                      </a:lnTo>
                      <a:cubicBezTo>
                        <a:pt x="554" y="8"/>
                        <a:pt x="522" y="8"/>
                        <a:pt x="506" y="24"/>
                      </a:cubicBezTo>
                      <a:cubicBezTo>
                        <a:pt x="483" y="32"/>
                        <a:pt x="269" y="87"/>
                        <a:pt x="127" y="119"/>
                      </a:cubicBezTo>
                      <a:cubicBezTo>
                        <a:pt x="71" y="135"/>
                        <a:pt x="16" y="143"/>
                        <a:pt x="16" y="151"/>
                      </a:cubicBezTo>
                      <a:lnTo>
                        <a:pt x="8" y="151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4" name="Freeform 767">
                  <a:extLst>
                    <a:ext uri="{FF2B5EF4-FFF2-40B4-BE49-F238E27FC236}">
                      <a16:creationId xmlns:a16="http://schemas.microsoft.com/office/drawing/2014/main" id="{7D80BA6E-C9D2-3641-A3FA-AF57C934F1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23896" y="4169111"/>
                  <a:ext cx="1484356" cy="1097032"/>
                </a:xfrm>
                <a:custGeom>
                  <a:avLst/>
                  <a:gdLst>
                    <a:gd name="T0" fmla="*/ 2807 w 2823"/>
                    <a:gd name="T1" fmla="*/ 1692 h 2088"/>
                    <a:gd name="T2" fmla="*/ 2688 w 2823"/>
                    <a:gd name="T3" fmla="*/ 1731 h 2088"/>
                    <a:gd name="T4" fmla="*/ 2656 w 2823"/>
                    <a:gd name="T5" fmla="*/ 1723 h 2088"/>
                    <a:gd name="T6" fmla="*/ 2577 w 2823"/>
                    <a:gd name="T7" fmla="*/ 1779 h 2088"/>
                    <a:gd name="T8" fmla="*/ 2388 w 2823"/>
                    <a:gd name="T9" fmla="*/ 1842 h 2088"/>
                    <a:gd name="T10" fmla="*/ 2229 w 2823"/>
                    <a:gd name="T11" fmla="*/ 1921 h 2088"/>
                    <a:gd name="T12" fmla="*/ 2229 w 2823"/>
                    <a:gd name="T13" fmla="*/ 1882 h 2088"/>
                    <a:gd name="T14" fmla="*/ 2237 w 2823"/>
                    <a:gd name="T15" fmla="*/ 1779 h 2088"/>
                    <a:gd name="T16" fmla="*/ 2229 w 2823"/>
                    <a:gd name="T17" fmla="*/ 1684 h 2088"/>
                    <a:gd name="T18" fmla="*/ 2174 w 2823"/>
                    <a:gd name="T19" fmla="*/ 1447 h 2088"/>
                    <a:gd name="T20" fmla="*/ 2166 w 2823"/>
                    <a:gd name="T21" fmla="*/ 1368 h 2088"/>
                    <a:gd name="T22" fmla="*/ 2158 w 2823"/>
                    <a:gd name="T23" fmla="*/ 1036 h 2088"/>
                    <a:gd name="T24" fmla="*/ 2064 w 2823"/>
                    <a:gd name="T25" fmla="*/ 664 h 2088"/>
                    <a:gd name="T26" fmla="*/ 1992 w 2823"/>
                    <a:gd name="T27" fmla="*/ 569 h 2088"/>
                    <a:gd name="T28" fmla="*/ 1976 w 2823"/>
                    <a:gd name="T29" fmla="*/ 348 h 2088"/>
                    <a:gd name="T30" fmla="*/ 1897 w 2823"/>
                    <a:gd name="T31" fmla="*/ 190 h 2088"/>
                    <a:gd name="T32" fmla="*/ 1874 w 2823"/>
                    <a:gd name="T33" fmla="*/ 0 h 2088"/>
                    <a:gd name="T34" fmla="*/ 1123 w 2823"/>
                    <a:gd name="T35" fmla="*/ 451 h 2088"/>
                    <a:gd name="T36" fmla="*/ 1044 w 2823"/>
                    <a:gd name="T37" fmla="*/ 561 h 2088"/>
                    <a:gd name="T38" fmla="*/ 1020 w 2823"/>
                    <a:gd name="T39" fmla="*/ 656 h 2088"/>
                    <a:gd name="T40" fmla="*/ 1067 w 2823"/>
                    <a:gd name="T41" fmla="*/ 672 h 2088"/>
                    <a:gd name="T42" fmla="*/ 1059 w 2823"/>
                    <a:gd name="T43" fmla="*/ 727 h 2088"/>
                    <a:gd name="T44" fmla="*/ 1067 w 2823"/>
                    <a:gd name="T45" fmla="*/ 806 h 2088"/>
                    <a:gd name="T46" fmla="*/ 1059 w 2823"/>
                    <a:gd name="T47" fmla="*/ 917 h 2088"/>
                    <a:gd name="T48" fmla="*/ 988 w 2823"/>
                    <a:gd name="T49" fmla="*/ 957 h 2088"/>
                    <a:gd name="T50" fmla="*/ 933 w 2823"/>
                    <a:gd name="T51" fmla="*/ 1028 h 2088"/>
                    <a:gd name="T52" fmla="*/ 870 w 2823"/>
                    <a:gd name="T53" fmla="*/ 1083 h 2088"/>
                    <a:gd name="T54" fmla="*/ 743 w 2823"/>
                    <a:gd name="T55" fmla="*/ 1083 h 2088"/>
                    <a:gd name="T56" fmla="*/ 641 w 2823"/>
                    <a:gd name="T57" fmla="*/ 1123 h 2088"/>
                    <a:gd name="T58" fmla="*/ 206 w 2823"/>
                    <a:gd name="T59" fmla="*/ 1186 h 2088"/>
                    <a:gd name="T60" fmla="*/ 182 w 2823"/>
                    <a:gd name="T61" fmla="*/ 1305 h 2088"/>
                    <a:gd name="T62" fmla="*/ 237 w 2823"/>
                    <a:gd name="T63" fmla="*/ 1383 h 2088"/>
                    <a:gd name="T64" fmla="*/ 229 w 2823"/>
                    <a:gd name="T65" fmla="*/ 1478 h 2088"/>
                    <a:gd name="T66" fmla="*/ 0 w 2823"/>
                    <a:gd name="T67" fmla="*/ 1731 h 2088"/>
                    <a:gd name="T68" fmla="*/ 1439 w 2823"/>
                    <a:gd name="T69" fmla="*/ 1565 h 2088"/>
                    <a:gd name="T70" fmla="*/ 1644 w 2823"/>
                    <a:gd name="T71" fmla="*/ 1605 h 2088"/>
                    <a:gd name="T72" fmla="*/ 1787 w 2823"/>
                    <a:gd name="T73" fmla="*/ 1763 h 2088"/>
                    <a:gd name="T74" fmla="*/ 2103 w 2823"/>
                    <a:gd name="T75" fmla="*/ 1882 h 2088"/>
                    <a:gd name="T76" fmla="*/ 2135 w 2823"/>
                    <a:gd name="T77" fmla="*/ 2008 h 2088"/>
                    <a:gd name="T78" fmla="*/ 2166 w 2823"/>
                    <a:gd name="T79" fmla="*/ 2079 h 2088"/>
                    <a:gd name="T80" fmla="*/ 2609 w 2823"/>
                    <a:gd name="T81" fmla="*/ 1850 h 2088"/>
                    <a:gd name="T82" fmla="*/ 2807 w 2823"/>
                    <a:gd name="T83" fmla="*/ 1692 h 20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823" h="2088">
                      <a:moveTo>
                        <a:pt x="2807" y="1692"/>
                      </a:moveTo>
                      <a:lnTo>
                        <a:pt x="2807" y="1692"/>
                      </a:lnTo>
                      <a:cubicBezTo>
                        <a:pt x="2791" y="1684"/>
                        <a:pt x="2767" y="1716"/>
                        <a:pt x="2728" y="1700"/>
                      </a:cubicBezTo>
                      <a:cubicBezTo>
                        <a:pt x="2696" y="1676"/>
                        <a:pt x="2696" y="1716"/>
                        <a:pt x="2688" y="1731"/>
                      </a:cubicBezTo>
                      <a:cubicBezTo>
                        <a:pt x="2688" y="1739"/>
                        <a:pt x="2641" y="1795"/>
                        <a:pt x="2625" y="1795"/>
                      </a:cubicBezTo>
                      <a:cubicBezTo>
                        <a:pt x="2617" y="1787"/>
                        <a:pt x="2648" y="1747"/>
                        <a:pt x="2656" y="1723"/>
                      </a:cubicBezTo>
                      <a:cubicBezTo>
                        <a:pt x="2672" y="1700"/>
                        <a:pt x="2664" y="1652"/>
                        <a:pt x="2656" y="1676"/>
                      </a:cubicBezTo>
                      <a:cubicBezTo>
                        <a:pt x="2648" y="1708"/>
                        <a:pt x="2609" y="1755"/>
                        <a:pt x="2577" y="1779"/>
                      </a:cubicBezTo>
                      <a:cubicBezTo>
                        <a:pt x="2538" y="1795"/>
                        <a:pt x="2490" y="1803"/>
                        <a:pt x="2467" y="1803"/>
                      </a:cubicBezTo>
                      <a:cubicBezTo>
                        <a:pt x="2435" y="1810"/>
                        <a:pt x="2403" y="1810"/>
                        <a:pt x="2388" y="1842"/>
                      </a:cubicBezTo>
                      <a:cubicBezTo>
                        <a:pt x="2372" y="1874"/>
                        <a:pt x="2340" y="1866"/>
                        <a:pt x="2308" y="1874"/>
                      </a:cubicBezTo>
                      <a:cubicBezTo>
                        <a:pt x="2277" y="1882"/>
                        <a:pt x="2253" y="1913"/>
                        <a:pt x="2229" y="1921"/>
                      </a:cubicBezTo>
                      <a:cubicBezTo>
                        <a:pt x="2206" y="1937"/>
                        <a:pt x="2182" y="1937"/>
                        <a:pt x="2206" y="1905"/>
                      </a:cubicBezTo>
                      <a:cubicBezTo>
                        <a:pt x="2214" y="1897"/>
                        <a:pt x="2222" y="1889"/>
                        <a:pt x="2229" y="1882"/>
                      </a:cubicBezTo>
                      <a:cubicBezTo>
                        <a:pt x="2222" y="1866"/>
                        <a:pt x="2206" y="1850"/>
                        <a:pt x="2198" y="1842"/>
                      </a:cubicBezTo>
                      <a:cubicBezTo>
                        <a:pt x="2198" y="1826"/>
                        <a:pt x="2222" y="1795"/>
                        <a:pt x="2237" y="1779"/>
                      </a:cubicBezTo>
                      <a:cubicBezTo>
                        <a:pt x="2253" y="1771"/>
                        <a:pt x="2253" y="1747"/>
                        <a:pt x="2245" y="1731"/>
                      </a:cubicBezTo>
                      <a:cubicBezTo>
                        <a:pt x="2237" y="1716"/>
                        <a:pt x="2229" y="1708"/>
                        <a:pt x="2229" y="1684"/>
                      </a:cubicBezTo>
                      <a:cubicBezTo>
                        <a:pt x="2229" y="1660"/>
                        <a:pt x="2214" y="1589"/>
                        <a:pt x="2198" y="1550"/>
                      </a:cubicBezTo>
                      <a:cubicBezTo>
                        <a:pt x="2182" y="1518"/>
                        <a:pt x="2174" y="1455"/>
                        <a:pt x="2174" y="1447"/>
                      </a:cubicBezTo>
                      <a:cubicBezTo>
                        <a:pt x="2166" y="1439"/>
                        <a:pt x="2166" y="1376"/>
                        <a:pt x="2166" y="1368"/>
                      </a:cubicBezTo>
                      <a:lnTo>
                        <a:pt x="2166" y="1368"/>
                      </a:lnTo>
                      <a:cubicBezTo>
                        <a:pt x="2158" y="1368"/>
                        <a:pt x="2158" y="1360"/>
                        <a:pt x="2158" y="1360"/>
                      </a:cubicBezTo>
                      <a:cubicBezTo>
                        <a:pt x="2158" y="1036"/>
                        <a:pt x="2158" y="1036"/>
                        <a:pt x="2158" y="1036"/>
                      </a:cubicBezTo>
                      <a:cubicBezTo>
                        <a:pt x="2158" y="1028"/>
                        <a:pt x="2127" y="870"/>
                        <a:pt x="2111" y="814"/>
                      </a:cubicBezTo>
                      <a:cubicBezTo>
                        <a:pt x="2095" y="759"/>
                        <a:pt x="2079" y="688"/>
                        <a:pt x="2064" y="664"/>
                      </a:cubicBezTo>
                      <a:cubicBezTo>
                        <a:pt x="2048" y="633"/>
                        <a:pt x="2048" y="664"/>
                        <a:pt x="2024" y="664"/>
                      </a:cubicBezTo>
                      <a:cubicBezTo>
                        <a:pt x="2000" y="656"/>
                        <a:pt x="1992" y="593"/>
                        <a:pt x="1992" y="569"/>
                      </a:cubicBezTo>
                      <a:cubicBezTo>
                        <a:pt x="1992" y="546"/>
                        <a:pt x="1984" y="482"/>
                        <a:pt x="1969" y="443"/>
                      </a:cubicBezTo>
                      <a:cubicBezTo>
                        <a:pt x="1953" y="403"/>
                        <a:pt x="1976" y="379"/>
                        <a:pt x="1976" y="348"/>
                      </a:cubicBezTo>
                      <a:cubicBezTo>
                        <a:pt x="1969" y="324"/>
                        <a:pt x="1953" y="269"/>
                        <a:pt x="1937" y="245"/>
                      </a:cubicBezTo>
                      <a:cubicBezTo>
                        <a:pt x="1929" y="222"/>
                        <a:pt x="1905" y="222"/>
                        <a:pt x="1897" y="190"/>
                      </a:cubicBezTo>
                      <a:cubicBezTo>
                        <a:pt x="1889" y="150"/>
                        <a:pt x="1897" y="111"/>
                        <a:pt x="1889" y="95"/>
                      </a:cubicBezTo>
                      <a:cubicBezTo>
                        <a:pt x="1882" y="79"/>
                        <a:pt x="1874" y="24"/>
                        <a:pt x="1874" y="0"/>
                      </a:cubicBezTo>
                      <a:cubicBezTo>
                        <a:pt x="1629" y="55"/>
                        <a:pt x="1399" y="111"/>
                        <a:pt x="1384" y="111"/>
                      </a:cubicBezTo>
                      <a:cubicBezTo>
                        <a:pt x="1344" y="119"/>
                        <a:pt x="1123" y="411"/>
                        <a:pt x="1123" y="451"/>
                      </a:cubicBezTo>
                      <a:cubicBezTo>
                        <a:pt x="1123" y="482"/>
                        <a:pt x="1067" y="530"/>
                        <a:pt x="1028" y="561"/>
                      </a:cubicBezTo>
                      <a:cubicBezTo>
                        <a:pt x="1044" y="561"/>
                        <a:pt x="1044" y="561"/>
                        <a:pt x="1044" y="561"/>
                      </a:cubicBezTo>
                      <a:cubicBezTo>
                        <a:pt x="1028" y="577"/>
                        <a:pt x="980" y="633"/>
                        <a:pt x="980" y="640"/>
                      </a:cubicBezTo>
                      <a:cubicBezTo>
                        <a:pt x="980" y="648"/>
                        <a:pt x="1012" y="664"/>
                        <a:pt x="1020" y="656"/>
                      </a:cubicBezTo>
                      <a:cubicBezTo>
                        <a:pt x="1028" y="648"/>
                        <a:pt x="1059" y="640"/>
                        <a:pt x="1052" y="664"/>
                      </a:cubicBezTo>
                      <a:cubicBezTo>
                        <a:pt x="1052" y="680"/>
                        <a:pt x="1052" y="688"/>
                        <a:pt x="1067" y="672"/>
                      </a:cubicBezTo>
                      <a:cubicBezTo>
                        <a:pt x="1083" y="664"/>
                        <a:pt x="1107" y="680"/>
                        <a:pt x="1083" y="688"/>
                      </a:cubicBezTo>
                      <a:cubicBezTo>
                        <a:pt x="1067" y="696"/>
                        <a:pt x="1052" y="719"/>
                        <a:pt x="1059" y="727"/>
                      </a:cubicBezTo>
                      <a:cubicBezTo>
                        <a:pt x="1059" y="727"/>
                        <a:pt x="1052" y="735"/>
                        <a:pt x="1052" y="759"/>
                      </a:cubicBezTo>
                      <a:cubicBezTo>
                        <a:pt x="1052" y="775"/>
                        <a:pt x="1059" y="790"/>
                        <a:pt x="1067" y="806"/>
                      </a:cubicBezTo>
                      <a:cubicBezTo>
                        <a:pt x="1075" y="830"/>
                        <a:pt x="1091" y="846"/>
                        <a:pt x="1083" y="862"/>
                      </a:cubicBezTo>
                      <a:cubicBezTo>
                        <a:pt x="1083" y="886"/>
                        <a:pt x="1083" y="917"/>
                        <a:pt x="1059" y="917"/>
                      </a:cubicBezTo>
                      <a:cubicBezTo>
                        <a:pt x="1044" y="917"/>
                        <a:pt x="1028" y="901"/>
                        <a:pt x="1020" y="925"/>
                      </a:cubicBezTo>
                      <a:cubicBezTo>
                        <a:pt x="1012" y="941"/>
                        <a:pt x="1004" y="957"/>
                        <a:pt x="988" y="957"/>
                      </a:cubicBezTo>
                      <a:cubicBezTo>
                        <a:pt x="980" y="965"/>
                        <a:pt x="965" y="965"/>
                        <a:pt x="965" y="980"/>
                      </a:cubicBezTo>
                      <a:cubicBezTo>
                        <a:pt x="957" y="996"/>
                        <a:pt x="949" y="1012"/>
                        <a:pt x="933" y="1028"/>
                      </a:cubicBezTo>
                      <a:cubicBezTo>
                        <a:pt x="909" y="1036"/>
                        <a:pt x="894" y="1052"/>
                        <a:pt x="885" y="1059"/>
                      </a:cubicBezTo>
                      <a:cubicBezTo>
                        <a:pt x="878" y="1075"/>
                        <a:pt x="885" y="1083"/>
                        <a:pt x="870" y="1083"/>
                      </a:cubicBezTo>
                      <a:cubicBezTo>
                        <a:pt x="854" y="1075"/>
                        <a:pt x="846" y="1075"/>
                        <a:pt x="822" y="1075"/>
                      </a:cubicBezTo>
                      <a:cubicBezTo>
                        <a:pt x="799" y="1075"/>
                        <a:pt x="759" y="1075"/>
                        <a:pt x="743" y="1083"/>
                      </a:cubicBezTo>
                      <a:cubicBezTo>
                        <a:pt x="727" y="1099"/>
                        <a:pt x="696" y="1107"/>
                        <a:pt x="680" y="1115"/>
                      </a:cubicBezTo>
                      <a:cubicBezTo>
                        <a:pt x="672" y="1130"/>
                        <a:pt x="656" y="1139"/>
                        <a:pt x="641" y="1123"/>
                      </a:cubicBezTo>
                      <a:cubicBezTo>
                        <a:pt x="617" y="1107"/>
                        <a:pt x="593" y="1091"/>
                        <a:pt x="577" y="1099"/>
                      </a:cubicBezTo>
                      <a:cubicBezTo>
                        <a:pt x="554" y="1099"/>
                        <a:pt x="340" y="1083"/>
                        <a:pt x="206" y="1186"/>
                      </a:cubicBezTo>
                      <a:cubicBezTo>
                        <a:pt x="190" y="1202"/>
                        <a:pt x="174" y="1210"/>
                        <a:pt x="158" y="1217"/>
                      </a:cubicBezTo>
                      <a:cubicBezTo>
                        <a:pt x="174" y="1249"/>
                        <a:pt x="182" y="1281"/>
                        <a:pt x="182" y="1305"/>
                      </a:cubicBezTo>
                      <a:cubicBezTo>
                        <a:pt x="190" y="1328"/>
                        <a:pt x="221" y="1376"/>
                        <a:pt x="229" y="1392"/>
                      </a:cubicBezTo>
                      <a:cubicBezTo>
                        <a:pt x="237" y="1392"/>
                        <a:pt x="237" y="1392"/>
                        <a:pt x="237" y="1383"/>
                      </a:cubicBezTo>
                      <a:cubicBezTo>
                        <a:pt x="237" y="1383"/>
                        <a:pt x="277" y="1392"/>
                        <a:pt x="269" y="1407"/>
                      </a:cubicBezTo>
                      <a:cubicBezTo>
                        <a:pt x="261" y="1423"/>
                        <a:pt x="253" y="1463"/>
                        <a:pt x="229" y="1478"/>
                      </a:cubicBezTo>
                      <a:cubicBezTo>
                        <a:pt x="206" y="1494"/>
                        <a:pt x="126" y="1613"/>
                        <a:pt x="95" y="1652"/>
                      </a:cubicBezTo>
                      <a:cubicBezTo>
                        <a:pt x="79" y="1660"/>
                        <a:pt x="48" y="1700"/>
                        <a:pt x="0" y="1731"/>
                      </a:cubicBezTo>
                      <a:cubicBezTo>
                        <a:pt x="24" y="1842"/>
                        <a:pt x="24" y="1842"/>
                        <a:pt x="24" y="1842"/>
                      </a:cubicBezTo>
                      <a:cubicBezTo>
                        <a:pt x="24" y="1842"/>
                        <a:pt x="1415" y="1581"/>
                        <a:pt x="1439" y="1565"/>
                      </a:cubicBezTo>
                      <a:cubicBezTo>
                        <a:pt x="1471" y="1557"/>
                        <a:pt x="1494" y="1526"/>
                        <a:pt x="1542" y="1565"/>
                      </a:cubicBezTo>
                      <a:cubicBezTo>
                        <a:pt x="1589" y="1597"/>
                        <a:pt x="1613" y="1597"/>
                        <a:pt x="1644" y="1605"/>
                      </a:cubicBezTo>
                      <a:cubicBezTo>
                        <a:pt x="1676" y="1605"/>
                        <a:pt x="1700" y="1716"/>
                        <a:pt x="1716" y="1747"/>
                      </a:cubicBezTo>
                      <a:cubicBezTo>
                        <a:pt x="1739" y="1779"/>
                        <a:pt x="1739" y="1755"/>
                        <a:pt x="1787" y="1763"/>
                      </a:cubicBezTo>
                      <a:cubicBezTo>
                        <a:pt x="1826" y="1771"/>
                        <a:pt x="1842" y="1779"/>
                        <a:pt x="1866" y="1810"/>
                      </a:cubicBezTo>
                      <a:cubicBezTo>
                        <a:pt x="1889" y="1834"/>
                        <a:pt x="2079" y="1882"/>
                        <a:pt x="2103" y="1882"/>
                      </a:cubicBezTo>
                      <a:cubicBezTo>
                        <a:pt x="2127" y="1889"/>
                        <a:pt x="2142" y="1897"/>
                        <a:pt x="2150" y="1913"/>
                      </a:cubicBezTo>
                      <a:cubicBezTo>
                        <a:pt x="2158" y="1929"/>
                        <a:pt x="2135" y="1992"/>
                        <a:pt x="2135" y="2008"/>
                      </a:cubicBezTo>
                      <a:cubicBezTo>
                        <a:pt x="2127" y="2016"/>
                        <a:pt x="2119" y="2040"/>
                        <a:pt x="2119" y="2056"/>
                      </a:cubicBezTo>
                      <a:cubicBezTo>
                        <a:pt x="2135" y="2063"/>
                        <a:pt x="2119" y="2087"/>
                        <a:pt x="2166" y="2079"/>
                      </a:cubicBezTo>
                      <a:cubicBezTo>
                        <a:pt x="2214" y="2071"/>
                        <a:pt x="2324" y="2008"/>
                        <a:pt x="2403" y="1976"/>
                      </a:cubicBezTo>
                      <a:cubicBezTo>
                        <a:pt x="2482" y="1937"/>
                        <a:pt x="2538" y="1882"/>
                        <a:pt x="2609" y="1850"/>
                      </a:cubicBezTo>
                      <a:cubicBezTo>
                        <a:pt x="2680" y="1818"/>
                        <a:pt x="2688" y="1803"/>
                        <a:pt x="2719" y="1779"/>
                      </a:cubicBezTo>
                      <a:cubicBezTo>
                        <a:pt x="2751" y="1747"/>
                        <a:pt x="2822" y="1700"/>
                        <a:pt x="2807" y="169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5" name="Freeform 768">
                  <a:extLst>
                    <a:ext uri="{FF2B5EF4-FFF2-40B4-BE49-F238E27FC236}">
                      <a16:creationId xmlns:a16="http://schemas.microsoft.com/office/drawing/2014/main" id="{AB56A937-FFB1-9447-AEE1-5AB18EBBED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23896" y="4164472"/>
                  <a:ext cx="1479717" cy="1101671"/>
                </a:xfrm>
                <a:custGeom>
                  <a:avLst/>
                  <a:gdLst>
                    <a:gd name="T0" fmla="*/ 2119 w 2815"/>
                    <a:gd name="T1" fmla="*/ 2064 h 2096"/>
                    <a:gd name="T2" fmla="*/ 2142 w 2815"/>
                    <a:gd name="T3" fmla="*/ 1921 h 2096"/>
                    <a:gd name="T4" fmla="*/ 1747 w 2815"/>
                    <a:gd name="T5" fmla="*/ 1771 h 2096"/>
                    <a:gd name="T6" fmla="*/ 1644 w 2815"/>
                    <a:gd name="T7" fmla="*/ 1613 h 2096"/>
                    <a:gd name="T8" fmla="*/ 32 w 2815"/>
                    <a:gd name="T9" fmla="*/ 1858 h 2096"/>
                    <a:gd name="T10" fmla="*/ 150 w 2815"/>
                    <a:gd name="T11" fmla="*/ 1581 h 2096"/>
                    <a:gd name="T12" fmla="*/ 245 w 2815"/>
                    <a:gd name="T13" fmla="*/ 1400 h 2096"/>
                    <a:gd name="T14" fmla="*/ 182 w 2815"/>
                    <a:gd name="T15" fmla="*/ 1313 h 2096"/>
                    <a:gd name="T16" fmla="*/ 546 w 2815"/>
                    <a:gd name="T17" fmla="*/ 1099 h 2096"/>
                    <a:gd name="T18" fmla="*/ 680 w 2815"/>
                    <a:gd name="T19" fmla="*/ 1123 h 2096"/>
                    <a:gd name="T20" fmla="*/ 870 w 2815"/>
                    <a:gd name="T21" fmla="*/ 1083 h 2096"/>
                    <a:gd name="T22" fmla="*/ 957 w 2815"/>
                    <a:gd name="T23" fmla="*/ 988 h 2096"/>
                    <a:gd name="T24" fmla="*/ 1036 w 2815"/>
                    <a:gd name="T25" fmla="*/ 917 h 2096"/>
                    <a:gd name="T26" fmla="*/ 1075 w 2815"/>
                    <a:gd name="T27" fmla="*/ 838 h 2096"/>
                    <a:gd name="T28" fmla="*/ 1052 w 2815"/>
                    <a:gd name="T29" fmla="*/ 735 h 2096"/>
                    <a:gd name="T30" fmla="*/ 1067 w 2815"/>
                    <a:gd name="T31" fmla="*/ 688 h 2096"/>
                    <a:gd name="T32" fmla="*/ 1044 w 2815"/>
                    <a:gd name="T33" fmla="*/ 664 h 2096"/>
                    <a:gd name="T34" fmla="*/ 1028 w 2815"/>
                    <a:gd name="T35" fmla="*/ 569 h 2096"/>
                    <a:gd name="T36" fmla="*/ 1384 w 2815"/>
                    <a:gd name="T37" fmla="*/ 119 h 2096"/>
                    <a:gd name="T38" fmla="*/ 1897 w 2815"/>
                    <a:gd name="T39" fmla="*/ 150 h 2096"/>
                    <a:gd name="T40" fmla="*/ 1969 w 2815"/>
                    <a:gd name="T41" fmla="*/ 396 h 2096"/>
                    <a:gd name="T42" fmla="*/ 2055 w 2815"/>
                    <a:gd name="T43" fmla="*/ 656 h 2096"/>
                    <a:gd name="T44" fmla="*/ 2166 w 2815"/>
                    <a:gd name="T45" fmla="*/ 1044 h 2096"/>
                    <a:gd name="T46" fmla="*/ 2166 w 2815"/>
                    <a:gd name="T47" fmla="*/ 1376 h 2096"/>
                    <a:gd name="T48" fmla="*/ 2229 w 2815"/>
                    <a:gd name="T49" fmla="*/ 1692 h 2096"/>
                    <a:gd name="T50" fmla="*/ 2237 w 2815"/>
                    <a:gd name="T51" fmla="*/ 1890 h 2096"/>
                    <a:gd name="T52" fmla="*/ 2206 w 2815"/>
                    <a:gd name="T53" fmla="*/ 1937 h 2096"/>
                    <a:gd name="T54" fmla="*/ 2388 w 2815"/>
                    <a:gd name="T55" fmla="*/ 1850 h 2096"/>
                    <a:gd name="T56" fmla="*/ 2664 w 2815"/>
                    <a:gd name="T57" fmla="*/ 1676 h 2096"/>
                    <a:gd name="T58" fmla="*/ 2633 w 2815"/>
                    <a:gd name="T59" fmla="*/ 1795 h 2096"/>
                    <a:gd name="T60" fmla="*/ 2751 w 2815"/>
                    <a:gd name="T61" fmla="*/ 1708 h 2096"/>
                    <a:gd name="T62" fmla="*/ 2751 w 2815"/>
                    <a:gd name="T63" fmla="*/ 1763 h 2096"/>
                    <a:gd name="T64" fmla="*/ 2411 w 2815"/>
                    <a:gd name="T65" fmla="*/ 1984 h 2096"/>
                    <a:gd name="T66" fmla="*/ 2119 w 2815"/>
                    <a:gd name="T67" fmla="*/ 2064 h 2096"/>
                    <a:gd name="T68" fmla="*/ 2308 w 2815"/>
                    <a:gd name="T69" fmla="*/ 2024 h 2096"/>
                    <a:gd name="T70" fmla="*/ 2719 w 2815"/>
                    <a:gd name="T71" fmla="*/ 1779 h 2096"/>
                    <a:gd name="T72" fmla="*/ 2751 w 2815"/>
                    <a:gd name="T73" fmla="*/ 1716 h 2096"/>
                    <a:gd name="T74" fmla="*/ 2633 w 2815"/>
                    <a:gd name="T75" fmla="*/ 1803 h 2096"/>
                    <a:gd name="T76" fmla="*/ 2656 w 2815"/>
                    <a:gd name="T77" fmla="*/ 1684 h 2096"/>
                    <a:gd name="T78" fmla="*/ 2332 w 2815"/>
                    <a:gd name="T79" fmla="*/ 1882 h 2096"/>
                    <a:gd name="T80" fmla="*/ 2190 w 2815"/>
                    <a:gd name="T81" fmla="*/ 1937 h 2096"/>
                    <a:gd name="T82" fmla="*/ 2237 w 2815"/>
                    <a:gd name="T83" fmla="*/ 1739 h 2096"/>
                    <a:gd name="T84" fmla="*/ 2166 w 2815"/>
                    <a:gd name="T85" fmla="*/ 1455 h 2096"/>
                    <a:gd name="T86" fmla="*/ 2150 w 2815"/>
                    <a:gd name="T87" fmla="*/ 1368 h 2096"/>
                    <a:gd name="T88" fmla="*/ 2055 w 2815"/>
                    <a:gd name="T89" fmla="*/ 664 h 2096"/>
                    <a:gd name="T90" fmla="*/ 1969 w 2815"/>
                    <a:gd name="T91" fmla="*/ 451 h 2096"/>
                    <a:gd name="T92" fmla="*/ 1897 w 2815"/>
                    <a:gd name="T93" fmla="*/ 198 h 2096"/>
                    <a:gd name="T94" fmla="*/ 1123 w 2815"/>
                    <a:gd name="T95" fmla="*/ 459 h 2096"/>
                    <a:gd name="T96" fmla="*/ 980 w 2815"/>
                    <a:gd name="T97" fmla="*/ 648 h 2096"/>
                    <a:gd name="T98" fmla="*/ 1059 w 2815"/>
                    <a:gd name="T99" fmla="*/ 672 h 2096"/>
                    <a:gd name="T100" fmla="*/ 1091 w 2815"/>
                    <a:gd name="T101" fmla="*/ 696 h 2096"/>
                    <a:gd name="T102" fmla="*/ 1067 w 2815"/>
                    <a:gd name="T103" fmla="*/ 814 h 2096"/>
                    <a:gd name="T104" fmla="*/ 1044 w 2815"/>
                    <a:gd name="T105" fmla="*/ 925 h 2096"/>
                    <a:gd name="T106" fmla="*/ 965 w 2815"/>
                    <a:gd name="T107" fmla="*/ 988 h 2096"/>
                    <a:gd name="T108" fmla="*/ 862 w 2815"/>
                    <a:gd name="T109" fmla="*/ 1091 h 2096"/>
                    <a:gd name="T110" fmla="*/ 632 w 2815"/>
                    <a:gd name="T111" fmla="*/ 1138 h 2096"/>
                    <a:gd name="T112" fmla="*/ 206 w 2815"/>
                    <a:gd name="T113" fmla="*/ 1202 h 2096"/>
                    <a:gd name="T114" fmla="*/ 237 w 2815"/>
                    <a:gd name="T115" fmla="*/ 1391 h 2096"/>
                    <a:gd name="T116" fmla="*/ 261 w 2815"/>
                    <a:gd name="T117" fmla="*/ 1431 h 2096"/>
                    <a:gd name="T118" fmla="*/ 32 w 2815"/>
                    <a:gd name="T119" fmla="*/ 1850 h 2096"/>
                    <a:gd name="T120" fmla="*/ 1644 w 2815"/>
                    <a:gd name="T121" fmla="*/ 1605 h 2096"/>
                    <a:gd name="T122" fmla="*/ 1747 w 2815"/>
                    <a:gd name="T123" fmla="*/ 1763 h 2096"/>
                    <a:gd name="T124" fmla="*/ 2150 w 2815"/>
                    <a:gd name="T125" fmla="*/ 1921 h 20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815" h="2096">
                      <a:moveTo>
                        <a:pt x="2150" y="2095"/>
                      </a:moveTo>
                      <a:lnTo>
                        <a:pt x="2150" y="2095"/>
                      </a:lnTo>
                      <a:lnTo>
                        <a:pt x="2150" y="2095"/>
                      </a:lnTo>
                      <a:cubicBezTo>
                        <a:pt x="2135" y="2095"/>
                        <a:pt x="2127" y="2087"/>
                        <a:pt x="2127" y="2079"/>
                      </a:cubicBezTo>
                      <a:cubicBezTo>
                        <a:pt x="2127" y="2071"/>
                        <a:pt x="2119" y="2071"/>
                        <a:pt x="2119" y="2064"/>
                      </a:cubicBezTo>
                      <a:cubicBezTo>
                        <a:pt x="2111" y="2064"/>
                        <a:pt x="2111" y="2064"/>
                        <a:pt x="2111" y="2064"/>
                      </a:cubicBezTo>
                      <a:lnTo>
                        <a:pt x="2111" y="2064"/>
                      </a:lnTo>
                      <a:cubicBezTo>
                        <a:pt x="2119" y="2048"/>
                        <a:pt x="2127" y="2024"/>
                        <a:pt x="2127" y="2016"/>
                      </a:cubicBezTo>
                      <a:cubicBezTo>
                        <a:pt x="2127" y="2008"/>
                        <a:pt x="2135" y="2008"/>
                        <a:pt x="2135" y="2000"/>
                      </a:cubicBezTo>
                      <a:cubicBezTo>
                        <a:pt x="2135" y="1977"/>
                        <a:pt x="2150" y="1937"/>
                        <a:pt x="2142" y="1921"/>
                      </a:cubicBezTo>
                      <a:cubicBezTo>
                        <a:pt x="2142" y="1905"/>
                        <a:pt x="2127" y="1897"/>
                        <a:pt x="2103" y="1897"/>
                      </a:cubicBezTo>
                      <a:cubicBezTo>
                        <a:pt x="2087" y="1890"/>
                        <a:pt x="1889" y="1850"/>
                        <a:pt x="1866" y="1818"/>
                      </a:cubicBezTo>
                      <a:cubicBezTo>
                        <a:pt x="1842" y="1795"/>
                        <a:pt x="1826" y="1787"/>
                        <a:pt x="1787" y="1771"/>
                      </a:cubicBezTo>
                      <a:cubicBezTo>
                        <a:pt x="1779" y="1771"/>
                        <a:pt x="1771" y="1771"/>
                        <a:pt x="1763" y="1771"/>
                      </a:cubicBezTo>
                      <a:cubicBezTo>
                        <a:pt x="1755" y="1771"/>
                        <a:pt x="1755" y="1771"/>
                        <a:pt x="1747" y="1771"/>
                      </a:cubicBezTo>
                      <a:lnTo>
                        <a:pt x="1739" y="1771"/>
                      </a:lnTo>
                      <a:cubicBezTo>
                        <a:pt x="1731" y="1771"/>
                        <a:pt x="1724" y="1771"/>
                        <a:pt x="1716" y="1755"/>
                      </a:cubicBezTo>
                      <a:cubicBezTo>
                        <a:pt x="1708" y="1747"/>
                        <a:pt x="1700" y="1724"/>
                        <a:pt x="1692" y="1708"/>
                      </a:cubicBezTo>
                      <a:cubicBezTo>
                        <a:pt x="1676" y="1668"/>
                        <a:pt x="1660" y="1613"/>
                        <a:pt x="1644" y="1613"/>
                      </a:cubicBezTo>
                      <a:lnTo>
                        <a:pt x="1644" y="1613"/>
                      </a:lnTo>
                      <a:cubicBezTo>
                        <a:pt x="1613" y="1613"/>
                        <a:pt x="1589" y="1613"/>
                        <a:pt x="1542" y="1573"/>
                      </a:cubicBezTo>
                      <a:cubicBezTo>
                        <a:pt x="1526" y="1558"/>
                        <a:pt x="1510" y="1558"/>
                        <a:pt x="1502" y="1558"/>
                      </a:cubicBezTo>
                      <a:cubicBezTo>
                        <a:pt x="1486" y="1558"/>
                        <a:pt x="1471" y="1565"/>
                        <a:pt x="1463" y="1565"/>
                      </a:cubicBezTo>
                      <a:cubicBezTo>
                        <a:pt x="1455" y="1573"/>
                        <a:pt x="1447" y="1573"/>
                        <a:pt x="1439" y="1581"/>
                      </a:cubicBezTo>
                      <a:cubicBezTo>
                        <a:pt x="1415" y="1589"/>
                        <a:pt x="87" y="1842"/>
                        <a:pt x="32" y="1858"/>
                      </a:cubicBezTo>
                      <a:cubicBezTo>
                        <a:pt x="24" y="1858"/>
                        <a:pt x="24" y="1858"/>
                        <a:pt x="24" y="1858"/>
                      </a:cubicBezTo>
                      <a:cubicBezTo>
                        <a:pt x="0" y="1739"/>
                        <a:pt x="0" y="1739"/>
                        <a:pt x="0" y="1739"/>
                      </a:cubicBezTo>
                      <a:lnTo>
                        <a:pt x="0" y="1739"/>
                      </a:lnTo>
                      <a:cubicBezTo>
                        <a:pt x="40" y="1700"/>
                        <a:pt x="79" y="1668"/>
                        <a:pt x="87" y="1653"/>
                      </a:cubicBezTo>
                      <a:cubicBezTo>
                        <a:pt x="103" y="1637"/>
                        <a:pt x="126" y="1613"/>
                        <a:pt x="150" y="1581"/>
                      </a:cubicBezTo>
                      <a:cubicBezTo>
                        <a:pt x="182" y="1542"/>
                        <a:pt x="214" y="1494"/>
                        <a:pt x="229" y="1486"/>
                      </a:cubicBezTo>
                      <a:cubicBezTo>
                        <a:pt x="245" y="1471"/>
                        <a:pt x="253" y="1447"/>
                        <a:pt x="261" y="1431"/>
                      </a:cubicBezTo>
                      <a:cubicBezTo>
                        <a:pt x="261" y="1423"/>
                        <a:pt x="261" y="1415"/>
                        <a:pt x="261" y="1415"/>
                      </a:cubicBezTo>
                      <a:cubicBezTo>
                        <a:pt x="261" y="1407"/>
                        <a:pt x="261" y="1407"/>
                        <a:pt x="261" y="1407"/>
                      </a:cubicBezTo>
                      <a:cubicBezTo>
                        <a:pt x="261" y="1400"/>
                        <a:pt x="253" y="1400"/>
                        <a:pt x="245" y="1400"/>
                      </a:cubicBezTo>
                      <a:cubicBezTo>
                        <a:pt x="237" y="1400"/>
                        <a:pt x="237" y="1407"/>
                        <a:pt x="229" y="1407"/>
                      </a:cubicBezTo>
                      <a:lnTo>
                        <a:pt x="229" y="1407"/>
                      </a:lnTo>
                      <a:lnTo>
                        <a:pt x="229" y="1407"/>
                      </a:lnTo>
                      <a:cubicBezTo>
                        <a:pt x="214" y="1384"/>
                        <a:pt x="182" y="1336"/>
                        <a:pt x="182" y="1313"/>
                      </a:cubicBezTo>
                      <a:lnTo>
                        <a:pt x="182" y="1313"/>
                      </a:lnTo>
                      <a:cubicBezTo>
                        <a:pt x="174" y="1289"/>
                        <a:pt x="166" y="1257"/>
                        <a:pt x="158" y="1225"/>
                      </a:cubicBezTo>
                      <a:lnTo>
                        <a:pt x="158" y="1225"/>
                      </a:lnTo>
                      <a:lnTo>
                        <a:pt x="158" y="1225"/>
                      </a:lnTo>
                      <a:cubicBezTo>
                        <a:pt x="174" y="1218"/>
                        <a:pt x="190" y="1202"/>
                        <a:pt x="206" y="1194"/>
                      </a:cubicBezTo>
                      <a:cubicBezTo>
                        <a:pt x="316" y="1107"/>
                        <a:pt x="474" y="1107"/>
                        <a:pt x="546" y="1099"/>
                      </a:cubicBezTo>
                      <a:cubicBezTo>
                        <a:pt x="561" y="1099"/>
                        <a:pt x="569" y="1099"/>
                        <a:pt x="577" y="1099"/>
                      </a:cubicBezTo>
                      <a:lnTo>
                        <a:pt x="585" y="1099"/>
                      </a:lnTo>
                      <a:cubicBezTo>
                        <a:pt x="601" y="1099"/>
                        <a:pt x="625" y="1115"/>
                        <a:pt x="641" y="1131"/>
                      </a:cubicBezTo>
                      <a:lnTo>
                        <a:pt x="641" y="1131"/>
                      </a:lnTo>
                      <a:cubicBezTo>
                        <a:pt x="656" y="1138"/>
                        <a:pt x="664" y="1138"/>
                        <a:pt x="680" y="1123"/>
                      </a:cubicBezTo>
                      <a:cubicBezTo>
                        <a:pt x="688" y="1115"/>
                        <a:pt x="704" y="1107"/>
                        <a:pt x="719" y="1099"/>
                      </a:cubicBezTo>
                      <a:cubicBezTo>
                        <a:pt x="727" y="1099"/>
                        <a:pt x="735" y="1091"/>
                        <a:pt x="743" y="1091"/>
                      </a:cubicBezTo>
                      <a:cubicBezTo>
                        <a:pt x="759" y="1083"/>
                        <a:pt x="791" y="1075"/>
                        <a:pt x="822" y="1075"/>
                      </a:cubicBezTo>
                      <a:cubicBezTo>
                        <a:pt x="838" y="1075"/>
                        <a:pt x="854" y="1075"/>
                        <a:pt x="862" y="1083"/>
                      </a:cubicBezTo>
                      <a:lnTo>
                        <a:pt x="870" y="1083"/>
                      </a:lnTo>
                      <a:cubicBezTo>
                        <a:pt x="870" y="1083"/>
                        <a:pt x="870" y="1083"/>
                        <a:pt x="878" y="1083"/>
                      </a:cubicBezTo>
                      <a:lnTo>
                        <a:pt x="878" y="1083"/>
                      </a:lnTo>
                      <a:cubicBezTo>
                        <a:pt x="878" y="1075"/>
                        <a:pt x="878" y="1075"/>
                        <a:pt x="885" y="1067"/>
                      </a:cubicBezTo>
                      <a:cubicBezTo>
                        <a:pt x="894" y="1060"/>
                        <a:pt x="909" y="1044"/>
                        <a:pt x="925" y="1028"/>
                      </a:cubicBezTo>
                      <a:cubicBezTo>
                        <a:pt x="949" y="1020"/>
                        <a:pt x="957" y="1004"/>
                        <a:pt x="957" y="988"/>
                      </a:cubicBezTo>
                      <a:cubicBezTo>
                        <a:pt x="965" y="973"/>
                        <a:pt x="980" y="965"/>
                        <a:pt x="988" y="965"/>
                      </a:cubicBezTo>
                      <a:lnTo>
                        <a:pt x="988" y="965"/>
                      </a:lnTo>
                      <a:cubicBezTo>
                        <a:pt x="996" y="965"/>
                        <a:pt x="1004" y="949"/>
                        <a:pt x="1012" y="933"/>
                      </a:cubicBezTo>
                      <a:cubicBezTo>
                        <a:pt x="1012" y="933"/>
                        <a:pt x="1012" y="933"/>
                        <a:pt x="1012" y="925"/>
                      </a:cubicBezTo>
                      <a:cubicBezTo>
                        <a:pt x="1020" y="917"/>
                        <a:pt x="1028" y="917"/>
                        <a:pt x="1036" y="917"/>
                      </a:cubicBezTo>
                      <a:lnTo>
                        <a:pt x="1044" y="917"/>
                      </a:lnTo>
                      <a:cubicBezTo>
                        <a:pt x="1052" y="917"/>
                        <a:pt x="1059" y="917"/>
                        <a:pt x="1059" y="917"/>
                      </a:cubicBezTo>
                      <a:cubicBezTo>
                        <a:pt x="1075" y="917"/>
                        <a:pt x="1075" y="909"/>
                        <a:pt x="1083" y="886"/>
                      </a:cubicBezTo>
                      <a:cubicBezTo>
                        <a:pt x="1083" y="886"/>
                        <a:pt x="1083" y="878"/>
                        <a:pt x="1083" y="870"/>
                      </a:cubicBezTo>
                      <a:cubicBezTo>
                        <a:pt x="1083" y="862"/>
                        <a:pt x="1083" y="846"/>
                        <a:pt x="1075" y="838"/>
                      </a:cubicBezTo>
                      <a:cubicBezTo>
                        <a:pt x="1067" y="830"/>
                        <a:pt x="1067" y="822"/>
                        <a:pt x="1067" y="814"/>
                      </a:cubicBezTo>
                      <a:cubicBezTo>
                        <a:pt x="1059" y="814"/>
                        <a:pt x="1059" y="807"/>
                        <a:pt x="1059" y="807"/>
                      </a:cubicBezTo>
                      <a:cubicBezTo>
                        <a:pt x="1052" y="791"/>
                        <a:pt x="1044" y="775"/>
                        <a:pt x="1044" y="759"/>
                      </a:cubicBezTo>
                      <a:cubicBezTo>
                        <a:pt x="1052" y="751"/>
                        <a:pt x="1052" y="743"/>
                        <a:pt x="1052" y="743"/>
                      </a:cubicBezTo>
                      <a:cubicBezTo>
                        <a:pt x="1052" y="735"/>
                        <a:pt x="1052" y="735"/>
                        <a:pt x="1052" y="735"/>
                      </a:cubicBezTo>
                      <a:lnTo>
                        <a:pt x="1052" y="727"/>
                      </a:lnTo>
                      <a:cubicBezTo>
                        <a:pt x="1059" y="712"/>
                        <a:pt x="1067" y="696"/>
                        <a:pt x="1083" y="696"/>
                      </a:cubicBezTo>
                      <a:cubicBezTo>
                        <a:pt x="1083" y="688"/>
                        <a:pt x="1091" y="688"/>
                        <a:pt x="1091" y="688"/>
                      </a:cubicBezTo>
                      <a:cubicBezTo>
                        <a:pt x="1091" y="680"/>
                        <a:pt x="1083" y="680"/>
                        <a:pt x="1075" y="680"/>
                      </a:cubicBezTo>
                      <a:cubicBezTo>
                        <a:pt x="1075" y="680"/>
                        <a:pt x="1067" y="680"/>
                        <a:pt x="1067" y="688"/>
                      </a:cubicBezTo>
                      <a:cubicBezTo>
                        <a:pt x="1059" y="688"/>
                        <a:pt x="1059" y="688"/>
                        <a:pt x="1052" y="688"/>
                      </a:cubicBezTo>
                      <a:lnTo>
                        <a:pt x="1052" y="688"/>
                      </a:lnTo>
                      <a:cubicBezTo>
                        <a:pt x="1044" y="688"/>
                        <a:pt x="1044" y="680"/>
                        <a:pt x="1052" y="672"/>
                      </a:cubicBezTo>
                      <a:cubicBezTo>
                        <a:pt x="1052" y="664"/>
                        <a:pt x="1052" y="664"/>
                        <a:pt x="1052" y="664"/>
                      </a:cubicBezTo>
                      <a:cubicBezTo>
                        <a:pt x="1044" y="664"/>
                        <a:pt x="1044" y="664"/>
                        <a:pt x="1044" y="664"/>
                      </a:cubicBezTo>
                      <a:cubicBezTo>
                        <a:pt x="1036" y="664"/>
                        <a:pt x="1028" y="664"/>
                        <a:pt x="1028" y="664"/>
                      </a:cubicBezTo>
                      <a:cubicBezTo>
                        <a:pt x="1020" y="672"/>
                        <a:pt x="1020" y="672"/>
                        <a:pt x="1012" y="672"/>
                      </a:cubicBezTo>
                      <a:cubicBezTo>
                        <a:pt x="996" y="672"/>
                        <a:pt x="972" y="664"/>
                        <a:pt x="972" y="648"/>
                      </a:cubicBezTo>
                      <a:cubicBezTo>
                        <a:pt x="972" y="633"/>
                        <a:pt x="1020" y="585"/>
                        <a:pt x="1036" y="569"/>
                      </a:cubicBezTo>
                      <a:cubicBezTo>
                        <a:pt x="1036" y="569"/>
                        <a:pt x="1036" y="569"/>
                        <a:pt x="1028" y="569"/>
                      </a:cubicBezTo>
                      <a:cubicBezTo>
                        <a:pt x="1020" y="569"/>
                        <a:pt x="1020" y="569"/>
                        <a:pt x="1020" y="569"/>
                      </a:cubicBezTo>
                      <a:cubicBezTo>
                        <a:pt x="1028" y="561"/>
                        <a:pt x="1028" y="561"/>
                        <a:pt x="1028" y="561"/>
                      </a:cubicBezTo>
                      <a:cubicBezTo>
                        <a:pt x="1036" y="561"/>
                        <a:pt x="1036" y="554"/>
                        <a:pt x="1044" y="554"/>
                      </a:cubicBezTo>
                      <a:cubicBezTo>
                        <a:pt x="1075" y="522"/>
                        <a:pt x="1115" y="483"/>
                        <a:pt x="1115" y="459"/>
                      </a:cubicBezTo>
                      <a:cubicBezTo>
                        <a:pt x="1115" y="411"/>
                        <a:pt x="1344" y="127"/>
                        <a:pt x="1384" y="119"/>
                      </a:cubicBezTo>
                      <a:cubicBezTo>
                        <a:pt x="1399" y="119"/>
                        <a:pt x="1629" y="63"/>
                        <a:pt x="1874" y="0"/>
                      </a:cubicBezTo>
                      <a:cubicBezTo>
                        <a:pt x="1882" y="0"/>
                        <a:pt x="1882" y="0"/>
                        <a:pt x="1882" y="0"/>
                      </a:cubicBezTo>
                      <a:cubicBezTo>
                        <a:pt x="1882" y="8"/>
                        <a:pt x="1882" y="8"/>
                        <a:pt x="1882" y="8"/>
                      </a:cubicBezTo>
                      <a:cubicBezTo>
                        <a:pt x="1882" y="56"/>
                        <a:pt x="1882" y="87"/>
                        <a:pt x="1889" y="103"/>
                      </a:cubicBezTo>
                      <a:cubicBezTo>
                        <a:pt x="1897" y="111"/>
                        <a:pt x="1897" y="127"/>
                        <a:pt x="1897" y="150"/>
                      </a:cubicBezTo>
                      <a:cubicBezTo>
                        <a:pt x="1897" y="166"/>
                        <a:pt x="1897" y="182"/>
                        <a:pt x="1905" y="190"/>
                      </a:cubicBezTo>
                      <a:cubicBezTo>
                        <a:pt x="1905" y="214"/>
                        <a:pt x="1921" y="221"/>
                        <a:pt x="1929" y="230"/>
                      </a:cubicBezTo>
                      <a:cubicBezTo>
                        <a:pt x="1929" y="237"/>
                        <a:pt x="1937" y="245"/>
                        <a:pt x="1945" y="253"/>
                      </a:cubicBezTo>
                      <a:cubicBezTo>
                        <a:pt x="1961" y="269"/>
                        <a:pt x="1976" y="332"/>
                        <a:pt x="1976" y="356"/>
                      </a:cubicBezTo>
                      <a:cubicBezTo>
                        <a:pt x="1976" y="372"/>
                        <a:pt x="1976" y="380"/>
                        <a:pt x="1969" y="396"/>
                      </a:cubicBezTo>
                      <a:cubicBezTo>
                        <a:pt x="1969" y="411"/>
                        <a:pt x="1961" y="427"/>
                        <a:pt x="1969" y="451"/>
                      </a:cubicBezTo>
                      <a:cubicBezTo>
                        <a:pt x="1984" y="483"/>
                        <a:pt x="2000" y="546"/>
                        <a:pt x="2000" y="577"/>
                      </a:cubicBezTo>
                      <a:cubicBezTo>
                        <a:pt x="2000" y="617"/>
                        <a:pt x="2008" y="664"/>
                        <a:pt x="2024" y="664"/>
                      </a:cubicBezTo>
                      <a:cubicBezTo>
                        <a:pt x="2032" y="664"/>
                        <a:pt x="2040" y="664"/>
                        <a:pt x="2048" y="656"/>
                      </a:cubicBezTo>
                      <a:cubicBezTo>
                        <a:pt x="2048" y="656"/>
                        <a:pt x="2048" y="656"/>
                        <a:pt x="2055" y="656"/>
                      </a:cubicBezTo>
                      <a:cubicBezTo>
                        <a:pt x="2064" y="656"/>
                        <a:pt x="2064" y="656"/>
                        <a:pt x="2071" y="664"/>
                      </a:cubicBezTo>
                      <a:cubicBezTo>
                        <a:pt x="2087" y="696"/>
                        <a:pt x="2103" y="767"/>
                        <a:pt x="2111" y="822"/>
                      </a:cubicBezTo>
                      <a:cubicBezTo>
                        <a:pt x="2119" y="838"/>
                        <a:pt x="2127" y="870"/>
                        <a:pt x="2135" y="901"/>
                      </a:cubicBezTo>
                      <a:cubicBezTo>
                        <a:pt x="2142" y="957"/>
                        <a:pt x="2166" y="1036"/>
                        <a:pt x="2166" y="1044"/>
                      </a:cubicBezTo>
                      <a:lnTo>
                        <a:pt x="2166" y="1044"/>
                      </a:lnTo>
                      <a:lnTo>
                        <a:pt x="2166" y="1044"/>
                      </a:lnTo>
                      <a:cubicBezTo>
                        <a:pt x="2158" y="1368"/>
                        <a:pt x="2158" y="1368"/>
                        <a:pt x="2158" y="1368"/>
                      </a:cubicBezTo>
                      <a:cubicBezTo>
                        <a:pt x="2158" y="1368"/>
                        <a:pt x="2158" y="1376"/>
                        <a:pt x="2166" y="1376"/>
                      </a:cubicBezTo>
                      <a:lnTo>
                        <a:pt x="2166" y="1376"/>
                      </a:lnTo>
                      <a:lnTo>
                        <a:pt x="2166" y="1376"/>
                      </a:lnTo>
                      <a:cubicBezTo>
                        <a:pt x="2166" y="1384"/>
                        <a:pt x="2166" y="1384"/>
                        <a:pt x="2174" y="1407"/>
                      </a:cubicBezTo>
                      <a:cubicBezTo>
                        <a:pt x="2174" y="1423"/>
                        <a:pt x="2174" y="1447"/>
                        <a:pt x="2174" y="1447"/>
                      </a:cubicBezTo>
                      <a:cubicBezTo>
                        <a:pt x="2174" y="1455"/>
                        <a:pt x="2174" y="1463"/>
                        <a:pt x="2182" y="1478"/>
                      </a:cubicBezTo>
                      <a:cubicBezTo>
                        <a:pt x="2182" y="1502"/>
                        <a:pt x="2190" y="1534"/>
                        <a:pt x="2198" y="1558"/>
                      </a:cubicBezTo>
                      <a:cubicBezTo>
                        <a:pt x="2222" y="1597"/>
                        <a:pt x="2229" y="1668"/>
                        <a:pt x="2229" y="1692"/>
                      </a:cubicBezTo>
                      <a:cubicBezTo>
                        <a:pt x="2229" y="1708"/>
                        <a:pt x="2237" y="1716"/>
                        <a:pt x="2237" y="1724"/>
                      </a:cubicBezTo>
                      <a:cubicBezTo>
                        <a:pt x="2245" y="1724"/>
                        <a:pt x="2245" y="1731"/>
                        <a:pt x="2245" y="1739"/>
                      </a:cubicBezTo>
                      <a:cubicBezTo>
                        <a:pt x="2253" y="1747"/>
                        <a:pt x="2261" y="1779"/>
                        <a:pt x="2237" y="1795"/>
                      </a:cubicBezTo>
                      <a:cubicBezTo>
                        <a:pt x="2222" y="1803"/>
                        <a:pt x="2206" y="1834"/>
                        <a:pt x="2206" y="1850"/>
                      </a:cubicBezTo>
                      <a:cubicBezTo>
                        <a:pt x="2206" y="1850"/>
                        <a:pt x="2206" y="1858"/>
                        <a:pt x="2237" y="1890"/>
                      </a:cubicBezTo>
                      <a:lnTo>
                        <a:pt x="2237" y="1890"/>
                      </a:lnTo>
                      <a:lnTo>
                        <a:pt x="2237" y="1890"/>
                      </a:lnTo>
                      <a:cubicBezTo>
                        <a:pt x="2229" y="1897"/>
                        <a:pt x="2214" y="1905"/>
                        <a:pt x="2206" y="1913"/>
                      </a:cubicBezTo>
                      <a:cubicBezTo>
                        <a:pt x="2198" y="1929"/>
                        <a:pt x="2198" y="1937"/>
                        <a:pt x="2198" y="1937"/>
                      </a:cubicBezTo>
                      <a:cubicBezTo>
                        <a:pt x="2198" y="1937"/>
                        <a:pt x="2198" y="1937"/>
                        <a:pt x="2206" y="1937"/>
                      </a:cubicBezTo>
                      <a:cubicBezTo>
                        <a:pt x="2206" y="1937"/>
                        <a:pt x="2214" y="1929"/>
                        <a:pt x="2229" y="1929"/>
                      </a:cubicBezTo>
                      <a:cubicBezTo>
                        <a:pt x="2237" y="1921"/>
                        <a:pt x="2245" y="1913"/>
                        <a:pt x="2261" y="1905"/>
                      </a:cubicBezTo>
                      <a:cubicBezTo>
                        <a:pt x="2277" y="1897"/>
                        <a:pt x="2285" y="1890"/>
                        <a:pt x="2308" y="1882"/>
                      </a:cubicBezTo>
                      <a:cubicBezTo>
                        <a:pt x="2316" y="1882"/>
                        <a:pt x="2324" y="1874"/>
                        <a:pt x="2332" y="1874"/>
                      </a:cubicBezTo>
                      <a:cubicBezTo>
                        <a:pt x="2356" y="1874"/>
                        <a:pt x="2380" y="1866"/>
                        <a:pt x="2388" y="1850"/>
                      </a:cubicBezTo>
                      <a:cubicBezTo>
                        <a:pt x="2403" y="1818"/>
                        <a:pt x="2435" y="1811"/>
                        <a:pt x="2467" y="1811"/>
                      </a:cubicBezTo>
                      <a:cubicBezTo>
                        <a:pt x="2490" y="1811"/>
                        <a:pt x="2538" y="1803"/>
                        <a:pt x="2569" y="1779"/>
                      </a:cubicBezTo>
                      <a:cubicBezTo>
                        <a:pt x="2609" y="1763"/>
                        <a:pt x="2641" y="1716"/>
                        <a:pt x="2648" y="1684"/>
                      </a:cubicBezTo>
                      <a:lnTo>
                        <a:pt x="2656" y="1676"/>
                      </a:lnTo>
                      <a:cubicBezTo>
                        <a:pt x="2664" y="1676"/>
                        <a:pt x="2664" y="1676"/>
                        <a:pt x="2664" y="1676"/>
                      </a:cubicBezTo>
                      <a:cubicBezTo>
                        <a:pt x="2672" y="1684"/>
                        <a:pt x="2672" y="1716"/>
                        <a:pt x="2664" y="1731"/>
                      </a:cubicBezTo>
                      <a:cubicBezTo>
                        <a:pt x="2656" y="1747"/>
                        <a:pt x="2648" y="1755"/>
                        <a:pt x="2648" y="1763"/>
                      </a:cubicBezTo>
                      <a:cubicBezTo>
                        <a:pt x="2641" y="1779"/>
                        <a:pt x="2625" y="1795"/>
                        <a:pt x="2633" y="1795"/>
                      </a:cubicBezTo>
                      <a:lnTo>
                        <a:pt x="2633" y="1795"/>
                      </a:lnTo>
                      <a:lnTo>
                        <a:pt x="2633" y="1795"/>
                      </a:lnTo>
                      <a:cubicBezTo>
                        <a:pt x="2641" y="1795"/>
                        <a:pt x="2680" y="1747"/>
                        <a:pt x="2688" y="1731"/>
                      </a:cubicBezTo>
                      <a:lnTo>
                        <a:pt x="2688" y="1731"/>
                      </a:lnTo>
                      <a:cubicBezTo>
                        <a:pt x="2688" y="1716"/>
                        <a:pt x="2696" y="1700"/>
                        <a:pt x="2712" y="1700"/>
                      </a:cubicBezTo>
                      <a:cubicBezTo>
                        <a:pt x="2719" y="1700"/>
                        <a:pt x="2728" y="1700"/>
                        <a:pt x="2735" y="1700"/>
                      </a:cubicBezTo>
                      <a:cubicBezTo>
                        <a:pt x="2735" y="1708"/>
                        <a:pt x="2743" y="1708"/>
                        <a:pt x="2751" y="1708"/>
                      </a:cubicBezTo>
                      <a:cubicBezTo>
                        <a:pt x="2759" y="1708"/>
                        <a:pt x="2767" y="1700"/>
                        <a:pt x="2775" y="1700"/>
                      </a:cubicBezTo>
                      <a:cubicBezTo>
                        <a:pt x="2783" y="1700"/>
                        <a:pt x="2791" y="1692"/>
                        <a:pt x="2799" y="1692"/>
                      </a:cubicBezTo>
                      <a:cubicBezTo>
                        <a:pt x="2799" y="1692"/>
                        <a:pt x="2807" y="1692"/>
                        <a:pt x="2807" y="1700"/>
                      </a:cubicBezTo>
                      <a:cubicBezTo>
                        <a:pt x="2807" y="1700"/>
                        <a:pt x="2807" y="1700"/>
                        <a:pt x="2814" y="1708"/>
                      </a:cubicBezTo>
                      <a:cubicBezTo>
                        <a:pt x="2814" y="1716"/>
                        <a:pt x="2791" y="1731"/>
                        <a:pt x="2751" y="1763"/>
                      </a:cubicBezTo>
                      <a:cubicBezTo>
                        <a:pt x="2743" y="1771"/>
                        <a:pt x="2735" y="1779"/>
                        <a:pt x="2728" y="1787"/>
                      </a:cubicBezTo>
                      <a:cubicBezTo>
                        <a:pt x="2719" y="1795"/>
                        <a:pt x="2712" y="1795"/>
                        <a:pt x="2704" y="1803"/>
                      </a:cubicBezTo>
                      <a:cubicBezTo>
                        <a:pt x="2688" y="1818"/>
                        <a:pt x="2672" y="1834"/>
                        <a:pt x="2609" y="1866"/>
                      </a:cubicBezTo>
                      <a:cubicBezTo>
                        <a:pt x="2577" y="1882"/>
                        <a:pt x="2546" y="1897"/>
                        <a:pt x="2514" y="1921"/>
                      </a:cubicBezTo>
                      <a:cubicBezTo>
                        <a:pt x="2482" y="1945"/>
                        <a:pt x="2451" y="1969"/>
                        <a:pt x="2411" y="1984"/>
                      </a:cubicBezTo>
                      <a:cubicBezTo>
                        <a:pt x="2380" y="2000"/>
                        <a:pt x="2340" y="2016"/>
                        <a:pt x="2308" y="2032"/>
                      </a:cubicBezTo>
                      <a:cubicBezTo>
                        <a:pt x="2253" y="2064"/>
                        <a:pt x="2198" y="2087"/>
                        <a:pt x="2166" y="2095"/>
                      </a:cubicBezTo>
                      <a:cubicBezTo>
                        <a:pt x="2166" y="2095"/>
                        <a:pt x="2158" y="2095"/>
                        <a:pt x="2150" y="2095"/>
                      </a:cubicBezTo>
                      <a:close/>
                      <a:moveTo>
                        <a:pt x="2119" y="2064"/>
                      </a:moveTo>
                      <a:lnTo>
                        <a:pt x="2119" y="2064"/>
                      </a:lnTo>
                      <a:cubicBezTo>
                        <a:pt x="2127" y="2064"/>
                        <a:pt x="2127" y="2071"/>
                        <a:pt x="2135" y="2079"/>
                      </a:cubicBezTo>
                      <a:cubicBezTo>
                        <a:pt x="2135" y="2079"/>
                        <a:pt x="2135" y="2087"/>
                        <a:pt x="2150" y="2087"/>
                      </a:cubicBezTo>
                      <a:lnTo>
                        <a:pt x="2150" y="2087"/>
                      </a:lnTo>
                      <a:cubicBezTo>
                        <a:pt x="2158" y="2087"/>
                        <a:pt x="2158" y="2087"/>
                        <a:pt x="2166" y="2087"/>
                      </a:cubicBezTo>
                      <a:cubicBezTo>
                        <a:pt x="2198" y="2079"/>
                        <a:pt x="2253" y="2055"/>
                        <a:pt x="2308" y="2024"/>
                      </a:cubicBezTo>
                      <a:cubicBezTo>
                        <a:pt x="2340" y="2008"/>
                        <a:pt x="2372" y="1992"/>
                        <a:pt x="2403" y="1977"/>
                      </a:cubicBezTo>
                      <a:cubicBezTo>
                        <a:pt x="2443" y="1961"/>
                        <a:pt x="2482" y="1937"/>
                        <a:pt x="2514" y="1913"/>
                      </a:cubicBezTo>
                      <a:cubicBezTo>
                        <a:pt x="2546" y="1890"/>
                        <a:pt x="2577" y="1874"/>
                        <a:pt x="2609" y="1858"/>
                      </a:cubicBezTo>
                      <a:cubicBezTo>
                        <a:pt x="2664" y="1834"/>
                        <a:pt x="2680" y="1818"/>
                        <a:pt x="2704" y="1795"/>
                      </a:cubicBezTo>
                      <a:cubicBezTo>
                        <a:pt x="2704" y="1795"/>
                        <a:pt x="2712" y="1787"/>
                        <a:pt x="2719" y="1779"/>
                      </a:cubicBezTo>
                      <a:cubicBezTo>
                        <a:pt x="2728" y="1771"/>
                        <a:pt x="2735" y="1763"/>
                        <a:pt x="2751" y="1755"/>
                      </a:cubicBezTo>
                      <a:cubicBezTo>
                        <a:pt x="2775" y="1739"/>
                        <a:pt x="2807" y="1716"/>
                        <a:pt x="2807" y="1708"/>
                      </a:cubicBezTo>
                      <a:cubicBezTo>
                        <a:pt x="2807" y="1700"/>
                        <a:pt x="2807" y="1700"/>
                        <a:pt x="2807" y="1700"/>
                      </a:cubicBezTo>
                      <a:cubicBezTo>
                        <a:pt x="2799" y="1700"/>
                        <a:pt x="2791" y="1700"/>
                        <a:pt x="2783" y="1708"/>
                      </a:cubicBezTo>
                      <a:cubicBezTo>
                        <a:pt x="2775" y="1708"/>
                        <a:pt x="2759" y="1716"/>
                        <a:pt x="2751" y="1716"/>
                      </a:cubicBezTo>
                      <a:cubicBezTo>
                        <a:pt x="2743" y="1716"/>
                        <a:pt x="2735" y="1708"/>
                        <a:pt x="2728" y="1708"/>
                      </a:cubicBezTo>
                      <a:cubicBezTo>
                        <a:pt x="2719" y="1708"/>
                        <a:pt x="2719" y="1700"/>
                        <a:pt x="2712" y="1700"/>
                      </a:cubicBezTo>
                      <a:cubicBezTo>
                        <a:pt x="2704" y="1700"/>
                        <a:pt x="2696" y="1716"/>
                        <a:pt x="2696" y="1731"/>
                      </a:cubicBezTo>
                      <a:lnTo>
                        <a:pt x="2696" y="1739"/>
                      </a:lnTo>
                      <a:cubicBezTo>
                        <a:pt x="2688" y="1747"/>
                        <a:pt x="2648" y="1803"/>
                        <a:pt x="2633" y="1803"/>
                      </a:cubicBezTo>
                      <a:lnTo>
                        <a:pt x="2625" y="1803"/>
                      </a:lnTo>
                      <a:cubicBezTo>
                        <a:pt x="2625" y="1803"/>
                        <a:pt x="2625" y="1803"/>
                        <a:pt x="2625" y="1795"/>
                      </a:cubicBezTo>
                      <a:cubicBezTo>
                        <a:pt x="2617" y="1787"/>
                        <a:pt x="2625" y="1779"/>
                        <a:pt x="2641" y="1763"/>
                      </a:cubicBezTo>
                      <a:cubicBezTo>
                        <a:pt x="2648" y="1747"/>
                        <a:pt x="2656" y="1739"/>
                        <a:pt x="2656" y="1731"/>
                      </a:cubicBezTo>
                      <a:cubicBezTo>
                        <a:pt x="2664" y="1716"/>
                        <a:pt x="2664" y="1692"/>
                        <a:pt x="2656" y="1684"/>
                      </a:cubicBezTo>
                      <a:cubicBezTo>
                        <a:pt x="2656" y="1684"/>
                        <a:pt x="2656" y="1684"/>
                        <a:pt x="2656" y="1692"/>
                      </a:cubicBezTo>
                      <a:cubicBezTo>
                        <a:pt x="2648" y="1716"/>
                        <a:pt x="2609" y="1771"/>
                        <a:pt x="2577" y="1787"/>
                      </a:cubicBezTo>
                      <a:cubicBezTo>
                        <a:pt x="2546" y="1811"/>
                        <a:pt x="2490" y="1811"/>
                        <a:pt x="2467" y="1818"/>
                      </a:cubicBezTo>
                      <a:cubicBezTo>
                        <a:pt x="2435" y="1818"/>
                        <a:pt x="2403" y="1826"/>
                        <a:pt x="2395" y="1850"/>
                      </a:cubicBezTo>
                      <a:cubicBezTo>
                        <a:pt x="2380" y="1874"/>
                        <a:pt x="2356" y="1882"/>
                        <a:pt x="2332" y="1882"/>
                      </a:cubicBezTo>
                      <a:cubicBezTo>
                        <a:pt x="2324" y="1882"/>
                        <a:pt x="2316" y="1890"/>
                        <a:pt x="2308" y="1890"/>
                      </a:cubicBezTo>
                      <a:cubicBezTo>
                        <a:pt x="2293" y="1890"/>
                        <a:pt x="2277" y="1905"/>
                        <a:pt x="2261" y="1913"/>
                      </a:cubicBezTo>
                      <a:cubicBezTo>
                        <a:pt x="2253" y="1921"/>
                        <a:pt x="2237" y="1929"/>
                        <a:pt x="2229" y="1937"/>
                      </a:cubicBezTo>
                      <a:cubicBezTo>
                        <a:pt x="2222" y="1937"/>
                        <a:pt x="2214" y="1945"/>
                        <a:pt x="2206" y="1945"/>
                      </a:cubicBezTo>
                      <a:cubicBezTo>
                        <a:pt x="2198" y="1945"/>
                        <a:pt x="2198" y="1937"/>
                        <a:pt x="2190" y="1937"/>
                      </a:cubicBezTo>
                      <a:cubicBezTo>
                        <a:pt x="2190" y="1929"/>
                        <a:pt x="2198" y="1921"/>
                        <a:pt x="2206" y="1913"/>
                      </a:cubicBezTo>
                      <a:cubicBezTo>
                        <a:pt x="2214" y="1905"/>
                        <a:pt x="2222" y="1897"/>
                        <a:pt x="2229" y="1890"/>
                      </a:cubicBezTo>
                      <a:cubicBezTo>
                        <a:pt x="2206" y="1874"/>
                        <a:pt x="2198" y="1858"/>
                        <a:pt x="2198" y="1850"/>
                      </a:cubicBezTo>
                      <a:cubicBezTo>
                        <a:pt x="2198" y="1834"/>
                        <a:pt x="2222" y="1803"/>
                        <a:pt x="2237" y="1787"/>
                      </a:cubicBezTo>
                      <a:cubicBezTo>
                        <a:pt x="2253" y="1779"/>
                        <a:pt x="2245" y="1747"/>
                        <a:pt x="2237" y="1739"/>
                      </a:cubicBezTo>
                      <a:cubicBezTo>
                        <a:pt x="2237" y="1731"/>
                        <a:pt x="2237" y="1731"/>
                        <a:pt x="2229" y="1724"/>
                      </a:cubicBezTo>
                      <a:cubicBezTo>
                        <a:pt x="2229" y="1716"/>
                        <a:pt x="2222" y="1708"/>
                        <a:pt x="2222" y="1692"/>
                      </a:cubicBezTo>
                      <a:cubicBezTo>
                        <a:pt x="2222" y="1676"/>
                        <a:pt x="2214" y="1605"/>
                        <a:pt x="2198" y="1565"/>
                      </a:cubicBezTo>
                      <a:cubicBezTo>
                        <a:pt x="2182" y="1534"/>
                        <a:pt x="2174" y="1502"/>
                        <a:pt x="2174" y="1478"/>
                      </a:cubicBezTo>
                      <a:cubicBezTo>
                        <a:pt x="2174" y="1463"/>
                        <a:pt x="2166" y="1455"/>
                        <a:pt x="2166" y="1455"/>
                      </a:cubicBezTo>
                      <a:cubicBezTo>
                        <a:pt x="2166" y="1455"/>
                        <a:pt x="2166" y="1439"/>
                        <a:pt x="2166" y="1407"/>
                      </a:cubicBezTo>
                      <a:cubicBezTo>
                        <a:pt x="2166" y="1391"/>
                        <a:pt x="2158" y="1384"/>
                        <a:pt x="2158" y="1384"/>
                      </a:cubicBezTo>
                      <a:cubicBezTo>
                        <a:pt x="2150" y="1376"/>
                        <a:pt x="2150" y="1368"/>
                        <a:pt x="2150" y="1368"/>
                      </a:cubicBezTo>
                      <a:lnTo>
                        <a:pt x="2150" y="1368"/>
                      </a:lnTo>
                      <a:lnTo>
                        <a:pt x="2150" y="1368"/>
                      </a:lnTo>
                      <a:cubicBezTo>
                        <a:pt x="2158" y="1044"/>
                        <a:pt x="2158" y="1044"/>
                        <a:pt x="2158" y="1044"/>
                      </a:cubicBezTo>
                      <a:cubicBezTo>
                        <a:pt x="2158" y="1036"/>
                        <a:pt x="2142" y="996"/>
                        <a:pt x="2127" y="901"/>
                      </a:cubicBezTo>
                      <a:cubicBezTo>
                        <a:pt x="2119" y="870"/>
                        <a:pt x="2111" y="838"/>
                        <a:pt x="2111" y="822"/>
                      </a:cubicBezTo>
                      <a:cubicBezTo>
                        <a:pt x="2087" y="743"/>
                        <a:pt x="2071" y="696"/>
                        <a:pt x="2064" y="672"/>
                      </a:cubicBezTo>
                      <a:cubicBezTo>
                        <a:pt x="2055" y="664"/>
                        <a:pt x="2055" y="664"/>
                        <a:pt x="2055" y="664"/>
                      </a:cubicBezTo>
                      <a:cubicBezTo>
                        <a:pt x="2055" y="664"/>
                        <a:pt x="2055" y="664"/>
                        <a:pt x="2048" y="664"/>
                      </a:cubicBezTo>
                      <a:cubicBezTo>
                        <a:pt x="2048" y="672"/>
                        <a:pt x="2040" y="672"/>
                        <a:pt x="2032" y="672"/>
                      </a:cubicBezTo>
                      <a:cubicBezTo>
                        <a:pt x="2024" y="672"/>
                        <a:pt x="2024" y="672"/>
                        <a:pt x="2024" y="672"/>
                      </a:cubicBezTo>
                      <a:cubicBezTo>
                        <a:pt x="2000" y="664"/>
                        <a:pt x="1992" y="609"/>
                        <a:pt x="1992" y="577"/>
                      </a:cubicBezTo>
                      <a:cubicBezTo>
                        <a:pt x="1992" y="554"/>
                        <a:pt x="1976" y="483"/>
                        <a:pt x="1969" y="451"/>
                      </a:cubicBezTo>
                      <a:cubicBezTo>
                        <a:pt x="1961" y="427"/>
                        <a:pt x="1961" y="411"/>
                        <a:pt x="1969" y="387"/>
                      </a:cubicBezTo>
                      <a:cubicBezTo>
                        <a:pt x="1969" y="380"/>
                        <a:pt x="1969" y="372"/>
                        <a:pt x="1969" y="364"/>
                      </a:cubicBezTo>
                      <a:cubicBezTo>
                        <a:pt x="1969" y="332"/>
                        <a:pt x="1953" y="277"/>
                        <a:pt x="1937" y="253"/>
                      </a:cubicBezTo>
                      <a:cubicBezTo>
                        <a:pt x="1937" y="245"/>
                        <a:pt x="1929" y="237"/>
                        <a:pt x="1921" y="237"/>
                      </a:cubicBezTo>
                      <a:cubicBezTo>
                        <a:pt x="1913" y="230"/>
                        <a:pt x="1905" y="221"/>
                        <a:pt x="1897" y="198"/>
                      </a:cubicBezTo>
                      <a:cubicBezTo>
                        <a:pt x="1889" y="182"/>
                        <a:pt x="1889" y="166"/>
                        <a:pt x="1889" y="150"/>
                      </a:cubicBezTo>
                      <a:cubicBezTo>
                        <a:pt x="1889" y="127"/>
                        <a:pt x="1889" y="111"/>
                        <a:pt x="1882" y="103"/>
                      </a:cubicBezTo>
                      <a:cubicBezTo>
                        <a:pt x="1874" y="95"/>
                        <a:pt x="1874" y="48"/>
                        <a:pt x="1874" y="8"/>
                      </a:cubicBezTo>
                      <a:cubicBezTo>
                        <a:pt x="1629" y="71"/>
                        <a:pt x="1399" y="119"/>
                        <a:pt x="1384" y="127"/>
                      </a:cubicBezTo>
                      <a:cubicBezTo>
                        <a:pt x="1344" y="135"/>
                        <a:pt x="1123" y="419"/>
                        <a:pt x="1123" y="459"/>
                      </a:cubicBezTo>
                      <a:cubicBezTo>
                        <a:pt x="1123" y="490"/>
                        <a:pt x="1083" y="522"/>
                        <a:pt x="1044" y="554"/>
                      </a:cubicBezTo>
                      <a:cubicBezTo>
                        <a:pt x="1044" y="561"/>
                        <a:pt x="1044" y="561"/>
                        <a:pt x="1036" y="561"/>
                      </a:cubicBezTo>
                      <a:cubicBezTo>
                        <a:pt x="1044" y="561"/>
                        <a:pt x="1044" y="569"/>
                        <a:pt x="1044" y="569"/>
                      </a:cubicBezTo>
                      <a:cubicBezTo>
                        <a:pt x="1052" y="569"/>
                        <a:pt x="1044" y="569"/>
                        <a:pt x="1044" y="577"/>
                      </a:cubicBezTo>
                      <a:cubicBezTo>
                        <a:pt x="1028" y="585"/>
                        <a:pt x="980" y="641"/>
                        <a:pt x="980" y="648"/>
                      </a:cubicBezTo>
                      <a:cubicBezTo>
                        <a:pt x="980" y="656"/>
                        <a:pt x="996" y="664"/>
                        <a:pt x="1012" y="664"/>
                      </a:cubicBezTo>
                      <a:cubicBezTo>
                        <a:pt x="1020" y="664"/>
                        <a:pt x="1020" y="664"/>
                        <a:pt x="1020" y="664"/>
                      </a:cubicBezTo>
                      <a:cubicBezTo>
                        <a:pt x="1028" y="656"/>
                        <a:pt x="1036" y="656"/>
                        <a:pt x="1044" y="656"/>
                      </a:cubicBezTo>
                      <a:lnTo>
                        <a:pt x="1052" y="656"/>
                      </a:lnTo>
                      <a:cubicBezTo>
                        <a:pt x="1059" y="664"/>
                        <a:pt x="1059" y="664"/>
                        <a:pt x="1059" y="672"/>
                      </a:cubicBezTo>
                      <a:cubicBezTo>
                        <a:pt x="1052" y="680"/>
                        <a:pt x="1052" y="680"/>
                        <a:pt x="1052" y="680"/>
                      </a:cubicBezTo>
                      <a:cubicBezTo>
                        <a:pt x="1052" y="680"/>
                        <a:pt x="1059" y="680"/>
                        <a:pt x="1067" y="680"/>
                      </a:cubicBezTo>
                      <a:cubicBezTo>
                        <a:pt x="1067" y="672"/>
                        <a:pt x="1075" y="672"/>
                        <a:pt x="1075" y="672"/>
                      </a:cubicBezTo>
                      <a:cubicBezTo>
                        <a:pt x="1091" y="672"/>
                        <a:pt x="1099" y="680"/>
                        <a:pt x="1099" y="688"/>
                      </a:cubicBezTo>
                      <a:cubicBezTo>
                        <a:pt x="1099" y="688"/>
                        <a:pt x="1099" y="696"/>
                        <a:pt x="1091" y="696"/>
                      </a:cubicBezTo>
                      <a:cubicBezTo>
                        <a:pt x="1067" y="704"/>
                        <a:pt x="1059" y="727"/>
                        <a:pt x="1059" y="735"/>
                      </a:cubicBezTo>
                      <a:lnTo>
                        <a:pt x="1059" y="743"/>
                      </a:lnTo>
                      <a:cubicBezTo>
                        <a:pt x="1059" y="751"/>
                        <a:pt x="1052" y="751"/>
                        <a:pt x="1052" y="767"/>
                      </a:cubicBezTo>
                      <a:cubicBezTo>
                        <a:pt x="1052" y="775"/>
                        <a:pt x="1059" y="791"/>
                        <a:pt x="1067" y="798"/>
                      </a:cubicBezTo>
                      <a:cubicBezTo>
                        <a:pt x="1067" y="807"/>
                        <a:pt x="1067" y="807"/>
                        <a:pt x="1067" y="814"/>
                      </a:cubicBezTo>
                      <a:cubicBezTo>
                        <a:pt x="1075" y="822"/>
                        <a:pt x="1075" y="830"/>
                        <a:pt x="1083" y="830"/>
                      </a:cubicBezTo>
                      <a:cubicBezTo>
                        <a:pt x="1083" y="846"/>
                        <a:pt x="1091" y="862"/>
                        <a:pt x="1091" y="878"/>
                      </a:cubicBezTo>
                      <a:cubicBezTo>
                        <a:pt x="1091" y="878"/>
                        <a:pt x="1091" y="886"/>
                        <a:pt x="1083" y="886"/>
                      </a:cubicBezTo>
                      <a:cubicBezTo>
                        <a:pt x="1083" y="909"/>
                        <a:pt x="1083" y="925"/>
                        <a:pt x="1059" y="925"/>
                      </a:cubicBezTo>
                      <a:cubicBezTo>
                        <a:pt x="1059" y="925"/>
                        <a:pt x="1052" y="925"/>
                        <a:pt x="1044" y="925"/>
                      </a:cubicBezTo>
                      <a:cubicBezTo>
                        <a:pt x="1036" y="925"/>
                        <a:pt x="1028" y="917"/>
                        <a:pt x="1020" y="933"/>
                      </a:cubicBezTo>
                      <a:cubicBezTo>
                        <a:pt x="1020" y="933"/>
                        <a:pt x="1020" y="933"/>
                        <a:pt x="1020" y="941"/>
                      </a:cubicBezTo>
                      <a:cubicBezTo>
                        <a:pt x="1012" y="957"/>
                        <a:pt x="1004" y="965"/>
                        <a:pt x="988" y="973"/>
                      </a:cubicBezTo>
                      <a:lnTo>
                        <a:pt x="988" y="973"/>
                      </a:lnTo>
                      <a:cubicBezTo>
                        <a:pt x="980" y="973"/>
                        <a:pt x="965" y="980"/>
                        <a:pt x="965" y="988"/>
                      </a:cubicBezTo>
                      <a:cubicBezTo>
                        <a:pt x="957" y="1004"/>
                        <a:pt x="949" y="1028"/>
                        <a:pt x="933" y="1036"/>
                      </a:cubicBezTo>
                      <a:cubicBezTo>
                        <a:pt x="909" y="1044"/>
                        <a:pt x="894" y="1060"/>
                        <a:pt x="885" y="1075"/>
                      </a:cubicBezTo>
                      <a:cubicBezTo>
                        <a:pt x="885" y="1075"/>
                        <a:pt x="885" y="1075"/>
                        <a:pt x="885" y="1083"/>
                      </a:cubicBezTo>
                      <a:cubicBezTo>
                        <a:pt x="885" y="1091"/>
                        <a:pt x="885" y="1099"/>
                        <a:pt x="870" y="1091"/>
                      </a:cubicBezTo>
                      <a:lnTo>
                        <a:pt x="862" y="1091"/>
                      </a:lnTo>
                      <a:cubicBezTo>
                        <a:pt x="846" y="1083"/>
                        <a:pt x="838" y="1083"/>
                        <a:pt x="822" y="1083"/>
                      </a:cubicBezTo>
                      <a:cubicBezTo>
                        <a:pt x="791" y="1083"/>
                        <a:pt x="759" y="1091"/>
                        <a:pt x="743" y="1099"/>
                      </a:cubicBezTo>
                      <a:cubicBezTo>
                        <a:pt x="743" y="1099"/>
                        <a:pt x="735" y="1107"/>
                        <a:pt x="727" y="1107"/>
                      </a:cubicBezTo>
                      <a:cubicBezTo>
                        <a:pt x="712" y="1115"/>
                        <a:pt x="696" y="1123"/>
                        <a:pt x="688" y="1131"/>
                      </a:cubicBezTo>
                      <a:cubicBezTo>
                        <a:pt x="672" y="1147"/>
                        <a:pt x="656" y="1147"/>
                        <a:pt x="632" y="1138"/>
                      </a:cubicBezTo>
                      <a:lnTo>
                        <a:pt x="632" y="1138"/>
                      </a:lnTo>
                      <a:cubicBezTo>
                        <a:pt x="617" y="1123"/>
                        <a:pt x="601" y="1107"/>
                        <a:pt x="585" y="1107"/>
                      </a:cubicBezTo>
                      <a:lnTo>
                        <a:pt x="577" y="1107"/>
                      </a:lnTo>
                      <a:cubicBezTo>
                        <a:pt x="577" y="1107"/>
                        <a:pt x="561" y="1107"/>
                        <a:pt x="546" y="1107"/>
                      </a:cubicBezTo>
                      <a:cubicBezTo>
                        <a:pt x="474" y="1115"/>
                        <a:pt x="316" y="1115"/>
                        <a:pt x="206" y="1202"/>
                      </a:cubicBezTo>
                      <a:cubicBezTo>
                        <a:pt x="190" y="1210"/>
                        <a:pt x="182" y="1218"/>
                        <a:pt x="166" y="1225"/>
                      </a:cubicBezTo>
                      <a:cubicBezTo>
                        <a:pt x="174" y="1257"/>
                        <a:pt x="182" y="1289"/>
                        <a:pt x="190" y="1305"/>
                      </a:cubicBezTo>
                      <a:cubicBezTo>
                        <a:pt x="190" y="1313"/>
                        <a:pt x="190" y="1313"/>
                        <a:pt x="190" y="1313"/>
                      </a:cubicBezTo>
                      <a:cubicBezTo>
                        <a:pt x="190" y="1336"/>
                        <a:pt x="221" y="1376"/>
                        <a:pt x="229" y="1400"/>
                      </a:cubicBezTo>
                      <a:cubicBezTo>
                        <a:pt x="237" y="1400"/>
                        <a:pt x="237" y="1400"/>
                        <a:pt x="237" y="1391"/>
                      </a:cubicBezTo>
                      <a:lnTo>
                        <a:pt x="237" y="1391"/>
                      </a:lnTo>
                      <a:lnTo>
                        <a:pt x="237" y="1391"/>
                      </a:lnTo>
                      <a:cubicBezTo>
                        <a:pt x="245" y="1391"/>
                        <a:pt x="261" y="1391"/>
                        <a:pt x="269" y="1400"/>
                      </a:cubicBezTo>
                      <a:cubicBezTo>
                        <a:pt x="269" y="1407"/>
                        <a:pt x="269" y="1407"/>
                        <a:pt x="269" y="1415"/>
                      </a:cubicBezTo>
                      <a:cubicBezTo>
                        <a:pt x="269" y="1415"/>
                        <a:pt x="269" y="1423"/>
                        <a:pt x="261" y="1431"/>
                      </a:cubicBezTo>
                      <a:cubicBezTo>
                        <a:pt x="261" y="1447"/>
                        <a:pt x="253" y="1478"/>
                        <a:pt x="237" y="1486"/>
                      </a:cubicBezTo>
                      <a:cubicBezTo>
                        <a:pt x="221" y="1502"/>
                        <a:pt x="182" y="1542"/>
                        <a:pt x="150" y="1589"/>
                      </a:cubicBezTo>
                      <a:cubicBezTo>
                        <a:pt x="126" y="1613"/>
                        <a:pt x="111" y="1644"/>
                        <a:pt x="95" y="1660"/>
                      </a:cubicBezTo>
                      <a:cubicBezTo>
                        <a:pt x="79" y="1676"/>
                        <a:pt x="48" y="1708"/>
                        <a:pt x="8" y="1739"/>
                      </a:cubicBezTo>
                      <a:cubicBezTo>
                        <a:pt x="32" y="1850"/>
                        <a:pt x="32" y="1850"/>
                        <a:pt x="32" y="1850"/>
                      </a:cubicBezTo>
                      <a:cubicBezTo>
                        <a:pt x="111" y="1834"/>
                        <a:pt x="1415" y="1581"/>
                        <a:pt x="1439" y="1573"/>
                      </a:cubicBezTo>
                      <a:cubicBezTo>
                        <a:pt x="1447" y="1573"/>
                        <a:pt x="1455" y="1565"/>
                        <a:pt x="1455" y="1565"/>
                      </a:cubicBezTo>
                      <a:cubicBezTo>
                        <a:pt x="1471" y="1558"/>
                        <a:pt x="1486" y="1550"/>
                        <a:pt x="1502" y="1550"/>
                      </a:cubicBezTo>
                      <a:cubicBezTo>
                        <a:pt x="1510" y="1550"/>
                        <a:pt x="1526" y="1558"/>
                        <a:pt x="1542" y="1565"/>
                      </a:cubicBezTo>
                      <a:cubicBezTo>
                        <a:pt x="1589" y="1605"/>
                        <a:pt x="1613" y="1605"/>
                        <a:pt x="1644" y="1605"/>
                      </a:cubicBezTo>
                      <a:lnTo>
                        <a:pt x="1644" y="1605"/>
                      </a:lnTo>
                      <a:cubicBezTo>
                        <a:pt x="1668" y="1605"/>
                        <a:pt x="1684" y="1653"/>
                        <a:pt x="1700" y="1700"/>
                      </a:cubicBezTo>
                      <a:cubicBezTo>
                        <a:pt x="1708" y="1724"/>
                        <a:pt x="1716" y="1739"/>
                        <a:pt x="1724" y="1755"/>
                      </a:cubicBezTo>
                      <a:cubicBezTo>
                        <a:pt x="1731" y="1763"/>
                        <a:pt x="1731" y="1763"/>
                        <a:pt x="1739" y="1763"/>
                      </a:cubicBezTo>
                      <a:cubicBezTo>
                        <a:pt x="1739" y="1763"/>
                        <a:pt x="1739" y="1763"/>
                        <a:pt x="1747" y="1763"/>
                      </a:cubicBezTo>
                      <a:cubicBezTo>
                        <a:pt x="1747" y="1763"/>
                        <a:pt x="1755" y="1763"/>
                        <a:pt x="1763" y="1763"/>
                      </a:cubicBezTo>
                      <a:cubicBezTo>
                        <a:pt x="1771" y="1763"/>
                        <a:pt x="1779" y="1763"/>
                        <a:pt x="1787" y="1763"/>
                      </a:cubicBezTo>
                      <a:cubicBezTo>
                        <a:pt x="1826" y="1779"/>
                        <a:pt x="1842" y="1787"/>
                        <a:pt x="1874" y="1811"/>
                      </a:cubicBezTo>
                      <a:cubicBezTo>
                        <a:pt x="1897" y="1842"/>
                        <a:pt x="2079" y="1882"/>
                        <a:pt x="2103" y="1890"/>
                      </a:cubicBezTo>
                      <a:cubicBezTo>
                        <a:pt x="2127" y="1890"/>
                        <a:pt x="2142" y="1905"/>
                        <a:pt x="2150" y="1921"/>
                      </a:cubicBezTo>
                      <a:cubicBezTo>
                        <a:pt x="2158" y="1929"/>
                        <a:pt x="2150" y="1969"/>
                        <a:pt x="2142" y="2000"/>
                      </a:cubicBezTo>
                      <a:cubicBezTo>
                        <a:pt x="2135" y="2008"/>
                        <a:pt x="2135" y="2008"/>
                        <a:pt x="2135" y="2016"/>
                      </a:cubicBezTo>
                      <a:cubicBezTo>
                        <a:pt x="2135" y="2024"/>
                        <a:pt x="2127" y="2048"/>
                        <a:pt x="2119" y="206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6" name="Freeform 769">
                  <a:extLst>
                    <a:ext uri="{FF2B5EF4-FFF2-40B4-BE49-F238E27FC236}">
                      <a16:creationId xmlns:a16="http://schemas.microsoft.com/office/drawing/2014/main" id="{D193F89D-D682-B44B-92AC-BC1870C2AC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214509" y="5108430"/>
                  <a:ext cx="294551" cy="598381"/>
                </a:xfrm>
                <a:custGeom>
                  <a:avLst/>
                  <a:gdLst>
                    <a:gd name="T0" fmla="*/ 450 w 562"/>
                    <a:gd name="T1" fmla="*/ 371 h 1139"/>
                    <a:gd name="T2" fmla="*/ 450 w 562"/>
                    <a:gd name="T3" fmla="*/ 371 h 1139"/>
                    <a:gd name="T4" fmla="*/ 387 w 562"/>
                    <a:gd name="T5" fmla="*/ 332 h 1139"/>
                    <a:gd name="T6" fmla="*/ 427 w 562"/>
                    <a:gd name="T7" fmla="*/ 269 h 1139"/>
                    <a:gd name="T8" fmla="*/ 427 w 562"/>
                    <a:gd name="T9" fmla="*/ 269 h 1139"/>
                    <a:gd name="T10" fmla="*/ 443 w 562"/>
                    <a:gd name="T11" fmla="*/ 221 h 1139"/>
                    <a:gd name="T12" fmla="*/ 458 w 562"/>
                    <a:gd name="T13" fmla="*/ 126 h 1139"/>
                    <a:gd name="T14" fmla="*/ 411 w 562"/>
                    <a:gd name="T15" fmla="*/ 95 h 1139"/>
                    <a:gd name="T16" fmla="*/ 174 w 562"/>
                    <a:gd name="T17" fmla="*/ 23 h 1139"/>
                    <a:gd name="T18" fmla="*/ 150 w 562"/>
                    <a:gd name="T19" fmla="*/ 0 h 1139"/>
                    <a:gd name="T20" fmla="*/ 95 w 562"/>
                    <a:gd name="T21" fmla="*/ 63 h 1139"/>
                    <a:gd name="T22" fmla="*/ 87 w 562"/>
                    <a:gd name="T23" fmla="*/ 134 h 1139"/>
                    <a:gd name="T24" fmla="*/ 39 w 562"/>
                    <a:gd name="T25" fmla="*/ 245 h 1139"/>
                    <a:gd name="T26" fmla="*/ 79 w 562"/>
                    <a:gd name="T27" fmla="*/ 269 h 1139"/>
                    <a:gd name="T28" fmla="*/ 55 w 562"/>
                    <a:gd name="T29" fmla="*/ 316 h 1139"/>
                    <a:gd name="T30" fmla="*/ 39 w 562"/>
                    <a:gd name="T31" fmla="*/ 371 h 1139"/>
                    <a:gd name="T32" fmla="*/ 245 w 562"/>
                    <a:gd name="T33" fmla="*/ 545 h 1139"/>
                    <a:gd name="T34" fmla="*/ 190 w 562"/>
                    <a:gd name="T35" fmla="*/ 616 h 1139"/>
                    <a:gd name="T36" fmla="*/ 158 w 562"/>
                    <a:gd name="T37" fmla="*/ 703 h 1139"/>
                    <a:gd name="T38" fmla="*/ 110 w 562"/>
                    <a:gd name="T39" fmla="*/ 751 h 1139"/>
                    <a:gd name="T40" fmla="*/ 47 w 562"/>
                    <a:gd name="T41" fmla="*/ 846 h 1139"/>
                    <a:gd name="T42" fmla="*/ 87 w 562"/>
                    <a:gd name="T43" fmla="*/ 964 h 1139"/>
                    <a:gd name="T44" fmla="*/ 110 w 562"/>
                    <a:gd name="T45" fmla="*/ 972 h 1139"/>
                    <a:gd name="T46" fmla="*/ 158 w 562"/>
                    <a:gd name="T47" fmla="*/ 1019 h 1139"/>
                    <a:gd name="T48" fmla="*/ 253 w 562"/>
                    <a:gd name="T49" fmla="*/ 1035 h 1139"/>
                    <a:gd name="T50" fmla="*/ 284 w 562"/>
                    <a:gd name="T51" fmla="*/ 1043 h 1139"/>
                    <a:gd name="T52" fmla="*/ 316 w 562"/>
                    <a:gd name="T53" fmla="*/ 1083 h 1139"/>
                    <a:gd name="T54" fmla="*/ 316 w 562"/>
                    <a:gd name="T55" fmla="*/ 1138 h 1139"/>
                    <a:gd name="T56" fmla="*/ 363 w 562"/>
                    <a:gd name="T57" fmla="*/ 1106 h 1139"/>
                    <a:gd name="T58" fmla="*/ 411 w 562"/>
                    <a:gd name="T59" fmla="*/ 1035 h 1139"/>
                    <a:gd name="T60" fmla="*/ 419 w 562"/>
                    <a:gd name="T61" fmla="*/ 940 h 1139"/>
                    <a:gd name="T62" fmla="*/ 458 w 562"/>
                    <a:gd name="T63" fmla="*/ 853 h 1139"/>
                    <a:gd name="T64" fmla="*/ 482 w 562"/>
                    <a:gd name="T65" fmla="*/ 782 h 1139"/>
                    <a:gd name="T66" fmla="*/ 514 w 562"/>
                    <a:gd name="T67" fmla="*/ 513 h 1139"/>
                    <a:gd name="T68" fmla="*/ 450 w 562"/>
                    <a:gd name="T69" fmla="*/ 371 h 1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562" h="1139">
                      <a:moveTo>
                        <a:pt x="450" y="371"/>
                      </a:moveTo>
                      <a:lnTo>
                        <a:pt x="450" y="371"/>
                      </a:lnTo>
                      <a:cubicBezTo>
                        <a:pt x="340" y="387"/>
                        <a:pt x="387" y="371"/>
                        <a:pt x="387" y="332"/>
                      </a:cubicBezTo>
                      <a:cubicBezTo>
                        <a:pt x="387" y="300"/>
                        <a:pt x="403" y="260"/>
                        <a:pt x="427" y="269"/>
                      </a:cubicBezTo>
                      <a:lnTo>
                        <a:pt x="427" y="269"/>
                      </a:lnTo>
                      <a:cubicBezTo>
                        <a:pt x="427" y="253"/>
                        <a:pt x="435" y="229"/>
                        <a:pt x="443" y="221"/>
                      </a:cubicBezTo>
                      <a:cubicBezTo>
                        <a:pt x="443" y="205"/>
                        <a:pt x="466" y="142"/>
                        <a:pt x="458" y="126"/>
                      </a:cubicBezTo>
                      <a:cubicBezTo>
                        <a:pt x="450" y="110"/>
                        <a:pt x="435" y="102"/>
                        <a:pt x="411" y="95"/>
                      </a:cubicBezTo>
                      <a:cubicBezTo>
                        <a:pt x="387" y="95"/>
                        <a:pt x="197" y="47"/>
                        <a:pt x="174" y="23"/>
                      </a:cubicBezTo>
                      <a:cubicBezTo>
                        <a:pt x="166" y="8"/>
                        <a:pt x="158" y="0"/>
                        <a:pt x="150" y="0"/>
                      </a:cubicBezTo>
                      <a:cubicBezTo>
                        <a:pt x="134" y="8"/>
                        <a:pt x="95" y="55"/>
                        <a:pt x="95" y="63"/>
                      </a:cubicBezTo>
                      <a:cubicBezTo>
                        <a:pt x="95" y="79"/>
                        <a:pt x="103" y="126"/>
                        <a:pt x="87" y="134"/>
                      </a:cubicBezTo>
                      <a:cubicBezTo>
                        <a:pt x="63" y="150"/>
                        <a:pt x="0" y="229"/>
                        <a:pt x="39" y="245"/>
                      </a:cubicBezTo>
                      <a:cubicBezTo>
                        <a:pt x="71" y="260"/>
                        <a:pt x="79" y="245"/>
                        <a:pt x="79" y="269"/>
                      </a:cubicBezTo>
                      <a:cubicBezTo>
                        <a:pt x="79" y="284"/>
                        <a:pt x="71" y="300"/>
                        <a:pt x="55" y="316"/>
                      </a:cubicBezTo>
                      <a:cubicBezTo>
                        <a:pt x="39" y="324"/>
                        <a:pt x="32" y="363"/>
                        <a:pt x="39" y="371"/>
                      </a:cubicBezTo>
                      <a:cubicBezTo>
                        <a:pt x="55" y="387"/>
                        <a:pt x="237" y="537"/>
                        <a:pt x="245" y="545"/>
                      </a:cubicBezTo>
                      <a:cubicBezTo>
                        <a:pt x="245" y="545"/>
                        <a:pt x="205" y="600"/>
                        <a:pt x="190" y="616"/>
                      </a:cubicBezTo>
                      <a:cubicBezTo>
                        <a:pt x="174" y="640"/>
                        <a:pt x="174" y="680"/>
                        <a:pt x="158" y="703"/>
                      </a:cubicBezTo>
                      <a:cubicBezTo>
                        <a:pt x="150" y="735"/>
                        <a:pt x="134" y="743"/>
                        <a:pt x="110" y="751"/>
                      </a:cubicBezTo>
                      <a:cubicBezTo>
                        <a:pt x="87" y="759"/>
                        <a:pt x="39" y="798"/>
                        <a:pt x="47" y="846"/>
                      </a:cubicBezTo>
                      <a:cubicBezTo>
                        <a:pt x="47" y="877"/>
                        <a:pt x="63" y="925"/>
                        <a:pt x="87" y="964"/>
                      </a:cubicBezTo>
                      <a:cubicBezTo>
                        <a:pt x="95" y="956"/>
                        <a:pt x="87" y="940"/>
                        <a:pt x="110" y="972"/>
                      </a:cubicBezTo>
                      <a:cubicBezTo>
                        <a:pt x="142" y="1004"/>
                        <a:pt x="87" y="996"/>
                        <a:pt x="158" y="1019"/>
                      </a:cubicBezTo>
                      <a:cubicBezTo>
                        <a:pt x="237" y="1051"/>
                        <a:pt x="229" y="1043"/>
                        <a:pt x="253" y="1035"/>
                      </a:cubicBezTo>
                      <a:cubicBezTo>
                        <a:pt x="277" y="1027"/>
                        <a:pt x="284" y="1012"/>
                        <a:pt x="284" y="1043"/>
                      </a:cubicBezTo>
                      <a:cubicBezTo>
                        <a:pt x="292" y="1075"/>
                        <a:pt x="340" y="1035"/>
                        <a:pt x="316" y="1083"/>
                      </a:cubicBezTo>
                      <a:cubicBezTo>
                        <a:pt x="292" y="1122"/>
                        <a:pt x="277" y="1138"/>
                        <a:pt x="316" y="1138"/>
                      </a:cubicBezTo>
                      <a:cubicBezTo>
                        <a:pt x="348" y="1130"/>
                        <a:pt x="356" y="1130"/>
                        <a:pt x="363" y="1106"/>
                      </a:cubicBezTo>
                      <a:cubicBezTo>
                        <a:pt x="379" y="1083"/>
                        <a:pt x="403" y="1075"/>
                        <a:pt x="411" y="1035"/>
                      </a:cubicBezTo>
                      <a:cubicBezTo>
                        <a:pt x="419" y="1004"/>
                        <a:pt x="395" y="972"/>
                        <a:pt x="419" y="940"/>
                      </a:cubicBezTo>
                      <a:cubicBezTo>
                        <a:pt x="443" y="909"/>
                        <a:pt x="450" y="893"/>
                        <a:pt x="458" y="853"/>
                      </a:cubicBezTo>
                      <a:cubicBezTo>
                        <a:pt x="474" y="814"/>
                        <a:pt x="450" y="798"/>
                        <a:pt x="482" y="782"/>
                      </a:cubicBezTo>
                      <a:cubicBezTo>
                        <a:pt x="514" y="766"/>
                        <a:pt x="522" y="561"/>
                        <a:pt x="514" y="513"/>
                      </a:cubicBezTo>
                      <a:cubicBezTo>
                        <a:pt x="506" y="458"/>
                        <a:pt x="561" y="348"/>
                        <a:pt x="450" y="371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7" name="Freeform 770">
                  <a:extLst>
                    <a:ext uri="{FF2B5EF4-FFF2-40B4-BE49-F238E27FC236}">
                      <a16:creationId xmlns:a16="http://schemas.microsoft.com/office/drawing/2014/main" id="{7132D7E7-CF41-C049-93B4-4296A5F6EF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221466" y="5103792"/>
                  <a:ext cx="271359" cy="603020"/>
                </a:xfrm>
                <a:custGeom>
                  <a:avLst/>
                  <a:gdLst>
                    <a:gd name="T0" fmla="*/ 276 w 515"/>
                    <a:gd name="T1" fmla="*/ 1138 h 1147"/>
                    <a:gd name="T2" fmla="*/ 300 w 515"/>
                    <a:gd name="T3" fmla="*/ 1067 h 1147"/>
                    <a:gd name="T4" fmla="*/ 261 w 515"/>
                    <a:gd name="T5" fmla="*/ 1035 h 1147"/>
                    <a:gd name="T6" fmla="*/ 229 w 515"/>
                    <a:gd name="T7" fmla="*/ 1051 h 1147"/>
                    <a:gd name="T8" fmla="*/ 103 w 515"/>
                    <a:gd name="T9" fmla="*/ 1004 h 1147"/>
                    <a:gd name="T10" fmla="*/ 71 w 515"/>
                    <a:gd name="T11" fmla="*/ 972 h 1147"/>
                    <a:gd name="T12" fmla="*/ 23 w 515"/>
                    <a:gd name="T13" fmla="*/ 854 h 1147"/>
                    <a:gd name="T14" fmla="*/ 150 w 515"/>
                    <a:gd name="T15" fmla="*/ 680 h 1147"/>
                    <a:gd name="T16" fmla="*/ 79 w 515"/>
                    <a:gd name="T17" fmla="*/ 427 h 1147"/>
                    <a:gd name="T18" fmla="*/ 39 w 515"/>
                    <a:gd name="T19" fmla="*/ 316 h 1147"/>
                    <a:gd name="T20" fmla="*/ 47 w 515"/>
                    <a:gd name="T21" fmla="*/ 261 h 1147"/>
                    <a:gd name="T22" fmla="*/ 63 w 515"/>
                    <a:gd name="T23" fmla="*/ 142 h 1147"/>
                    <a:gd name="T24" fmla="*/ 126 w 515"/>
                    <a:gd name="T25" fmla="*/ 0 h 1147"/>
                    <a:gd name="T26" fmla="*/ 166 w 515"/>
                    <a:gd name="T27" fmla="*/ 24 h 1147"/>
                    <a:gd name="T28" fmla="*/ 434 w 515"/>
                    <a:gd name="T29" fmla="*/ 213 h 1147"/>
                    <a:gd name="T30" fmla="*/ 411 w 515"/>
                    <a:gd name="T31" fmla="*/ 284 h 1147"/>
                    <a:gd name="T32" fmla="*/ 379 w 515"/>
                    <a:gd name="T33" fmla="*/ 340 h 1147"/>
                    <a:gd name="T34" fmla="*/ 379 w 515"/>
                    <a:gd name="T35" fmla="*/ 379 h 1147"/>
                    <a:gd name="T36" fmla="*/ 506 w 515"/>
                    <a:gd name="T37" fmla="*/ 466 h 1147"/>
                    <a:gd name="T38" fmla="*/ 450 w 515"/>
                    <a:gd name="T39" fmla="*/ 830 h 1147"/>
                    <a:gd name="T40" fmla="*/ 395 w 515"/>
                    <a:gd name="T41" fmla="*/ 1004 h 1147"/>
                    <a:gd name="T42" fmla="*/ 356 w 515"/>
                    <a:gd name="T43" fmla="*/ 1114 h 1147"/>
                    <a:gd name="T44" fmla="*/ 261 w 515"/>
                    <a:gd name="T45" fmla="*/ 1027 h 1147"/>
                    <a:gd name="T46" fmla="*/ 292 w 515"/>
                    <a:gd name="T47" fmla="*/ 1059 h 1147"/>
                    <a:gd name="T48" fmla="*/ 292 w 515"/>
                    <a:gd name="T49" fmla="*/ 1114 h 1147"/>
                    <a:gd name="T50" fmla="*/ 300 w 515"/>
                    <a:gd name="T51" fmla="*/ 1138 h 1147"/>
                    <a:gd name="T52" fmla="*/ 387 w 515"/>
                    <a:gd name="T53" fmla="*/ 1043 h 1147"/>
                    <a:gd name="T54" fmla="*/ 442 w 515"/>
                    <a:gd name="T55" fmla="*/ 861 h 1147"/>
                    <a:gd name="T56" fmla="*/ 498 w 515"/>
                    <a:gd name="T57" fmla="*/ 521 h 1147"/>
                    <a:gd name="T58" fmla="*/ 434 w 515"/>
                    <a:gd name="T59" fmla="*/ 379 h 1147"/>
                    <a:gd name="T60" fmla="*/ 363 w 515"/>
                    <a:gd name="T61" fmla="*/ 363 h 1147"/>
                    <a:gd name="T62" fmla="*/ 411 w 515"/>
                    <a:gd name="T63" fmla="*/ 268 h 1147"/>
                    <a:gd name="T64" fmla="*/ 434 w 515"/>
                    <a:gd name="T65" fmla="*/ 134 h 1147"/>
                    <a:gd name="T66" fmla="*/ 134 w 515"/>
                    <a:gd name="T67" fmla="*/ 8 h 1147"/>
                    <a:gd name="T68" fmla="*/ 71 w 515"/>
                    <a:gd name="T69" fmla="*/ 142 h 1147"/>
                    <a:gd name="T70" fmla="*/ 47 w 515"/>
                    <a:gd name="T71" fmla="*/ 253 h 1147"/>
                    <a:gd name="T72" fmla="*/ 23 w 515"/>
                    <a:gd name="T73" fmla="*/ 363 h 1147"/>
                    <a:gd name="T74" fmla="*/ 229 w 515"/>
                    <a:gd name="T75" fmla="*/ 553 h 1147"/>
                    <a:gd name="T76" fmla="*/ 150 w 515"/>
                    <a:gd name="T77" fmla="*/ 711 h 1147"/>
                    <a:gd name="T78" fmla="*/ 71 w 515"/>
                    <a:gd name="T79" fmla="*/ 964 h 1147"/>
                    <a:gd name="T80" fmla="*/ 94 w 515"/>
                    <a:gd name="T81" fmla="*/ 980 h 1147"/>
                    <a:gd name="T82" fmla="*/ 213 w 515"/>
                    <a:gd name="T83" fmla="*/ 1043 h 1147"/>
                    <a:gd name="T84" fmla="*/ 253 w 515"/>
                    <a:gd name="T85" fmla="*/ 1035 h 1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15" h="1147">
                      <a:moveTo>
                        <a:pt x="292" y="1146"/>
                      </a:moveTo>
                      <a:lnTo>
                        <a:pt x="292" y="1146"/>
                      </a:lnTo>
                      <a:cubicBezTo>
                        <a:pt x="284" y="1146"/>
                        <a:pt x="276" y="1146"/>
                        <a:pt x="276" y="1138"/>
                      </a:cubicBezTo>
                      <a:cubicBezTo>
                        <a:pt x="268" y="1130"/>
                        <a:pt x="276" y="1122"/>
                        <a:pt x="284" y="1107"/>
                      </a:cubicBezTo>
                      <a:cubicBezTo>
                        <a:pt x="292" y="1099"/>
                        <a:pt x="292" y="1099"/>
                        <a:pt x="300" y="1083"/>
                      </a:cubicBezTo>
                      <a:cubicBezTo>
                        <a:pt x="300" y="1075"/>
                        <a:pt x="300" y="1075"/>
                        <a:pt x="300" y="1067"/>
                      </a:cubicBezTo>
                      <a:lnTo>
                        <a:pt x="292" y="1067"/>
                      </a:lnTo>
                      <a:cubicBezTo>
                        <a:pt x="284" y="1067"/>
                        <a:pt x="268" y="1067"/>
                        <a:pt x="268" y="1051"/>
                      </a:cubicBezTo>
                      <a:cubicBezTo>
                        <a:pt x="268" y="1043"/>
                        <a:pt x="268" y="1035"/>
                        <a:pt x="261" y="1035"/>
                      </a:cubicBezTo>
                      <a:cubicBezTo>
                        <a:pt x="261" y="1035"/>
                        <a:pt x="261" y="1035"/>
                        <a:pt x="253" y="1035"/>
                      </a:cubicBezTo>
                      <a:cubicBezTo>
                        <a:pt x="253" y="1043"/>
                        <a:pt x="245" y="1043"/>
                        <a:pt x="237" y="1043"/>
                      </a:cubicBezTo>
                      <a:cubicBezTo>
                        <a:pt x="237" y="1043"/>
                        <a:pt x="237" y="1043"/>
                        <a:pt x="229" y="1051"/>
                      </a:cubicBezTo>
                      <a:cubicBezTo>
                        <a:pt x="229" y="1051"/>
                        <a:pt x="221" y="1051"/>
                        <a:pt x="213" y="1051"/>
                      </a:cubicBezTo>
                      <a:cubicBezTo>
                        <a:pt x="197" y="1051"/>
                        <a:pt x="181" y="1043"/>
                        <a:pt x="142" y="1035"/>
                      </a:cubicBezTo>
                      <a:cubicBezTo>
                        <a:pt x="103" y="1020"/>
                        <a:pt x="103" y="1012"/>
                        <a:pt x="103" y="1004"/>
                      </a:cubicBezTo>
                      <a:cubicBezTo>
                        <a:pt x="103" y="996"/>
                        <a:pt x="103" y="996"/>
                        <a:pt x="94" y="980"/>
                      </a:cubicBezTo>
                      <a:cubicBezTo>
                        <a:pt x="87" y="972"/>
                        <a:pt x="79" y="972"/>
                        <a:pt x="79" y="964"/>
                      </a:cubicBezTo>
                      <a:cubicBezTo>
                        <a:pt x="79" y="972"/>
                        <a:pt x="79" y="972"/>
                        <a:pt x="71" y="972"/>
                      </a:cubicBezTo>
                      <a:cubicBezTo>
                        <a:pt x="71" y="980"/>
                        <a:pt x="71" y="980"/>
                        <a:pt x="71" y="980"/>
                      </a:cubicBezTo>
                      <a:cubicBezTo>
                        <a:pt x="63" y="972"/>
                        <a:pt x="63" y="972"/>
                        <a:pt x="63" y="972"/>
                      </a:cubicBezTo>
                      <a:cubicBezTo>
                        <a:pt x="39" y="933"/>
                        <a:pt x="31" y="893"/>
                        <a:pt x="23" y="854"/>
                      </a:cubicBezTo>
                      <a:cubicBezTo>
                        <a:pt x="16" y="806"/>
                        <a:pt x="63" y="767"/>
                        <a:pt x="94" y="751"/>
                      </a:cubicBezTo>
                      <a:cubicBezTo>
                        <a:pt x="118" y="743"/>
                        <a:pt x="134" y="735"/>
                        <a:pt x="142" y="711"/>
                      </a:cubicBezTo>
                      <a:cubicBezTo>
                        <a:pt x="142" y="703"/>
                        <a:pt x="150" y="695"/>
                        <a:pt x="150" y="680"/>
                      </a:cubicBezTo>
                      <a:cubicBezTo>
                        <a:pt x="158" y="664"/>
                        <a:pt x="166" y="640"/>
                        <a:pt x="174" y="624"/>
                      </a:cubicBezTo>
                      <a:cubicBezTo>
                        <a:pt x="189" y="608"/>
                        <a:pt x="221" y="561"/>
                        <a:pt x="221" y="553"/>
                      </a:cubicBezTo>
                      <a:cubicBezTo>
                        <a:pt x="221" y="545"/>
                        <a:pt x="126" y="474"/>
                        <a:pt x="79" y="427"/>
                      </a:cubicBezTo>
                      <a:cubicBezTo>
                        <a:pt x="47" y="403"/>
                        <a:pt x="31" y="387"/>
                        <a:pt x="23" y="387"/>
                      </a:cubicBezTo>
                      <a:cubicBezTo>
                        <a:pt x="16" y="379"/>
                        <a:pt x="16" y="371"/>
                        <a:pt x="16" y="363"/>
                      </a:cubicBezTo>
                      <a:cubicBezTo>
                        <a:pt x="16" y="348"/>
                        <a:pt x="23" y="324"/>
                        <a:pt x="39" y="316"/>
                      </a:cubicBezTo>
                      <a:cubicBezTo>
                        <a:pt x="55" y="308"/>
                        <a:pt x="55" y="292"/>
                        <a:pt x="55" y="277"/>
                      </a:cubicBezTo>
                      <a:cubicBezTo>
                        <a:pt x="55" y="268"/>
                        <a:pt x="55" y="261"/>
                        <a:pt x="55" y="261"/>
                      </a:cubicBezTo>
                      <a:cubicBezTo>
                        <a:pt x="55" y="261"/>
                        <a:pt x="55" y="261"/>
                        <a:pt x="47" y="261"/>
                      </a:cubicBezTo>
                      <a:cubicBezTo>
                        <a:pt x="47" y="261"/>
                        <a:pt x="31" y="261"/>
                        <a:pt x="16" y="253"/>
                      </a:cubicBezTo>
                      <a:cubicBezTo>
                        <a:pt x="16" y="253"/>
                        <a:pt x="8" y="245"/>
                        <a:pt x="8" y="237"/>
                      </a:cubicBezTo>
                      <a:cubicBezTo>
                        <a:pt x="0" y="205"/>
                        <a:pt x="55" y="150"/>
                        <a:pt x="63" y="142"/>
                      </a:cubicBezTo>
                      <a:cubicBezTo>
                        <a:pt x="79" y="126"/>
                        <a:pt x="79" y="95"/>
                        <a:pt x="71" y="79"/>
                      </a:cubicBezTo>
                      <a:cubicBezTo>
                        <a:pt x="71" y="79"/>
                        <a:pt x="71" y="79"/>
                        <a:pt x="71" y="71"/>
                      </a:cubicBezTo>
                      <a:cubicBezTo>
                        <a:pt x="71" y="63"/>
                        <a:pt x="103" y="24"/>
                        <a:pt x="126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lnTo>
                        <a:pt x="134" y="0"/>
                      </a:lnTo>
                      <a:cubicBezTo>
                        <a:pt x="142" y="8"/>
                        <a:pt x="150" y="16"/>
                        <a:pt x="166" y="24"/>
                      </a:cubicBezTo>
                      <a:cubicBezTo>
                        <a:pt x="189" y="55"/>
                        <a:pt x="371" y="95"/>
                        <a:pt x="395" y="103"/>
                      </a:cubicBezTo>
                      <a:cubicBezTo>
                        <a:pt x="419" y="103"/>
                        <a:pt x="434" y="118"/>
                        <a:pt x="442" y="134"/>
                      </a:cubicBezTo>
                      <a:cubicBezTo>
                        <a:pt x="450" y="142"/>
                        <a:pt x="442" y="182"/>
                        <a:pt x="434" y="213"/>
                      </a:cubicBezTo>
                      <a:cubicBezTo>
                        <a:pt x="427" y="221"/>
                        <a:pt x="427" y="221"/>
                        <a:pt x="427" y="229"/>
                      </a:cubicBezTo>
                      <a:cubicBezTo>
                        <a:pt x="427" y="237"/>
                        <a:pt x="419" y="261"/>
                        <a:pt x="411" y="277"/>
                      </a:cubicBezTo>
                      <a:cubicBezTo>
                        <a:pt x="411" y="284"/>
                        <a:pt x="411" y="284"/>
                        <a:pt x="411" y="284"/>
                      </a:cubicBezTo>
                      <a:cubicBezTo>
                        <a:pt x="411" y="277"/>
                        <a:pt x="411" y="277"/>
                        <a:pt x="411" y="277"/>
                      </a:cubicBezTo>
                      <a:cubicBezTo>
                        <a:pt x="403" y="277"/>
                        <a:pt x="403" y="277"/>
                        <a:pt x="403" y="277"/>
                      </a:cubicBezTo>
                      <a:cubicBezTo>
                        <a:pt x="387" y="277"/>
                        <a:pt x="379" y="308"/>
                        <a:pt x="379" y="340"/>
                      </a:cubicBezTo>
                      <a:cubicBezTo>
                        <a:pt x="379" y="356"/>
                        <a:pt x="371" y="363"/>
                        <a:pt x="371" y="371"/>
                      </a:cubicBezTo>
                      <a:lnTo>
                        <a:pt x="363" y="379"/>
                      </a:lnTo>
                      <a:cubicBezTo>
                        <a:pt x="363" y="379"/>
                        <a:pt x="371" y="379"/>
                        <a:pt x="379" y="379"/>
                      </a:cubicBezTo>
                      <a:cubicBezTo>
                        <a:pt x="387" y="379"/>
                        <a:pt x="403" y="379"/>
                        <a:pt x="434" y="371"/>
                      </a:cubicBezTo>
                      <a:cubicBezTo>
                        <a:pt x="466" y="371"/>
                        <a:pt x="482" y="371"/>
                        <a:pt x="498" y="387"/>
                      </a:cubicBezTo>
                      <a:cubicBezTo>
                        <a:pt x="514" y="403"/>
                        <a:pt x="514" y="435"/>
                        <a:pt x="506" y="466"/>
                      </a:cubicBezTo>
                      <a:cubicBezTo>
                        <a:pt x="506" y="490"/>
                        <a:pt x="506" y="506"/>
                        <a:pt x="506" y="521"/>
                      </a:cubicBezTo>
                      <a:cubicBezTo>
                        <a:pt x="514" y="569"/>
                        <a:pt x="506" y="774"/>
                        <a:pt x="474" y="790"/>
                      </a:cubicBezTo>
                      <a:cubicBezTo>
                        <a:pt x="450" y="798"/>
                        <a:pt x="450" y="814"/>
                        <a:pt x="450" y="830"/>
                      </a:cubicBezTo>
                      <a:cubicBezTo>
                        <a:pt x="450" y="838"/>
                        <a:pt x="450" y="854"/>
                        <a:pt x="450" y="861"/>
                      </a:cubicBezTo>
                      <a:cubicBezTo>
                        <a:pt x="434" y="909"/>
                        <a:pt x="434" y="917"/>
                        <a:pt x="411" y="948"/>
                      </a:cubicBezTo>
                      <a:cubicBezTo>
                        <a:pt x="395" y="972"/>
                        <a:pt x="395" y="988"/>
                        <a:pt x="395" y="1004"/>
                      </a:cubicBezTo>
                      <a:cubicBezTo>
                        <a:pt x="395" y="1020"/>
                        <a:pt x="403" y="1035"/>
                        <a:pt x="395" y="1043"/>
                      </a:cubicBezTo>
                      <a:cubicBezTo>
                        <a:pt x="387" y="1067"/>
                        <a:pt x="379" y="1083"/>
                        <a:pt x="371" y="1091"/>
                      </a:cubicBezTo>
                      <a:cubicBezTo>
                        <a:pt x="363" y="1099"/>
                        <a:pt x="356" y="1107"/>
                        <a:pt x="356" y="1114"/>
                      </a:cubicBezTo>
                      <a:cubicBezTo>
                        <a:pt x="347" y="1138"/>
                        <a:pt x="332" y="1146"/>
                        <a:pt x="300" y="1146"/>
                      </a:cubicBezTo>
                      <a:cubicBezTo>
                        <a:pt x="292" y="1146"/>
                        <a:pt x="292" y="1146"/>
                        <a:pt x="292" y="1146"/>
                      </a:cubicBezTo>
                      <a:close/>
                      <a:moveTo>
                        <a:pt x="261" y="1027"/>
                      </a:moveTo>
                      <a:lnTo>
                        <a:pt x="261" y="1027"/>
                      </a:lnTo>
                      <a:cubicBezTo>
                        <a:pt x="276" y="1027"/>
                        <a:pt x="276" y="1043"/>
                        <a:pt x="276" y="1051"/>
                      </a:cubicBezTo>
                      <a:cubicBezTo>
                        <a:pt x="276" y="1059"/>
                        <a:pt x="284" y="1059"/>
                        <a:pt x="292" y="1059"/>
                      </a:cubicBezTo>
                      <a:cubicBezTo>
                        <a:pt x="300" y="1059"/>
                        <a:pt x="308" y="1059"/>
                        <a:pt x="308" y="1067"/>
                      </a:cubicBezTo>
                      <a:cubicBezTo>
                        <a:pt x="308" y="1075"/>
                        <a:pt x="308" y="1075"/>
                        <a:pt x="300" y="1091"/>
                      </a:cubicBezTo>
                      <a:cubicBezTo>
                        <a:pt x="300" y="1099"/>
                        <a:pt x="292" y="1107"/>
                        <a:pt x="292" y="1114"/>
                      </a:cubicBezTo>
                      <a:cubicBezTo>
                        <a:pt x="284" y="1122"/>
                        <a:pt x="276" y="1130"/>
                        <a:pt x="284" y="1138"/>
                      </a:cubicBezTo>
                      <a:cubicBezTo>
                        <a:pt x="284" y="1138"/>
                        <a:pt x="284" y="1138"/>
                        <a:pt x="292" y="1138"/>
                      </a:cubicBezTo>
                      <a:cubicBezTo>
                        <a:pt x="292" y="1138"/>
                        <a:pt x="292" y="1138"/>
                        <a:pt x="300" y="1138"/>
                      </a:cubicBezTo>
                      <a:cubicBezTo>
                        <a:pt x="332" y="1138"/>
                        <a:pt x="340" y="1130"/>
                        <a:pt x="347" y="1114"/>
                      </a:cubicBezTo>
                      <a:cubicBezTo>
                        <a:pt x="356" y="1099"/>
                        <a:pt x="356" y="1099"/>
                        <a:pt x="363" y="1091"/>
                      </a:cubicBezTo>
                      <a:cubicBezTo>
                        <a:pt x="371" y="1075"/>
                        <a:pt x="387" y="1067"/>
                        <a:pt x="387" y="1043"/>
                      </a:cubicBezTo>
                      <a:cubicBezTo>
                        <a:pt x="395" y="1027"/>
                        <a:pt x="395" y="1020"/>
                        <a:pt x="387" y="1004"/>
                      </a:cubicBezTo>
                      <a:cubicBezTo>
                        <a:pt x="387" y="988"/>
                        <a:pt x="387" y="964"/>
                        <a:pt x="403" y="948"/>
                      </a:cubicBezTo>
                      <a:cubicBezTo>
                        <a:pt x="427" y="917"/>
                        <a:pt x="434" y="901"/>
                        <a:pt x="442" y="861"/>
                      </a:cubicBezTo>
                      <a:cubicBezTo>
                        <a:pt x="442" y="846"/>
                        <a:pt x="442" y="838"/>
                        <a:pt x="442" y="830"/>
                      </a:cubicBezTo>
                      <a:cubicBezTo>
                        <a:pt x="442" y="814"/>
                        <a:pt x="442" y="798"/>
                        <a:pt x="466" y="790"/>
                      </a:cubicBezTo>
                      <a:cubicBezTo>
                        <a:pt x="498" y="774"/>
                        <a:pt x="506" y="577"/>
                        <a:pt x="498" y="521"/>
                      </a:cubicBezTo>
                      <a:cubicBezTo>
                        <a:pt x="498" y="506"/>
                        <a:pt x="498" y="490"/>
                        <a:pt x="498" y="466"/>
                      </a:cubicBezTo>
                      <a:cubicBezTo>
                        <a:pt x="506" y="435"/>
                        <a:pt x="506" y="411"/>
                        <a:pt x="490" y="387"/>
                      </a:cubicBezTo>
                      <a:cubicBezTo>
                        <a:pt x="482" y="379"/>
                        <a:pt x="466" y="379"/>
                        <a:pt x="434" y="379"/>
                      </a:cubicBezTo>
                      <a:cubicBezTo>
                        <a:pt x="403" y="387"/>
                        <a:pt x="387" y="387"/>
                        <a:pt x="379" y="387"/>
                      </a:cubicBezTo>
                      <a:cubicBezTo>
                        <a:pt x="363" y="387"/>
                        <a:pt x="363" y="387"/>
                        <a:pt x="363" y="387"/>
                      </a:cubicBezTo>
                      <a:cubicBezTo>
                        <a:pt x="356" y="379"/>
                        <a:pt x="363" y="371"/>
                        <a:pt x="363" y="363"/>
                      </a:cubicBezTo>
                      <a:cubicBezTo>
                        <a:pt x="363" y="356"/>
                        <a:pt x="371" y="348"/>
                        <a:pt x="371" y="340"/>
                      </a:cubicBezTo>
                      <a:cubicBezTo>
                        <a:pt x="371" y="308"/>
                        <a:pt x="387" y="268"/>
                        <a:pt x="403" y="268"/>
                      </a:cubicBezTo>
                      <a:cubicBezTo>
                        <a:pt x="403" y="268"/>
                        <a:pt x="403" y="268"/>
                        <a:pt x="411" y="268"/>
                      </a:cubicBezTo>
                      <a:cubicBezTo>
                        <a:pt x="411" y="261"/>
                        <a:pt x="419" y="237"/>
                        <a:pt x="419" y="229"/>
                      </a:cubicBezTo>
                      <a:cubicBezTo>
                        <a:pt x="419" y="221"/>
                        <a:pt x="427" y="221"/>
                        <a:pt x="427" y="213"/>
                      </a:cubicBezTo>
                      <a:cubicBezTo>
                        <a:pt x="427" y="190"/>
                        <a:pt x="442" y="150"/>
                        <a:pt x="434" y="134"/>
                      </a:cubicBezTo>
                      <a:cubicBezTo>
                        <a:pt x="434" y="118"/>
                        <a:pt x="419" y="110"/>
                        <a:pt x="395" y="110"/>
                      </a:cubicBezTo>
                      <a:cubicBezTo>
                        <a:pt x="379" y="103"/>
                        <a:pt x="181" y="63"/>
                        <a:pt x="158" y="31"/>
                      </a:cubicBezTo>
                      <a:cubicBezTo>
                        <a:pt x="150" y="24"/>
                        <a:pt x="142" y="16"/>
                        <a:pt x="134" y="8"/>
                      </a:cubicBezTo>
                      <a:cubicBezTo>
                        <a:pt x="103" y="39"/>
                        <a:pt x="79" y="63"/>
                        <a:pt x="79" y="71"/>
                      </a:cubicBezTo>
                      <a:cubicBezTo>
                        <a:pt x="79" y="79"/>
                        <a:pt x="79" y="79"/>
                        <a:pt x="79" y="79"/>
                      </a:cubicBezTo>
                      <a:cubicBezTo>
                        <a:pt x="79" y="103"/>
                        <a:pt x="87" y="134"/>
                        <a:pt x="71" y="142"/>
                      </a:cubicBezTo>
                      <a:cubicBezTo>
                        <a:pt x="55" y="158"/>
                        <a:pt x="8" y="213"/>
                        <a:pt x="16" y="237"/>
                      </a:cubicBezTo>
                      <a:cubicBezTo>
                        <a:pt x="16" y="245"/>
                        <a:pt x="16" y="245"/>
                        <a:pt x="23" y="245"/>
                      </a:cubicBezTo>
                      <a:cubicBezTo>
                        <a:pt x="39" y="253"/>
                        <a:pt x="47" y="253"/>
                        <a:pt x="47" y="253"/>
                      </a:cubicBezTo>
                      <a:cubicBezTo>
                        <a:pt x="63" y="253"/>
                        <a:pt x="63" y="261"/>
                        <a:pt x="63" y="277"/>
                      </a:cubicBezTo>
                      <a:cubicBezTo>
                        <a:pt x="63" y="300"/>
                        <a:pt x="55" y="308"/>
                        <a:pt x="39" y="324"/>
                      </a:cubicBezTo>
                      <a:cubicBezTo>
                        <a:pt x="31" y="332"/>
                        <a:pt x="23" y="348"/>
                        <a:pt x="23" y="363"/>
                      </a:cubicBezTo>
                      <a:cubicBezTo>
                        <a:pt x="23" y="371"/>
                        <a:pt x="23" y="379"/>
                        <a:pt x="31" y="379"/>
                      </a:cubicBezTo>
                      <a:cubicBezTo>
                        <a:pt x="31" y="379"/>
                        <a:pt x="55" y="403"/>
                        <a:pt x="79" y="427"/>
                      </a:cubicBezTo>
                      <a:cubicBezTo>
                        <a:pt x="197" y="521"/>
                        <a:pt x="229" y="545"/>
                        <a:pt x="229" y="553"/>
                      </a:cubicBezTo>
                      <a:cubicBezTo>
                        <a:pt x="237" y="561"/>
                        <a:pt x="181" y="632"/>
                        <a:pt x="181" y="632"/>
                      </a:cubicBezTo>
                      <a:cubicBezTo>
                        <a:pt x="166" y="640"/>
                        <a:pt x="166" y="664"/>
                        <a:pt x="158" y="688"/>
                      </a:cubicBezTo>
                      <a:cubicBezTo>
                        <a:pt x="158" y="695"/>
                        <a:pt x="150" y="703"/>
                        <a:pt x="150" y="711"/>
                      </a:cubicBezTo>
                      <a:cubicBezTo>
                        <a:pt x="134" y="743"/>
                        <a:pt x="126" y="751"/>
                        <a:pt x="94" y="759"/>
                      </a:cubicBezTo>
                      <a:cubicBezTo>
                        <a:pt x="71" y="767"/>
                        <a:pt x="23" y="806"/>
                        <a:pt x="31" y="854"/>
                      </a:cubicBezTo>
                      <a:cubicBezTo>
                        <a:pt x="39" y="885"/>
                        <a:pt x="47" y="925"/>
                        <a:pt x="71" y="964"/>
                      </a:cubicBezTo>
                      <a:lnTo>
                        <a:pt x="71" y="964"/>
                      </a:lnTo>
                      <a:cubicBezTo>
                        <a:pt x="71" y="964"/>
                        <a:pt x="71" y="956"/>
                        <a:pt x="79" y="956"/>
                      </a:cubicBezTo>
                      <a:cubicBezTo>
                        <a:pt x="79" y="956"/>
                        <a:pt x="87" y="956"/>
                        <a:pt x="94" y="980"/>
                      </a:cubicBezTo>
                      <a:cubicBezTo>
                        <a:pt x="110" y="988"/>
                        <a:pt x="110" y="996"/>
                        <a:pt x="110" y="1004"/>
                      </a:cubicBezTo>
                      <a:cubicBezTo>
                        <a:pt x="110" y="1012"/>
                        <a:pt x="110" y="1012"/>
                        <a:pt x="150" y="1027"/>
                      </a:cubicBezTo>
                      <a:cubicBezTo>
                        <a:pt x="181" y="1035"/>
                        <a:pt x="205" y="1043"/>
                        <a:pt x="213" y="1043"/>
                      </a:cubicBezTo>
                      <a:cubicBezTo>
                        <a:pt x="221" y="1043"/>
                        <a:pt x="221" y="1043"/>
                        <a:pt x="229" y="1043"/>
                      </a:cubicBezTo>
                      <a:lnTo>
                        <a:pt x="237" y="1035"/>
                      </a:lnTo>
                      <a:cubicBezTo>
                        <a:pt x="245" y="1035"/>
                        <a:pt x="245" y="1035"/>
                        <a:pt x="253" y="1035"/>
                      </a:cubicBezTo>
                      <a:cubicBezTo>
                        <a:pt x="253" y="1027"/>
                        <a:pt x="261" y="1027"/>
                        <a:pt x="261" y="1027"/>
                      </a:cubicBezTo>
                      <a:close/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8" name="Freeform 771">
                  <a:extLst>
                    <a:ext uri="{FF2B5EF4-FFF2-40B4-BE49-F238E27FC236}">
                      <a16:creationId xmlns:a16="http://schemas.microsoft.com/office/drawing/2014/main" id="{FA283E65-F3A4-6142-9402-735F2A3616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179719" y="5507351"/>
                  <a:ext cx="220335" cy="361812"/>
                </a:xfrm>
                <a:custGeom>
                  <a:avLst/>
                  <a:gdLst>
                    <a:gd name="T0" fmla="*/ 102 w 420"/>
                    <a:gd name="T1" fmla="*/ 0 h 688"/>
                    <a:gd name="T2" fmla="*/ 102 w 420"/>
                    <a:gd name="T3" fmla="*/ 0 h 688"/>
                    <a:gd name="T4" fmla="*/ 31 w 420"/>
                    <a:gd name="T5" fmla="*/ 31 h 688"/>
                    <a:gd name="T6" fmla="*/ 7 w 420"/>
                    <a:gd name="T7" fmla="*/ 79 h 688"/>
                    <a:gd name="T8" fmla="*/ 31 w 420"/>
                    <a:gd name="T9" fmla="*/ 181 h 688"/>
                    <a:gd name="T10" fmla="*/ 102 w 420"/>
                    <a:gd name="T11" fmla="*/ 411 h 688"/>
                    <a:gd name="T12" fmla="*/ 142 w 420"/>
                    <a:gd name="T13" fmla="*/ 640 h 688"/>
                    <a:gd name="T14" fmla="*/ 268 w 420"/>
                    <a:gd name="T15" fmla="*/ 664 h 688"/>
                    <a:gd name="T16" fmla="*/ 419 w 420"/>
                    <a:gd name="T17" fmla="*/ 687 h 688"/>
                    <a:gd name="T18" fmla="*/ 419 w 420"/>
                    <a:gd name="T19" fmla="*/ 671 h 688"/>
                    <a:gd name="T20" fmla="*/ 371 w 420"/>
                    <a:gd name="T21" fmla="*/ 632 h 688"/>
                    <a:gd name="T22" fmla="*/ 355 w 420"/>
                    <a:gd name="T23" fmla="*/ 561 h 688"/>
                    <a:gd name="T24" fmla="*/ 355 w 420"/>
                    <a:gd name="T25" fmla="*/ 506 h 688"/>
                    <a:gd name="T26" fmla="*/ 332 w 420"/>
                    <a:gd name="T27" fmla="*/ 450 h 688"/>
                    <a:gd name="T28" fmla="*/ 253 w 420"/>
                    <a:gd name="T29" fmla="*/ 387 h 688"/>
                    <a:gd name="T30" fmla="*/ 182 w 420"/>
                    <a:gd name="T31" fmla="*/ 260 h 688"/>
                    <a:gd name="T32" fmla="*/ 150 w 420"/>
                    <a:gd name="T33" fmla="*/ 205 h 688"/>
                    <a:gd name="T34" fmla="*/ 150 w 420"/>
                    <a:gd name="T35" fmla="*/ 205 h 688"/>
                    <a:gd name="T36" fmla="*/ 110 w 420"/>
                    <a:gd name="T37" fmla="*/ 87 h 688"/>
                    <a:gd name="T38" fmla="*/ 134 w 420"/>
                    <a:gd name="T39" fmla="*/ 23 h 688"/>
                    <a:gd name="T40" fmla="*/ 102 w 420"/>
                    <a:gd name="T41" fmla="*/ 0 h 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20" h="688">
                      <a:moveTo>
                        <a:pt x="102" y="0"/>
                      </a:moveTo>
                      <a:lnTo>
                        <a:pt x="102" y="0"/>
                      </a:lnTo>
                      <a:cubicBezTo>
                        <a:pt x="71" y="0"/>
                        <a:pt x="39" y="23"/>
                        <a:pt x="31" y="31"/>
                      </a:cubicBezTo>
                      <a:cubicBezTo>
                        <a:pt x="23" y="47"/>
                        <a:pt x="7" y="71"/>
                        <a:pt x="7" y="79"/>
                      </a:cubicBezTo>
                      <a:cubicBezTo>
                        <a:pt x="0" y="87"/>
                        <a:pt x="7" y="126"/>
                        <a:pt x="31" y="181"/>
                      </a:cubicBezTo>
                      <a:cubicBezTo>
                        <a:pt x="55" y="245"/>
                        <a:pt x="95" y="371"/>
                        <a:pt x="102" y="411"/>
                      </a:cubicBezTo>
                      <a:cubicBezTo>
                        <a:pt x="102" y="458"/>
                        <a:pt x="134" y="624"/>
                        <a:pt x="142" y="640"/>
                      </a:cubicBezTo>
                      <a:cubicBezTo>
                        <a:pt x="150" y="648"/>
                        <a:pt x="197" y="648"/>
                        <a:pt x="268" y="664"/>
                      </a:cubicBezTo>
                      <a:cubicBezTo>
                        <a:pt x="316" y="671"/>
                        <a:pt x="379" y="671"/>
                        <a:pt x="419" y="687"/>
                      </a:cubicBezTo>
                      <a:cubicBezTo>
                        <a:pt x="419" y="680"/>
                        <a:pt x="419" y="671"/>
                        <a:pt x="419" y="671"/>
                      </a:cubicBezTo>
                      <a:cubicBezTo>
                        <a:pt x="419" y="640"/>
                        <a:pt x="403" y="656"/>
                        <a:pt x="371" y="632"/>
                      </a:cubicBezTo>
                      <a:cubicBezTo>
                        <a:pt x="347" y="608"/>
                        <a:pt x="403" y="608"/>
                        <a:pt x="355" y="561"/>
                      </a:cubicBezTo>
                      <a:cubicBezTo>
                        <a:pt x="316" y="513"/>
                        <a:pt x="355" y="513"/>
                        <a:pt x="355" y="506"/>
                      </a:cubicBezTo>
                      <a:cubicBezTo>
                        <a:pt x="355" y="490"/>
                        <a:pt x="355" y="466"/>
                        <a:pt x="332" y="450"/>
                      </a:cubicBezTo>
                      <a:cubicBezTo>
                        <a:pt x="300" y="427"/>
                        <a:pt x="268" y="403"/>
                        <a:pt x="253" y="387"/>
                      </a:cubicBezTo>
                      <a:cubicBezTo>
                        <a:pt x="237" y="371"/>
                        <a:pt x="221" y="292"/>
                        <a:pt x="182" y="260"/>
                      </a:cubicBezTo>
                      <a:cubicBezTo>
                        <a:pt x="150" y="229"/>
                        <a:pt x="134" y="213"/>
                        <a:pt x="150" y="205"/>
                      </a:cubicBezTo>
                      <a:lnTo>
                        <a:pt x="150" y="205"/>
                      </a:lnTo>
                      <a:cubicBezTo>
                        <a:pt x="126" y="166"/>
                        <a:pt x="110" y="118"/>
                        <a:pt x="110" y="87"/>
                      </a:cubicBezTo>
                      <a:cubicBezTo>
                        <a:pt x="102" y="63"/>
                        <a:pt x="118" y="39"/>
                        <a:pt x="134" y="23"/>
                      </a:cubicBezTo>
                      <a:cubicBezTo>
                        <a:pt x="126" y="16"/>
                        <a:pt x="118" y="0"/>
                        <a:pt x="102" y="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9" name="Freeform 772">
                  <a:extLst>
                    <a:ext uri="{FF2B5EF4-FFF2-40B4-BE49-F238E27FC236}">
                      <a16:creationId xmlns:a16="http://schemas.microsoft.com/office/drawing/2014/main" id="{06FC37CE-20A0-4B47-BE76-09C2E41A0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179719" y="5507351"/>
                  <a:ext cx="220335" cy="366450"/>
                </a:xfrm>
                <a:custGeom>
                  <a:avLst/>
                  <a:gdLst>
                    <a:gd name="T0" fmla="*/ 419 w 420"/>
                    <a:gd name="T1" fmla="*/ 695 h 696"/>
                    <a:gd name="T2" fmla="*/ 316 w 420"/>
                    <a:gd name="T3" fmla="*/ 671 h 696"/>
                    <a:gd name="T4" fmla="*/ 205 w 420"/>
                    <a:gd name="T5" fmla="*/ 656 h 696"/>
                    <a:gd name="T6" fmla="*/ 95 w 420"/>
                    <a:gd name="T7" fmla="*/ 411 h 696"/>
                    <a:gd name="T8" fmla="*/ 0 w 420"/>
                    <a:gd name="T9" fmla="*/ 79 h 696"/>
                    <a:gd name="T10" fmla="*/ 31 w 420"/>
                    <a:gd name="T11" fmla="*/ 31 h 696"/>
                    <a:gd name="T12" fmla="*/ 134 w 420"/>
                    <a:gd name="T13" fmla="*/ 16 h 696"/>
                    <a:gd name="T14" fmla="*/ 134 w 420"/>
                    <a:gd name="T15" fmla="*/ 23 h 696"/>
                    <a:gd name="T16" fmla="*/ 150 w 420"/>
                    <a:gd name="T17" fmla="*/ 205 h 696"/>
                    <a:gd name="T18" fmla="*/ 150 w 420"/>
                    <a:gd name="T19" fmla="*/ 205 h 696"/>
                    <a:gd name="T20" fmla="*/ 142 w 420"/>
                    <a:gd name="T21" fmla="*/ 213 h 696"/>
                    <a:gd name="T22" fmla="*/ 237 w 420"/>
                    <a:gd name="T23" fmla="*/ 347 h 696"/>
                    <a:gd name="T24" fmla="*/ 300 w 420"/>
                    <a:gd name="T25" fmla="*/ 418 h 696"/>
                    <a:gd name="T26" fmla="*/ 355 w 420"/>
                    <a:gd name="T27" fmla="*/ 506 h 696"/>
                    <a:gd name="T28" fmla="*/ 347 w 420"/>
                    <a:gd name="T29" fmla="*/ 513 h 696"/>
                    <a:gd name="T30" fmla="*/ 363 w 420"/>
                    <a:gd name="T31" fmla="*/ 561 h 696"/>
                    <a:gd name="T32" fmla="*/ 379 w 420"/>
                    <a:gd name="T33" fmla="*/ 632 h 696"/>
                    <a:gd name="T34" fmla="*/ 419 w 420"/>
                    <a:gd name="T35" fmla="*/ 671 h 696"/>
                    <a:gd name="T36" fmla="*/ 419 w 420"/>
                    <a:gd name="T37" fmla="*/ 695 h 696"/>
                    <a:gd name="T38" fmla="*/ 102 w 420"/>
                    <a:gd name="T39" fmla="*/ 7 h 696"/>
                    <a:gd name="T40" fmla="*/ 15 w 420"/>
                    <a:gd name="T41" fmla="*/ 71 h 696"/>
                    <a:gd name="T42" fmla="*/ 31 w 420"/>
                    <a:gd name="T43" fmla="*/ 181 h 696"/>
                    <a:gd name="T44" fmla="*/ 142 w 420"/>
                    <a:gd name="T45" fmla="*/ 640 h 696"/>
                    <a:gd name="T46" fmla="*/ 268 w 420"/>
                    <a:gd name="T47" fmla="*/ 656 h 696"/>
                    <a:gd name="T48" fmla="*/ 411 w 420"/>
                    <a:gd name="T49" fmla="*/ 680 h 696"/>
                    <a:gd name="T50" fmla="*/ 395 w 420"/>
                    <a:gd name="T51" fmla="*/ 648 h 696"/>
                    <a:gd name="T52" fmla="*/ 371 w 420"/>
                    <a:gd name="T53" fmla="*/ 608 h 696"/>
                    <a:gd name="T54" fmla="*/ 332 w 420"/>
                    <a:gd name="T55" fmla="*/ 529 h 696"/>
                    <a:gd name="T56" fmla="*/ 347 w 420"/>
                    <a:gd name="T57" fmla="*/ 506 h 696"/>
                    <a:gd name="T58" fmla="*/ 324 w 420"/>
                    <a:gd name="T59" fmla="*/ 450 h 696"/>
                    <a:gd name="T60" fmla="*/ 253 w 420"/>
                    <a:gd name="T61" fmla="*/ 387 h 696"/>
                    <a:gd name="T62" fmla="*/ 182 w 420"/>
                    <a:gd name="T63" fmla="*/ 260 h 696"/>
                    <a:gd name="T64" fmla="*/ 142 w 420"/>
                    <a:gd name="T65" fmla="*/ 205 h 696"/>
                    <a:gd name="T66" fmla="*/ 126 w 420"/>
                    <a:gd name="T67" fmla="*/ 23 h 6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20" h="696">
                      <a:moveTo>
                        <a:pt x="419" y="695"/>
                      </a:moveTo>
                      <a:lnTo>
                        <a:pt x="419" y="695"/>
                      </a:lnTo>
                      <a:cubicBezTo>
                        <a:pt x="411" y="687"/>
                        <a:pt x="411" y="687"/>
                        <a:pt x="411" y="687"/>
                      </a:cubicBezTo>
                      <a:cubicBezTo>
                        <a:pt x="387" y="680"/>
                        <a:pt x="347" y="680"/>
                        <a:pt x="316" y="671"/>
                      </a:cubicBezTo>
                      <a:cubicBezTo>
                        <a:pt x="300" y="671"/>
                        <a:pt x="284" y="671"/>
                        <a:pt x="268" y="664"/>
                      </a:cubicBezTo>
                      <a:cubicBezTo>
                        <a:pt x="245" y="664"/>
                        <a:pt x="221" y="664"/>
                        <a:pt x="205" y="656"/>
                      </a:cubicBezTo>
                      <a:cubicBezTo>
                        <a:pt x="166" y="656"/>
                        <a:pt x="142" y="648"/>
                        <a:pt x="142" y="640"/>
                      </a:cubicBezTo>
                      <a:cubicBezTo>
                        <a:pt x="134" y="624"/>
                        <a:pt x="102" y="458"/>
                        <a:pt x="95" y="411"/>
                      </a:cubicBezTo>
                      <a:cubicBezTo>
                        <a:pt x="95" y="371"/>
                        <a:pt x="55" y="245"/>
                        <a:pt x="23" y="189"/>
                      </a:cubicBezTo>
                      <a:cubicBezTo>
                        <a:pt x="0" y="134"/>
                        <a:pt x="0" y="87"/>
                        <a:pt x="0" y="79"/>
                      </a:cubicBezTo>
                      <a:cubicBezTo>
                        <a:pt x="7" y="79"/>
                        <a:pt x="7" y="71"/>
                        <a:pt x="7" y="63"/>
                      </a:cubicBezTo>
                      <a:cubicBezTo>
                        <a:pt x="15" y="55"/>
                        <a:pt x="23" y="39"/>
                        <a:pt x="31" y="31"/>
                      </a:cubicBezTo>
                      <a:cubicBezTo>
                        <a:pt x="39" y="16"/>
                        <a:pt x="71" y="0"/>
                        <a:pt x="102" y="0"/>
                      </a:cubicBezTo>
                      <a:cubicBezTo>
                        <a:pt x="118" y="0"/>
                        <a:pt x="134" y="7"/>
                        <a:pt x="134" y="16"/>
                      </a:cubicBezTo>
                      <a:cubicBezTo>
                        <a:pt x="134" y="23"/>
                        <a:pt x="134" y="23"/>
                        <a:pt x="134" y="23"/>
                      </a:cubicBezTo>
                      <a:lnTo>
                        <a:pt x="134" y="23"/>
                      </a:lnTo>
                      <a:cubicBezTo>
                        <a:pt x="126" y="31"/>
                        <a:pt x="102" y="55"/>
                        <a:pt x="110" y="87"/>
                      </a:cubicBezTo>
                      <a:cubicBezTo>
                        <a:pt x="118" y="118"/>
                        <a:pt x="126" y="166"/>
                        <a:pt x="150" y="205"/>
                      </a:cubicBezTo>
                      <a:lnTo>
                        <a:pt x="150" y="205"/>
                      </a:lnTo>
                      <a:lnTo>
                        <a:pt x="150" y="205"/>
                      </a:lnTo>
                      <a:lnTo>
                        <a:pt x="150" y="205"/>
                      </a:lnTo>
                      <a:cubicBezTo>
                        <a:pt x="142" y="213"/>
                        <a:pt x="142" y="213"/>
                        <a:pt x="142" y="213"/>
                      </a:cubicBezTo>
                      <a:cubicBezTo>
                        <a:pt x="142" y="221"/>
                        <a:pt x="173" y="245"/>
                        <a:pt x="189" y="260"/>
                      </a:cubicBezTo>
                      <a:cubicBezTo>
                        <a:pt x="213" y="276"/>
                        <a:pt x="229" y="324"/>
                        <a:pt x="237" y="347"/>
                      </a:cubicBezTo>
                      <a:cubicBezTo>
                        <a:pt x="245" y="363"/>
                        <a:pt x="253" y="379"/>
                        <a:pt x="253" y="387"/>
                      </a:cubicBezTo>
                      <a:cubicBezTo>
                        <a:pt x="260" y="395"/>
                        <a:pt x="276" y="403"/>
                        <a:pt x="300" y="418"/>
                      </a:cubicBezTo>
                      <a:cubicBezTo>
                        <a:pt x="308" y="427"/>
                        <a:pt x="324" y="434"/>
                        <a:pt x="332" y="442"/>
                      </a:cubicBezTo>
                      <a:cubicBezTo>
                        <a:pt x="355" y="466"/>
                        <a:pt x="355" y="490"/>
                        <a:pt x="355" y="506"/>
                      </a:cubicBezTo>
                      <a:lnTo>
                        <a:pt x="355" y="506"/>
                      </a:lnTo>
                      <a:cubicBezTo>
                        <a:pt x="355" y="506"/>
                        <a:pt x="355" y="513"/>
                        <a:pt x="347" y="513"/>
                      </a:cubicBezTo>
                      <a:cubicBezTo>
                        <a:pt x="347" y="513"/>
                        <a:pt x="340" y="521"/>
                        <a:pt x="340" y="529"/>
                      </a:cubicBezTo>
                      <a:cubicBezTo>
                        <a:pt x="340" y="537"/>
                        <a:pt x="347" y="545"/>
                        <a:pt x="363" y="561"/>
                      </a:cubicBezTo>
                      <a:cubicBezTo>
                        <a:pt x="387" y="593"/>
                        <a:pt x="379" y="600"/>
                        <a:pt x="371" y="616"/>
                      </a:cubicBezTo>
                      <a:cubicBezTo>
                        <a:pt x="371" y="616"/>
                        <a:pt x="371" y="624"/>
                        <a:pt x="379" y="632"/>
                      </a:cubicBezTo>
                      <a:cubicBezTo>
                        <a:pt x="387" y="640"/>
                        <a:pt x="395" y="640"/>
                        <a:pt x="403" y="640"/>
                      </a:cubicBezTo>
                      <a:cubicBezTo>
                        <a:pt x="411" y="648"/>
                        <a:pt x="419" y="648"/>
                        <a:pt x="419" y="671"/>
                      </a:cubicBezTo>
                      <a:cubicBezTo>
                        <a:pt x="419" y="671"/>
                        <a:pt x="419" y="680"/>
                        <a:pt x="419" y="687"/>
                      </a:cubicBezTo>
                      <a:lnTo>
                        <a:pt x="419" y="695"/>
                      </a:lnTo>
                      <a:close/>
                      <a:moveTo>
                        <a:pt x="102" y="7"/>
                      </a:moveTo>
                      <a:lnTo>
                        <a:pt x="102" y="7"/>
                      </a:lnTo>
                      <a:cubicBezTo>
                        <a:pt x="71" y="7"/>
                        <a:pt x="39" y="23"/>
                        <a:pt x="39" y="39"/>
                      </a:cubicBezTo>
                      <a:cubicBezTo>
                        <a:pt x="31" y="39"/>
                        <a:pt x="23" y="55"/>
                        <a:pt x="15" y="71"/>
                      </a:cubicBezTo>
                      <a:cubicBezTo>
                        <a:pt x="15" y="71"/>
                        <a:pt x="7" y="79"/>
                        <a:pt x="7" y="87"/>
                      </a:cubicBezTo>
                      <a:cubicBezTo>
                        <a:pt x="7" y="87"/>
                        <a:pt x="7" y="126"/>
                        <a:pt x="31" y="181"/>
                      </a:cubicBezTo>
                      <a:cubicBezTo>
                        <a:pt x="63" y="245"/>
                        <a:pt x="102" y="371"/>
                        <a:pt x="102" y="411"/>
                      </a:cubicBezTo>
                      <a:cubicBezTo>
                        <a:pt x="102" y="458"/>
                        <a:pt x="142" y="624"/>
                        <a:pt x="142" y="640"/>
                      </a:cubicBezTo>
                      <a:cubicBezTo>
                        <a:pt x="150" y="648"/>
                        <a:pt x="173" y="648"/>
                        <a:pt x="205" y="648"/>
                      </a:cubicBezTo>
                      <a:cubicBezTo>
                        <a:pt x="229" y="656"/>
                        <a:pt x="245" y="656"/>
                        <a:pt x="268" y="656"/>
                      </a:cubicBezTo>
                      <a:cubicBezTo>
                        <a:pt x="284" y="664"/>
                        <a:pt x="300" y="664"/>
                        <a:pt x="316" y="664"/>
                      </a:cubicBezTo>
                      <a:cubicBezTo>
                        <a:pt x="347" y="671"/>
                        <a:pt x="387" y="671"/>
                        <a:pt x="411" y="680"/>
                      </a:cubicBezTo>
                      <a:lnTo>
                        <a:pt x="411" y="671"/>
                      </a:lnTo>
                      <a:cubicBezTo>
                        <a:pt x="411" y="656"/>
                        <a:pt x="411" y="656"/>
                        <a:pt x="395" y="648"/>
                      </a:cubicBezTo>
                      <a:cubicBezTo>
                        <a:pt x="395" y="648"/>
                        <a:pt x="379" y="640"/>
                        <a:pt x="371" y="632"/>
                      </a:cubicBezTo>
                      <a:cubicBezTo>
                        <a:pt x="363" y="624"/>
                        <a:pt x="363" y="616"/>
                        <a:pt x="371" y="608"/>
                      </a:cubicBezTo>
                      <a:cubicBezTo>
                        <a:pt x="371" y="600"/>
                        <a:pt x="379" y="593"/>
                        <a:pt x="355" y="569"/>
                      </a:cubicBezTo>
                      <a:cubicBezTo>
                        <a:pt x="340" y="545"/>
                        <a:pt x="332" y="537"/>
                        <a:pt x="332" y="529"/>
                      </a:cubicBezTo>
                      <a:cubicBezTo>
                        <a:pt x="332" y="513"/>
                        <a:pt x="340" y="513"/>
                        <a:pt x="347" y="506"/>
                      </a:cubicBezTo>
                      <a:lnTo>
                        <a:pt x="347" y="506"/>
                      </a:lnTo>
                      <a:lnTo>
                        <a:pt x="347" y="506"/>
                      </a:lnTo>
                      <a:cubicBezTo>
                        <a:pt x="347" y="490"/>
                        <a:pt x="347" y="466"/>
                        <a:pt x="324" y="450"/>
                      </a:cubicBezTo>
                      <a:cubicBezTo>
                        <a:pt x="316" y="442"/>
                        <a:pt x="308" y="434"/>
                        <a:pt x="292" y="427"/>
                      </a:cubicBezTo>
                      <a:cubicBezTo>
                        <a:pt x="276" y="411"/>
                        <a:pt x="260" y="395"/>
                        <a:pt x="253" y="387"/>
                      </a:cubicBezTo>
                      <a:cubicBezTo>
                        <a:pt x="245" y="387"/>
                        <a:pt x="237" y="371"/>
                        <a:pt x="237" y="355"/>
                      </a:cubicBezTo>
                      <a:cubicBezTo>
                        <a:pt x="221" y="324"/>
                        <a:pt x="205" y="284"/>
                        <a:pt x="182" y="260"/>
                      </a:cubicBezTo>
                      <a:cubicBezTo>
                        <a:pt x="150" y="237"/>
                        <a:pt x="134" y="221"/>
                        <a:pt x="134" y="213"/>
                      </a:cubicBezTo>
                      <a:cubicBezTo>
                        <a:pt x="134" y="205"/>
                        <a:pt x="142" y="205"/>
                        <a:pt x="142" y="205"/>
                      </a:cubicBezTo>
                      <a:cubicBezTo>
                        <a:pt x="118" y="166"/>
                        <a:pt x="110" y="126"/>
                        <a:pt x="102" y="87"/>
                      </a:cubicBezTo>
                      <a:cubicBezTo>
                        <a:pt x="102" y="63"/>
                        <a:pt x="110" y="39"/>
                        <a:pt x="126" y="23"/>
                      </a:cubicBezTo>
                      <a:cubicBezTo>
                        <a:pt x="118" y="7"/>
                        <a:pt x="110" y="7"/>
                        <a:pt x="102" y="7"/>
                      </a:cubicBez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0" name="Freeform 773">
                  <a:extLst>
                    <a:ext uri="{FF2B5EF4-FFF2-40B4-BE49-F238E27FC236}">
                      <a16:creationId xmlns:a16="http://schemas.microsoft.com/office/drawing/2014/main" id="{CEACE6B8-34EF-9E44-B135-ACD1D7D1C0A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94014" y="4971591"/>
                  <a:ext cx="1148056" cy="753775"/>
                </a:xfrm>
                <a:custGeom>
                  <a:avLst/>
                  <a:gdLst>
                    <a:gd name="T0" fmla="*/ 1881 w 2183"/>
                    <a:gd name="T1" fmla="*/ 1114 h 1432"/>
                    <a:gd name="T2" fmla="*/ 1881 w 2183"/>
                    <a:gd name="T3" fmla="*/ 1114 h 1432"/>
                    <a:gd name="T4" fmla="*/ 1881 w 2183"/>
                    <a:gd name="T5" fmla="*/ 1099 h 1432"/>
                    <a:gd name="T6" fmla="*/ 1905 w 2183"/>
                    <a:gd name="T7" fmla="*/ 1051 h 1432"/>
                    <a:gd name="T8" fmla="*/ 1976 w 2183"/>
                    <a:gd name="T9" fmla="*/ 1020 h 1432"/>
                    <a:gd name="T10" fmla="*/ 2008 w 2183"/>
                    <a:gd name="T11" fmla="*/ 1043 h 1432"/>
                    <a:gd name="T12" fmla="*/ 2047 w 2183"/>
                    <a:gd name="T13" fmla="*/ 1012 h 1432"/>
                    <a:gd name="T14" fmla="*/ 2095 w 2183"/>
                    <a:gd name="T15" fmla="*/ 964 h 1432"/>
                    <a:gd name="T16" fmla="*/ 2127 w 2183"/>
                    <a:gd name="T17" fmla="*/ 877 h 1432"/>
                    <a:gd name="T18" fmla="*/ 2182 w 2183"/>
                    <a:gd name="T19" fmla="*/ 806 h 1432"/>
                    <a:gd name="T20" fmla="*/ 1976 w 2183"/>
                    <a:gd name="T21" fmla="*/ 632 h 1432"/>
                    <a:gd name="T22" fmla="*/ 1992 w 2183"/>
                    <a:gd name="T23" fmla="*/ 577 h 1432"/>
                    <a:gd name="T24" fmla="*/ 2016 w 2183"/>
                    <a:gd name="T25" fmla="*/ 530 h 1432"/>
                    <a:gd name="T26" fmla="*/ 1976 w 2183"/>
                    <a:gd name="T27" fmla="*/ 506 h 1432"/>
                    <a:gd name="T28" fmla="*/ 2024 w 2183"/>
                    <a:gd name="T29" fmla="*/ 395 h 1432"/>
                    <a:gd name="T30" fmla="*/ 2032 w 2183"/>
                    <a:gd name="T31" fmla="*/ 324 h 1432"/>
                    <a:gd name="T32" fmla="*/ 2087 w 2183"/>
                    <a:gd name="T33" fmla="*/ 261 h 1432"/>
                    <a:gd name="T34" fmla="*/ 2032 w 2183"/>
                    <a:gd name="T35" fmla="*/ 237 h 1432"/>
                    <a:gd name="T36" fmla="*/ 1961 w 2183"/>
                    <a:gd name="T37" fmla="*/ 221 h 1432"/>
                    <a:gd name="T38" fmla="*/ 1889 w 2183"/>
                    <a:gd name="T39" fmla="*/ 79 h 1432"/>
                    <a:gd name="T40" fmla="*/ 1787 w 2183"/>
                    <a:gd name="T41" fmla="*/ 39 h 1432"/>
                    <a:gd name="T42" fmla="*/ 1684 w 2183"/>
                    <a:gd name="T43" fmla="*/ 39 h 1432"/>
                    <a:gd name="T44" fmla="*/ 269 w 2183"/>
                    <a:gd name="T45" fmla="*/ 316 h 1432"/>
                    <a:gd name="T46" fmla="*/ 245 w 2183"/>
                    <a:gd name="T47" fmla="*/ 205 h 1432"/>
                    <a:gd name="T48" fmla="*/ 55 w 2183"/>
                    <a:gd name="T49" fmla="*/ 356 h 1432"/>
                    <a:gd name="T50" fmla="*/ 0 w 2183"/>
                    <a:gd name="T51" fmla="*/ 379 h 1432"/>
                    <a:gd name="T52" fmla="*/ 198 w 2183"/>
                    <a:gd name="T53" fmla="*/ 1431 h 1432"/>
                    <a:gd name="T54" fmla="*/ 1881 w 2183"/>
                    <a:gd name="T55" fmla="*/ 1114 h 14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183" h="1432">
                      <a:moveTo>
                        <a:pt x="1881" y="1114"/>
                      </a:moveTo>
                      <a:lnTo>
                        <a:pt x="1881" y="1114"/>
                      </a:lnTo>
                      <a:cubicBezTo>
                        <a:pt x="1881" y="1107"/>
                        <a:pt x="1881" y="1099"/>
                        <a:pt x="1881" y="1099"/>
                      </a:cubicBezTo>
                      <a:cubicBezTo>
                        <a:pt x="1881" y="1091"/>
                        <a:pt x="1897" y="1067"/>
                        <a:pt x="1905" y="1051"/>
                      </a:cubicBezTo>
                      <a:cubicBezTo>
                        <a:pt x="1913" y="1043"/>
                        <a:pt x="1945" y="1020"/>
                        <a:pt x="1976" y="1020"/>
                      </a:cubicBezTo>
                      <a:cubicBezTo>
                        <a:pt x="1992" y="1020"/>
                        <a:pt x="2000" y="1036"/>
                        <a:pt x="2008" y="1043"/>
                      </a:cubicBezTo>
                      <a:cubicBezTo>
                        <a:pt x="2016" y="1027"/>
                        <a:pt x="2032" y="1012"/>
                        <a:pt x="2047" y="1012"/>
                      </a:cubicBezTo>
                      <a:cubicBezTo>
                        <a:pt x="2071" y="1004"/>
                        <a:pt x="2087" y="996"/>
                        <a:pt x="2095" y="964"/>
                      </a:cubicBezTo>
                      <a:cubicBezTo>
                        <a:pt x="2111" y="941"/>
                        <a:pt x="2111" y="901"/>
                        <a:pt x="2127" y="877"/>
                      </a:cubicBezTo>
                      <a:cubicBezTo>
                        <a:pt x="2142" y="861"/>
                        <a:pt x="2182" y="806"/>
                        <a:pt x="2182" y="806"/>
                      </a:cubicBezTo>
                      <a:cubicBezTo>
                        <a:pt x="2174" y="798"/>
                        <a:pt x="1992" y="648"/>
                        <a:pt x="1976" y="632"/>
                      </a:cubicBezTo>
                      <a:cubicBezTo>
                        <a:pt x="1969" y="624"/>
                        <a:pt x="1976" y="585"/>
                        <a:pt x="1992" y="577"/>
                      </a:cubicBezTo>
                      <a:cubicBezTo>
                        <a:pt x="2008" y="561"/>
                        <a:pt x="2016" y="545"/>
                        <a:pt x="2016" y="530"/>
                      </a:cubicBezTo>
                      <a:cubicBezTo>
                        <a:pt x="2016" y="506"/>
                        <a:pt x="2008" y="521"/>
                        <a:pt x="1976" y="506"/>
                      </a:cubicBezTo>
                      <a:cubicBezTo>
                        <a:pt x="1937" y="490"/>
                        <a:pt x="2000" y="411"/>
                        <a:pt x="2024" y="395"/>
                      </a:cubicBezTo>
                      <a:cubicBezTo>
                        <a:pt x="2040" y="387"/>
                        <a:pt x="2032" y="340"/>
                        <a:pt x="2032" y="324"/>
                      </a:cubicBezTo>
                      <a:cubicBezTo>
                        <a:pt x="2032" y="316"/>
                        <a:pt x="2071" y="269"/>
                        <a:pt x="2087" y="261"/>
                      </a:cubicBezTo>
                      <a:cubicBezTo>
                        <a:pt x="2071" y="245"/>
                        <a:pt x="2056" y="245"/>
                        <a:pt x="2032" y="237"/>
                      </a:cubicBezTo>
                      <a:cubicBezTo>
                        <a:pt x="1984" y="229"/>
                        <a:pt x="1984" y="253"/>
                        <a:pt x="1961" y="221"/>
                      </a:cubicBezTo>
                      <a:cubicBezTo>
                        <a:pt x="1945" y="190"/>
                        <a:pt x="1921" y="79"/>
                        <a:pt x="1889" y="79"/>
                      </a:cubicBezTo>
                      <a:cubicBezTo>
                        <a:pt x="1858" y="71"/>
                        <a:pt x="1834" y="71"/>
                        <a:pt x="1787" y="39"/>
                      </a:cubicBezTo>
                      <a:cubicBezTo>
                        <a:pt x="1739" y="0"/>
                        <a:pt x="1716" y="31"/>
                        <a:pt x="1684" y="39"/>
                      </a:cubicBezTo>
                      <a:cubicBezTo>
                        <a:pt x="1660" y="55"/>
                        <a:pt x="269" y="316"/>
                        <a:pt x="269" y="316"/>
                      </a:cubicBezTo>
                      <a:cubicBezTo>
                        <a:pt x="245" y="205"/>
                        <a:pt x="245" y="205"/>
                        <a:pt x="245" y="205"/>
                      </a:cubicBezTo>
                      <a:cubicBezTo>
                        <a:pt x="182" y="261"/>
                        <a:pt x="103" y="332"/>
                        <a:pt x="55" y="356"/>
                      </a:cubicBezTo>
                      <a:cubicBezTo>
                        <a:pt x="40" y="363"/>
                        <a:pt x="24" y="371"/>
                        <a:pt x="0" y="379"/>
                      </a:cubicBezTo>
                      <a:cubicBezTo>
                        <a:pt x="198" y="1431"/>
                        <a:pt x="198" y="1431"/>
                        <a:pt x="198" y="1431"/>
                      </a:cubicBezTo>
                      <a:lnTo>
                        <a:pt x="1881" y="1114"/>
                      </a:ln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1" name="Freeform 774">
                  <a:extLst>
                    <a:ext uri="{FF2B5EF4-FFF2-40B4-BE49-F238E27FC236}">
                      <a16:creationId xmlns:a16="http://schemas.microsoft.com/office/drawing/2014/main" id="{BB5190CA-0208-AA4A-ABAD-E200FF0F53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94014" y="4978549"/>
                  <a:ext cx="1152694" cy="749135"/>
                </a:xfrm>
                <a:custGeom>
                  <a:avLst/>
                  <a:gdLst>
                    <a:gd name="T0" fmla="*/ 198 w 2191"/>
                    <a:gd name="T1" fmla="*/ 1422 h 1423"/>
                    <a:gd name="T2" fmla="*/ 0 w 2191"/>
                    <a:gd name="T3" fmla="*/ 363 h 1423"/>
                    <a:gd name="T4" fmla="*/ 47 w 2191"/>
                    <a:gd name="T5" fmla="*/ 332 h 1423"/>
                    <a:gd name="T6" fmla="*/ 253 w 2191"/>
                    <a:gd name="T7" fmla="*/ 181 h 1423"/>
                    <a:gd name="T8" fmla="*/ 1684 w 2191"/>
                    <a:gd name="T9" fmla="*/ 23 h 1423"/>
                    <a:gd name="T10" fmla="*/ 1747 w 2191"/>
                    <a:gd name="T11" fmla="*/ 0 h 1423"/>
                    <a:gd name="T12" fmla="*/ 1889 w 2191"/>
                    <a:gd name="T13" fmla="*/ 55 h 1423"/>
                    <a:gd name="T14" fmla="*/ 1945 w 2191"/>
                    <a:gd name="T15" fmla="*/ 150 h 1423"/>
                    <a:gd name="T16" fmla="*/ 1984 w 2191"/>
                    <a:gd name="T17" fmla="*/ 213 h 1423"/>
                    <a:gd name="T18" fmla="*/ 2008 w 2191"/>
                    <a:gd name="T19" fmla="*/ 213 h 1423"/>
                    <a:gd name="T20" fmla="*/ 2087 w 2191"/>
                    <a:gd name="T21" fmla="*/ 237 h 1423"/>
                    <a:gd name="T22" fmla="*/ 2087 w 2191"/>
                    <a:gd name="T23" fmla="*/ 245 h 1423"/>
                    <a:gd name="T24" fmla="*/ 2032 w 2191"/>
                    <a:gd name="T25" fmla="*/ 316 h 1423"/>
                    <a:gd name="T26" fmla="*/ 1969 w 2191"/>
                    <a:gd name="T27" fmla="*/ 474 h 1423"/>
                    <a:gd name="T28" fmla="*/ 2000 w 2191"/>
                    <a:gd name="T29" fmla="*/ 490 h 1423"/>
                    <a:gd name="T30" fmla="*/ 1992 w 2191"/>
                    <a:gd name="T31" fmla="*/ 561 h 1423"/>
                    <a:gd name="T32" fmla="*/ 1984 w 2191"/>
                    <a:gd name="T33" fmla="*/ 616 h 1423"/>
                    <a:gd name="T34" fmla="*/ 2182 w 2191"/>
                    <a:gd name="T35" fmla="*/ 790 h 1423"/>
                    <a:gd name="T36" fmla="*/ 2111 w 2191"/>
                    <a:gd name="T37" fmla="*/ 925 h 1423"/>
                    <a:gd name="T38" fmla="*/ 2047 w 2191"/>
                    <a:gd name="T39" fmla="*/ 996 h 1423"/>
                    <a:gd name="T40" fmla="*/ 2000 w 2191"/>
                    <a:gd name="T41" fmla="*/ 1027 h 1423"/>
                    <a:gd name="T42" fmla="*/ 1976 w 2191"/>
                    <a:gd name="T43" fmla="*/ 1011 h 1423"/>
                    <a:gd name="T44" fmla="*/ 1889 w 2191"/>
                    <a:gd name="T45" fmla="*/ 1075 h 1423"/>
                    <a:gd name="T46" fmla="*/ 1881 w 2191"/>
                    <a:gd name="T47" fmla="*/ 1098 h 1423"/>
                    <a:gd name="T48" fmla="*/ 198 w 2191"/>
                    <a:gd name="T49" fmla="*/ 1422 h 1423"/>
                    <a:gd name="T50" fmla="*/ 8 w 2191"/>
                    <a:gd name="T51" fmla="*/ 363 h 1423"/>
                    <a:gd name="T52" fmla="*/ 1874 w 2191"/>
                    <a:gd name="T53" fmla="*/ 1091 h 1423"/>
                    <a:gd name="T54" fmla="*/ 1881 w 2191"/>
                    <a:gd name="T55" fmla="*/ 1067 h 1423"/>
                    <a:gd name="T56" fmla="*/ 1976 w 2191"/>
                    <a:gd name="T57" fmla="*/ 1004 h 1423"/>
                    <a:gd name="T58" fmla="*/ 2047 w 2191"/>
                    <a:gd name="T59" fmla="*/ 988 h 1423"/>
                    <a:gd name="T60" fmla="*/ 2103 w 2191"/>
                    <a:gd name="T61" fmla="*/ 917 h 1423"/>
                    <a:gd name="T62" fmla="*/ 2174 w 2191"/>
                    <a:gd name="T63" fmla="*/ 790 h 1423"/>
                    <a:gd name="T64" fmla="*/ 1976 w 2191"/>
                    <a:gd name="T65" fmla="*/ 624 h 1423"/>
                    <a:gd name="T66" fmla="*/ 1992 w 2191"/>
                    <a:gd name="T67" fmla="*/ 553 h 1423"/>
                    <a:gd name="T68" fmla="*/ 2008 w 2191"/>
                    <a:gd name="T69" fmla="*/ 498 h 1423"/>
                    <a:gd name="T70" fmla="*/ 1969 w 2191"/>
                    <a:gd name="T71" fmla="*/ 490 h 1423"/>
                    <a:gd name="T72" fmla="*/ 2016 w 2191"/>
                    <a:gd name="T73" fmla="*/ 379 h 1423"/>
                    <a:gd name="T74" fmla="*/ 2024 w 2191"/>
                    <a:gd name="T75" fmla="*/ 308 h 1423"/>
                    <a:gd name="T76" fmla="*/ 2032 w 2191"/>
                    <a:gd name="T77" fmla="*/ 221 h 1423"/>
                    <a:gd name="T78" fmla="*/ 1992 w 2191"/>
                    <a:gd name="T79" fmla="*/ 221 h 1423"/>
                    <a:gd name="T80" fmla="*/ 1961 w 2191"/>
                    <a:gd name="T81" fmla="*/ 205 h 1423"/>
                    <a:gd name="T82" fmla="*/ 1889 w 2191"/>
                    <a:gd name="T83" fmla="*/ 63 h 1423"/>
                    <a:gd name="T84" fmla="*/ 1787 w 2191"/>
                    <a:gd name="T85" fmla="*/ 23 h 1423"/>
                    <a:gd name="T86" fmla="*/ 1708 w 2191"/>
                    <a:gd name="T87" fmla="*/ 15 h 1423"/>
                    <a:gd name="T88" fmla="*/ 277 w 2191"/>
                    <a:gd name="T89" fmla="*/ 308 h 1423"/>
                    <a:gd name="T90" fmla="*/ 245 w 2191"/>
                    <a:gd name="T91" fmla="*/ 197 h 1423"/>
                    <a:gd name="T92" fmla="*/ 8 w 2191"/>
                    <a:gd name="T93" fmla="*/ 363 h 1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191" h="1423">
                      <a:moveTo>
                        <a:pt x="198" y="1422"/>
                      </a:moveTo>
                      <a:lnTo>
                        <a:pt x="198" y="1422"/>
                      </a:lnTo>
                      <a:cubicBezTo>
                        <a:pt x="198" y="1415"/>
                        <a:pt x="198" y="1415"/>
                        <a:pt x="198" y="1415"/>
                      </a:cubicBezTo>
                      <a:cubicBezTo>
                        <a:pt x="0" y="363"/>
                        <a:pt x="0" y="363"/>
                        <a:pt x="0" y="363"/>
                      </a:cubicBezTo>
                      <a:lnTo>
                        <a:pt x="0" y="363"/>
                      </a:lnTo>
                      <a:cubicBezTo>
                        <a:pt x="24" y="347"/>
                        <a:pt x="40" y="340"/>
                        <a:pt x="47" y="332"/>
                      </a:cubicBezTo>
                      <a:cubicBezTo>
                        <a:pt x="111" y="308"/>
                        <a:pt x="198" y="229"/>
                        <a:pt x="245" y="189"/>
                      </a:cubicBezTo>
                      <a:cubicBezTo>
                        <a:pt x="253" y="181"/>
                        <a:pt x="253" y="181"/>
                        <a:pt x="253" y="181"/>
                      </a:cubicBezTo>
                      <a:cubicBezTo>
                        <a:pt x="277" y="300"/>
                        <a:pt x="277" y="300"/>
                        <a:pt x="277" y="300"/>
                      </a:cubicBezTo>
                      <a:cubicBezTo>
                        <a:pt x="356" y="284"/>
                        <a:pt x="1660" y="31"/>
                        <a:pt x="1684" y="23"/>
                      </a:cubicBezTo>
                      <a:cubicBezTo>
                        <a:pt x="1692" y="23"/>
                        <a:pt x="1700" y="15"/>
                        <a:pt x="1700" y="15"/>
                      </a:cubicBezTo>
                      <a:cubicBezTo>
                        <a:pt x="1716" y="8"/>
                        <a:pt x="1731" y="0"/>
                        <a:pt x="1747" y="0"/>
                      </a:cubicBezTo>
                      <a:cubicBezTo>
                        <a:pt x="1755" y="0"/>
                        <a:pt x="1771" y="8"/>
                        <a:pt x="1787" y="15"/>
                      </a:cubicBezTo>
                      <a:cubicBezTo>
                        <a:pt x="1834" y="55"/>
                        <a:pt x="1858" y="55"/>
                        <a:pt x="1889" y="55"/>
                      </a:cubicBezTo>
                      <a:lnTo>
                        <a:pt x="1889" y="55"/>
                      </a:lnTo>
                      <a:cubicBezTo>
                        <a:pt x="1913" y="55"/>
                        <a:pt x="1929" y="103"/>
                        <a:pt x="1945" y="150"/>
                      </a:cubicBezTo>
                      <a:cubicBezTo>
                        <a:pt x="1953" y="174"/>
                        <a:pt x="1961" y="189"/>
                        <a:pt x="1969" y="205"/>
                      </a:cubicBezTo>
                      <a:cubicBezTo>
                        <a:pt x="1976" y="213"/>
                        <a:pt x="1976" y="213"/>
                        <a:pt x="1984" y="213"/>
                      </a:cubicBezTo>
                      <a:cubicBezTo>
                        <a:pt x="1984" y="213"/>
                        <a:pt x="1984" y="213"/>
                        <a:pt x="1992" y="213"/>
                      </a:cubicBezTo>
                      <a:cubicBezTo>
                        <a:pt x="1992" y="213"/>
                        <a:pt x="2000" y="213"/>
                        <a:pt x="2008" y="213"/>
                      </a:cubicBezTo>
                      <a:cubicBezTo>
                        <a:pt x="2016" y="213"/>
                        <a:pt x="2024" y="213"/>
                        <a:pt x="2032" y="213"/>
                      </a:cubicBezTo>
                      <a:cubicBezTo>
                        <a:pt x="2056" y="221"/>
                        <a:pt x="2071" y="229"/>
                        <a:pt x="2087" y="237"/>
                      </a:cubicBezTo>
                      <a:lnTo>
                        <a:pt x="2087" y="237"/>
                      </a:lnTo>
                      <a:cubicBezTo>
                        <a:pt x="2087" y="245"/>
                        <a:pt x="2087" y="245"/>
                        <a:pt x="2087" y="245"/>
                      </a:cubicBezTo>
                      <a:cubicBezTo>
                        <a:pt x="2056" y="276"/>
                        <a:pt x="2032" y="300"/>
                        <a:pt x="2032" y="308"/>
                      </a:cubicBezTo>
                      <a:cubicBezTo>
                        <a:pt x="2032" y="316"/>
                        <a:pt x="2032" y="316"/>
                        <a:pt x="2032" y="316"/>
                      </a:cubicBezTo>
                      <a:cubicBezTo>
                        <a:pt x="2032" y="340"/>
                        <a:pt x="2040" y="371"/>
                        <a:pt x="2024" y="379"/>
                      </a:cubicBezTo>
                      <a:cubicBezTo>
                        <a:pt x="2008" y="395"/>
                        <a:pt x="1961" y="450"/>
                        <a:pt x="1969" y="474"/>
                      </a:cubicBezTo>
                      <a:cubicBezTo>
                        <a:pt x="1969" y="482"/>
                        <a:pt x="1969" y="482"/>
                        <a:pt x="1976" y="482"/>
                      </a:cubicBezTo>
                      <a:cubicBezTo>
                        <a:pt x="1992" y="490"/>
                        <a:pt x="2000" y="490"/>
                        <a:pt x="2000" y="490"/>
                      </a:cubicBezTo>
                      <a:cubicBezTo>
                        <a:pt x="2016" y="490"/>
                        <a:pt x="2016" y="498"/>
                        <a:pt x="2016" y="514"/>
                      </a:cubicBezTo>
                      <a:cubicBezTo>
                        <a:pt x="2016" y="537"/>
                        <a:pt x="2008" y="545"/>
                        <a:pt x="1992" y="561"/>
                      </a:cubicBezTo>
                      <a:cubicBezTo>
                        <a:pt x="1984" y="569"/>
                        <a:pt x="1976" y="585"/>
                        <a:pt x="1976" y="600"/>
                      </a:cubicBezTo>
                      <a:cubicBezTo>
                        <a:pt x="1976" y="608"/>
                        <a:pt x="1976" y="616"/>
                        <a:pt x="1984" y="616"/>
                      </a:cubicBezTo>
                      <a:cubicBezTo>
                        <a:pt x="1984" y="616"/>
                        <a:pt x="2008" y="640"/>
                        <a:pt x="2032" y="664"/>
                      </a:cubicBezTo>
                      <a:cubicBezTo>
                        <a:pt x="2150" y="758"/>
                        <a:pt x="2182" y="782"/>
                        <a:pt x="2182" y="790"/>
                      </a:cubicBezTo>
                      <a:cubicBezTo>
                        <a:pt x="2190" y="798"/>
                        <a:pt x="2134" y="869"/>
                        <a:pt x="2134" y="869"/>
                      </a:cubicBezTo>
                      <a:cubicBezTo>
                        <a:pt x="2119" y="877"/>
                        <a:pt x="2119" y="901"/>
                        <a:pt x="2111" y="925"/>
                      </a:cubicBezTo>
                      <a:cubicBezTo>
                        <a:pt x="2111" y="932"/>
                        <a:pt x="2103" y="940"/>
                        <a:pt x="2103" y="948"/>
                      </a:cubicBezTo>
                      <a:cubicBezTo>
                        <a:pt x="2087" y="980"/>
                        <a:pt x="2079" y="988"/>
                        <a:pt x="2047" y="996"/>
                      </a:cubicBezTo>
                      <a:cubicBezTo>
                        <a:pt x="2032" y="1004"/>
                        <a:pt x="2016" y="1011"/>
                        <a:pt x="2008" y="1027"/>
                      </a:cubicBezTo>
                      <a:cubicBezTo>
                        <a:pt x="2000" y="1027"/>
                        <a:pt x="2000" y="1027"/>
                        <a:pt x="2000" y="1027"/>
                      </a:cubicBezTo>
                      <a:lnTo>
                        <a:pt x="2000" y="1027"/>
                      </a:lnTo>
                      <a:cubicBezTo>
                        <a:pt x="2000" y="1020"/>
                        <a:pt x="1992" y="1011"/>
                        <a:pt x="1976" y="1011"/>
                      </a:cubicBezTo>
                      <a:cubicBezTo>
                        <a:pt x="1945" y="1011"/>
                        <a:pt x="1913" y="1027"/>
                        <a:pt x="1913" y="1043"/>
                      </a:cubicBezTo>
                      <a:cubicBezTo>
                        <a:pt x="1905" y="1043"/>
                        <a:pt x="1897" y="1059"/>
                        <a:pt x="1889" y="1075"/>
                      </a:cubicBezTo>
                      <a:cubicBezTo>
                        <a:pt x="1889" y="1075"/>
                        <a:pt x="1881" y="1083"/>
                        <a:pt x="1881" y="1091"/>
                      </a:cubicBezTo>
                      <a:cubicBezTo>
                        <a:pt x="1881" y="1091"/>
                        <a:pt x="1881" y="1091"/>
                        <a:pt x="1881" y="1098"/>
                      </a:cubicBezTo>
                      <a:lnTo>
                        <a:pt x="1881" y="1098"/>
                      </a:lnTo>
                      <a:lnTo>
                        <a:pt x="198" y="1422"/>
                      </a:lnTo>
                      <a:close/>
                      <a:moveTo>
                        <a:pt x="8" y="363"/>
                      </a:moveTo>
                      <a:lnTo>
                        <a:pt x="8" y="363"/>
                      </a:lnTo>
                      <a:cubicBezTo>
                        <a:pt x="206" y="1415"/>
                        <a:pt x="206" y="1415"/>
                        <a:pt x="206" y="1415"/>
                      </a:cubicBezTo>
                      <a:cubicBezTo>
                        <a:pt x="1874" y="1091"/>
                        <a:pt x="1874" y="1091"/>
                        <a:pt x="1874" y="1091"/>
                      </a:cubicBezTo>
                      <a:cubicBezTo>
                        <a:pt x="1874" y="1083"/>
                        <a:pt x="1874" y="1083"/>
                        <a:pt x="1874" y="1083"/>
                      </a:cubicBezTo>
                      <a:cubicBezTo>
                        <a:pt x="1881" y="1083"/>
                        <a:pt x="1881" y="1075"/>
                        <a:pt x="1881" y="1067"/>
                      </a:cubicBezTo>
                      <a:cubicBezTo>
                        <a:pt x="1889" y="1059"/>
                        <a:pt x="1897" y="1043"/>
                        <a:pt x="1905" y="1035"/>
                      </a:cubicBezTo>
                      <a:cubicBezTo>
                        <a:pt x="1913" y="1020"/>
                        <a:pt x="1945" y="1004"/>
                        <a:pt x="1976" y="1004"/>
                      </a:cubicBezTo>
                      <a:cubicBezTo>
                        <a:pt x="1992" y="1004"/>
                        <a:pt x="2000" y="1011"/>
                        <a:pt x="2008" y="1020"/>
                      </a:cubicBezTo>
                      <a:cubicBezTo>
                        <a:pt x="2016" y="1004"/>
                        <a:pt x="2032" y="996"/>
                        <a:pt x="2047" y="988"/>
                      </a:cubicBezTo>
                      <a:cubicBezTo>
                        <a:pt x="2071" y="980"/>
                        <a:pt x="2087" y="972"/>
                        <a:pt x="2095" y="948"/>
                      </a:cubicBezTo>
                      <a:cubicBezTo>
                        <a:pt x="2095" y="940"/>
                        <a:pt x="2103" y="932"/>
                        <a:pt x="2103" y="917"/>
                      </a:cubicBezTo>
                      <a:cubicBezTo>
                        <a:pt x="2111" y="901"/>
                        <a:pt x="2119" y="877"/>
                        <a:pt x="2127" y="861"/>
                      </a:cubicBezTo>
                      <a:cubicBezTo>
                        <a:pt x="2142" y="845"/>
                        <a:pt x="2174" y="798"/>
                        <a:pt x="2174" y="790"/>
                      </a:cubicBezTo>
                      <a:cubicBezTo>
                        <a:pt x="2174" y="782"/>
                        <a:pt x="2079" y="711"/>
                        <a:pt x="2032" y="664"/>
                      </a:cubicBezTo>
                      <a:cubicBezTo>
                        <a:pt x="2000" y="640"/>
                        <a:pt x="1984" y="624"/>
                        <a:pt x="1976" y="624"/>
                      </a:cubicBezTo>
                      <a:cubicBezTo>
                        <a:pt x="1969" y="616"/>
                        <a:pt x="1969" y="608"/>
                        <a:pt x="1969" y="600"/>
                      </a:cubicBezTo>
                      <a:cubicBezTo>
                        <a:pt x="1969" y="585"/>
                        <a:pt x="1976" y="561"/>
                        <a:pt x="1992" y="553"/>
                      </a:cubicBezTo>
                      <a:cubicBezTo>
                        <a:pt x="2008" y="545"/>
                        <a:pt x="2008" y="529"/>
                        <a:pt x="2008" y="514"/>
                      </a:cubicBezTo>
                      <a:cubicBezTo>
                        <a:pt x="2008" y="505"/>
                        <a:pt x="2008" y="498"/>
                        <a:pt x="2008" y="498"/>
                      </a:cubicBezTo>
                      <a:cubicBezTo>
                        <a:pt x="2008" y="498"/>
                        <a:pt x="2008" y="498"/>
                        <a:pt x="2000" y="498"/>
                      </a:cubicBezTo>
                      <a:cubicBezTo>
                        <a:pt x="2000" y="498"/>
                        <a:pt x="1984" y="498"/>
                        <a:pt x="1969" y="490"/>
                      </a:cubicBezTo>
                      <a:cubicBezTo>
                        <a:pt x="1969" y="490"/>
                        <a:pt x="1961" y="482"/>
                        <a:pt x="1961" y="474"/>
                      </a:cubicBezTo>
                      <a:cubicBezTo>
                        <a:pt x="1953" y="442"/>
                        <a:pt x="2008" y="387"/>
                        <a:pt x="2016" y="379"/>
                      </a:cubicBezTo>
                      <a:cubicBezTo>
                        <a:pt x="2032" y="363"/>
                        <a:pt x="2032" y="332"/>
                        <a:pt x="2024" y="316"/>
                      </a:cubicBezTo>
                      <a:cubicBezTo>
                        <a:pt x="2024" y="316"/>
                        <a:pt x="2024" y="316"/>
                        <a:pt x="2024" y="308"/>
                      </a:cubicBezTo>
                      <a:cubicBezTo>
                        <a:pt x="2024" y="300"/>
                        <a:pt x="2056" y="268"/>
                        <a:pt x="2079" y="245"/>
                      </a:cubicBezTo>
                      <a:cubicBezTo>
                        <a:pt x="2063" y="237"/>
                        <a:pt x="2056" y="229"/>
                        <a:pt x="2032" y="221"/>
                      </a:cubicBezTo>
                      <a:cubicBezTo>
                        <a:pt x="2024" y="221"/>
                        <a:pt x="2016" y="221"/>
                        <a:pt x="2008" y="221"/>
                      </a:cubicBezTo>
                      <a:cubicBezTo>
                        <a:pt x="2000" y="221"/>
                        <a:pt x="2000" y="221"/>
                        <a:pt x="1992" y="221"/>
                      </a:cubicBezTo>
                      <a:lnTo>
                        <a:pt x="1984" y="221"/>
                      </a:lnTo>
                      <a:cubicBezTo>
                        <a:pt x="1976" y="221"/>
                        <a:pt x="1969" y="221"/>
                        <a:pt x="1961" y="205"/>
                      </a:cubicBezTo>
                      <a:cubicBezTo>
                        <a:pt x="1953" y="197"/>
                        <a:pt x="1945" y="174"/>
                        <a:pt x="1937" y="158"/>
                      </a:cubicBezTo>
                      <a:cubicBezTo>
                        <a:pt x="1921" y="118"/>
                        <a:pt x="1905" y="63"/>
                        <a:pt x="1889" y="63"/>
                      </a:cubicBezTo>
                      <a:lnTo>
                        <a:pt x="1889" y="63"/>
                      </a:lnTo>
                      <a:cubicBezTo>
                        <a:pt x="1858" y="63"/>
                        <a:pt x="1834" y="63"/>
                        <a:pt x="1787" y="23"/>
                      </a:cubicBezTo>
                      <a:cubicBezTo>
                        <a:pt x="1771" y="8"/>
                        <a:pt x="1755" y="8"/>
                        <a:pt x="1747" y="8"/>
                      </a:cubicBezTo>
                      <a:cubicBezTo>
                        <a:pt x="1731" y="8"/>
                        <a:pt x="1716" y="15"/>
                        <a:pt x="1708" y="15"/>
                      </a:cubicBezTo>
                      <a:cubicBezTo>
                        <a:pt x="1700" y="23"/>
                        <a:pt x="1692" y="23"/>
                        <a:pt x="1684" y="31"/>
                      </a:cubicBezTo>
                      <a:cubicBezTo>
                        <a:pt x="1660" y="39"/>
                        <a:pt x="332" y="292"/>
                        <a:pt x="277" y="308"/>
                      </a:cubicBezTo>
                      <a:cubicBezTo>
                        <a:pt x="269" y="308"/>
                        <a:pt x="269" y="308"/>
                        <a:pt x="269" y="308"/>
                      </a:cubicBezTo>
                      <a:cubicBezTo>
                        <a:pt x="245" y="197"/>
                        <a:pt x="245" y="197"/>
                        <a:pt x="245" y="197"/>
                      </a:cubicBezTo>
                      <a:cubicBezTo>
                        <a:pt x="198" y="245"/>
                        <a:pt x="111" y="316"/>
                        <a:pt x="55" y="340"/>
                      </a:cubicBezTo>
                      <a:cubicBezTo>
                        <a:pt x="40" y="347"/>
                        <a:pt x="24" y="355"/>
                        <a:pt x="8" y="36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2" name="Freeform 775">
                  <a:extLst>
                    <a:ext uri="{FF2B5EF4-FFF2-40B4-BE49-F238E27FC236}">
                      <a16:creationId xmlns:a16="http://schemas.microsoft.com/office/drawing/2014/main" id="{AA61FFDA-9CBD-A641-96B9-62B8AE7D14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93204" y="5556056"/>
                  <a:ext cx="906849" cy="637810"/>
                </a:xfrm>
                <a:custGeom>
                  <a:avLst/>
                  <a:gdLst>
                    <a:gd name="T0" fmla="*/ 1660 w 1725"/>
                    <a:gd name="T1" fmla="*/ 752 h 1211"/>
                    <a:gd name="T2" fmla="*/ 1692 w 1725"/>
                    <a:gd name="T3" fmla="*/ 649 h 1211"/>
                    <a:gd name="T4" fmla="*/ 1573 w 1725"/>
                    <a:gd name="T5" fmla="*/ 570 h 1211"/>
                    <a:gd name="T6" fmla="*/ 1407 w 1725"/>
                    <a:gd name="T7" fmla="*/ 317 h 1211"/>
                    <a:gd name="T8" fmla="*/ 1312 w 1725"/>
                    <a:gd name="T9" fmla="*/ 0 h 1211"/>
                    <a:gd name="T10" fmla="*/ 40 w 1725"/>
                    <a:gd name="T11" fmla="*/ 483 h 1211"/>
                    <a:gd name="T12" fmla="*/ 206 w 1725"/>
                    <a:gd name="T13" fmla="*/ 340 h 1211"/>
                    <a:gd name="T14" fmla="*/ 269 w 1725"/>
                    <a:gd name="T15" fmla="*/ 246 h 1211"/>
                    <a:gd name="T16" fmla="*/ 380 w 1725"/>
                    <a:gd name="T17" fmla="*/ 238 h 1211"/>
                    <a:gd name="T18" fmla="*/ 498 w 1725"/>
                    <a:gd name="T19" fmla="*/ 190 h 1211"/>
                    <a:gd name="T20" fmla="*/ 617 w 1725"/>
                    <a:gd name="T21" fmla="*/ 246 h 1211"/>
                    <a:gd name="T22" fmla="*/ 743 w 1725"/>
                    <a:gd name="T23" fmla="*/ 324 h 1211"/>
                    <a:gd name="T24" fmla="*/ 846 w 1725"/>
                    <a:gd name="T25" fmla="*/ 419 h 1211"/>
                    <a:gd name="T26" fmla="*/ 933 w 1725"/>
                    <a:gd name="T27" fmla="*/ 601 h 1211"/>
                    <a:gd name="T28" fmla="*/ 981 w 1725"/>
                    <a:gd name="T29" fmla="*/ 720 h 1211"/>
                    <a:gd name="T30" fmla="*/ 1044 w 1725"/>
                    <a:gd name="T31" fmla="*/ 752 h 1211"/>
                    <a:gd name="T32" fmla="*/ 1241 w 1725"/>
                    <a:gd name="T33" fmla="*/ 775 h 1211"/>
                    <a:gd name="T34" fmla="*/ 1225 w 1725"/>
                    <a:gd name="T35" fmla="*/ 649 h 1211"/>
                    <a:gd name="T36" fmla="*/ 1154 w 1725"/>
                    <a:gd name="T37" fmla="*/ 491 h 1211"/>
                    <a:gd name="T38" fmla="*/ 1131 w 1725"/>
                    <a:gd name="T39" fmla="*/ 301 h 1211"/>
                    <a:gd name="T40" fmla="*/ 1131 w 1725"/>
                    <a:gd name="T41" fmla="*/ 238 h 1211"/>
                    <a:gd name="T42" fmla="*/ 1210 w 1725"/>
                    <a:gd name="T43" fmla="*/ 166 h 1211"/>
                    <a:gd name="T44" fmla="*/ 1257 w 1725"/>
                    <a:gd name="T45" fmla="*/ 119 h 1211"/>
                    <a:gd name="T46" fmla="*/ 1273 w 1725"/>
                    <a:gd name="T47" fmla="*/ 174 h 1211"/>
                    <a:gd name="T48" fmla="*/ 1210 w 1725"/>
                    <a:gd name="T49" fmla="*/ 317 h 1211"/>
                    <a:gd name="T50" fmla="*/ 1202 w 1725"/>
                    <a:gd name="T51" fmla="*/ 372 h 1211"/>
                    <a:gd name="T52" fmla="*/ 1234 w 1725"/>
                    <a:gd name="T53" fmla="*/ 396 h 1211"/>
                    <a:gd name="T54" fmla="*/ 1218 w 1725"/>
                    <a:gd name="T55" fmla="*/ 451 h 1211"/>
                    <a:gd name="T56" fmla="*/ 1273 w 1725"/>
                    <a:gd name="T57" fmla="*/ 483 h 1211"/>
                    <a:gd name="T58" fmla="*/ 1249 w 1725"/>
                    <a:gd name="T59" fmla="*/ 538 h 1211"/>
                    <a:gd name="T60" fmla="*/ 1297 w 1725"/>
                    <a:gd name="T61" fmla="*/ 601 h 1211"/>
                    <a:gd name="T62" fmla="*/ 1312 w 1725"/>
                    <a:gd name="T63" fmla="*/ 696 h 1211"/>
                    <a:gd name="T64" fmla="*/ 1415 w 1725"/>
                    <a:gd name="T65" fmla="*/ 672 h 1211"/>
                    <a:gd name="T66" fmla="*/ 1455 w 1725"/>
                    <a:gd name="T67" fmla="*/ 799 h 1211"/>
                    <a:gd name="T68" fmla="*/ 1518 w 1725"/>
                    <a:gd name="T69" fmla="*/ 846 h 1211"/>
                    <a:gd name="T70" fmla="*/ 1478 w 1725"/>
                    <a:gd name="T71" fmla="*/ 1083 h 1211"/>
                    <a:gd name="T72" fmla="*/ 1534 w 1725"/>
                    <a:gd name="T73" fmla="*/ 1155 h 1211"/>
                    <a:gd name="T74" fmla="*/ 1558 w 1725"/>
                    <a:gd name="T75" fmla="*/ 1004 h 1211"/>
                    <a:gd name="T76" fmla="*/ 1605 w 1725"/>
                    <a:gd name="T77" fmla="*/ 870 h 1211"/>
                    <a:gd name="T78" fmla="*/ 1692 w 1725"/>
                    <a:gd name="T79" fmla="*/ 767 h 1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725" h="1211">
                      <a:moveTo>
                        <a:pt x="1660" y="752"/>
                      </a:moveTo>
                      <a:lnTo>
                        <a:pt x="1660" y="752"/>
                      </a:lnTo>
                      <a:cubicBezTo>
                        <a:pt x="1645" y="728"/>
                        <a:pt x="1629" y="712"/>
                        <a:pt x="1652" y="696"/>
                      </a:cubicBezTo>
                      <a:cubicBezTo>
                        <a:pt x="1676" y="680"/>
                        <a:pt x="1660" y="680"/>
                        <a:pt x="1692" y="649"/>
                      </a:cubicBezTo>
                      <a:cubicBezTo>
                        <a:pt x="1716" y="625"/>
                        <a:pt x="1716" y="609"/>
                        <a:pt x="1724" y="593"/>
                      </a:cubicBezTo>
                      <a:cubicBezTo>
                        <a:pt x="1684" y="577"/>
                        <a:pt x="1621" y="577"/>
                        <a:pt x="1573" y="570"/>
                      </a:cubicBezTo>
                      <a:cubicBezTo>
                        <a:pt x="1502" y="554"/>
                        <a:pt x="1455" y="554"/>
                        <a:pt x="1447" y="546"/>
                      </a:cubicBezTo>
                      <a:cubicBezTo>
                        <a:pt x="1439" y="530"/>
                        <a:pt x="1407" y="364"/>
                        <a:pt x="1407" y="317"/>
                      </a:cubicBezTo>
                      <a:cubicBezTo>
                        <a:pt x="1400" y="277"/>
                        <a:pt x="1360" y="151"/>
                        <a:pt x="1336" y="87"/>
                      </a:cubicBezTo>
                      <a:cubicBezTo>
                        <a:pt x="1312" y="48"/>
                        <a:pt x="1312" y="16"/>
                        <a:pt x="1312" y="0"/>
                      </a:cubicBezTo>
                      <a:cubicBezTo>
                        <a:pt x="0" y="246"/>
                        <a:pt x="0" y="246"/>
                        <a:pt x="0" y="246"/>
                      </a:cubicBezTo>
                      <a:cubicBezTo>
                        <a:pt x="40" y="483"/>
                        <a:pt x="40" y="483"/>
                        <a:pt x="40" y="483"/>
                      </a:cubicBezTo>
                      <a:cubicBezTo>
                        <a:pt x="158" y="348"/>
                        <a:pt x="158" y="348"/>
                        <a:pt x="158" y="348"/>
                      </a:cubicBezTo>
                      <a:cubicBezTo>
                        <a:pt x="158" y="348"/>
                        <a:pt x="206" y="324"/>
                        <a:pt x="206" y="340"/>
                      </a:cubicBezTo>
                      <a:cubicBezTo>
                        <a:pt x="214" y="364"/>
                        <a:pt x="222" y="340"/>
                        <a:pt x="230" y="333"/>
                      </a:cubicBezTo>
                      <a:cubicBezTo>
                        <a:pt x="230" y="317"/>
                        <a:pt x="253" y="230"/>
                        <a:pt x="269" y="246"/>
                      </a:cubicBezTo>
                      <a:cubicBezTo>
                        <a:pt x="277" y="261"/>
                        <a:pt x="277" y="277"/>
                        <a:pt x="317" y="285"/>
                      </a:cubicBezTo>
                      <a:cubicBezTo>
                        <a:pt x="356" y="285"/>
                        <a:pt x="364" y="246"/>
                        <a:pt x="380" y="238"/>
                      </a:cubicBezTo>
                      <a:cubicBezTo>
                        <a:pt x="403" y="230"/>
                        <a:pt x="427" y="222"/>
                        <a:pt x="443" y="214"/>
                      </a:cubicBezTo>
                      <a:cubicBezTo>
                        <a:pt x="451" y="198"/>
                        <a:pt x="475" y="182"/>
                        <a:pt x="498" y="190"/>
                      </a:cubicBezTo>
                      <a:cubicBezTo>
                        <a:pt x="514" y="206"/>
                        <a:pt x="538" y="206"/>
                        <a:pt x="561" y="206"/>
                      </a:cubicBezTo>
                      <a:cubicBezTo>
                        <a:pt x="593" y="206"/>
                        <a:pt x="617" y="222"/>
                        <a:pt x="617" y="246"/>
                      </a:cubicBezTo>
                      <a:cubicBezTo>
                        <a:pt x="625" y="261"/>
                        <a:pt x="656" y="317"/>
                        <a:pt x="656" y="317"/>
                      </a:cubicBezTo>
                      <a:cubicBezTo>
                        <a:pt x="656" y="317"/>
                        <a:pt x="743" y="301"/>
                        <a:pt x="743" y="324"/>
                      </a:cubicBezTo>
                      <a:cubicBezTo>
                        <a:pt x="751" y="348"/>
                        <a:pt x="751" y="396"/>
                        <a:pt x="767" y="412"/>
                      </a:cubicBezTo>
                      <a:cubicBezTo>
                        <a:pt x="775" y="419"/>
                        <a:pt x="822" y="404"/>
                        <a:pt x="846" y="419"/>
                      </a:cubicBezTo>
                      <a:cubicBezTo>
                        <a:pt x="870" y="435"/>
                        <a:pt x="949" y="467"/>
                        <a:pt x="949" y="499"/>
                      </a:cubicBezTo>
                      <a:cubicBezTo>
                        <a:pt x="949" y="530"/>
                        <a:pt x="957" y="562"/>
                        <a:pt x="933" y="601"/>
                      </a:cubicBezTo>
                      <a:cubicBezTo>
                        <a:pt x="909" y="641"/>
                        <a:pt x="886" y="696"/>
                        <a:pt x="901" y="720"/>
                      </a:cubicBezTo>
                      <a:cubicBezTo>
                        <a:pt x="917" y="744"/>
                        <a:pt x="957" y="736"/>
                        <a:pt x="981" y="720"/>
                      </a:cubicBezTo>
                      <a:cubicBezTo>
                        <a:pt x="996" y="696"/>
                        <a:pt x="1036" y="704"/>
                        <a:pt x="1044" y="720"/>
                      </a:cubicBezTo>
                      <a:cubicBezTo>
                        <a:pt x="1052" y="728"/>
                        <a:pt x="1020" y="736"/>
                        <a:pt x="1044" y="752"/>
                      </a:cubicBezTo>
                      <a:cubicBezTo>
                        <a:pt x="1075" y="759"/>
                        <a:pt x="1115" y="775"/>
                        <a:pt x="1154" y="783"/>
                      </a:cubicBezTo>
                      <a:cubicBezTo>
                        <a:pt x="1186" y="791"/>
                        <a:pt x="1225" y="775"/>
                        <a:pt x="1241" y="775"/>
                      </a:cubicBezTo>
                      <a:cubicBezTo>
                        <a:pt x="1241" y="759"/>
                        <a:pt x="1249" y="752"/>
                        <a:pt x="1241" y="728"/>
                      </a:cubicBezTo>
                      <a:cubicBezTo>
                        <a:pt x="1234" y="688"/>
                        <a:pt x="1241" y="680"/>
                        <a:pt x="1225" y="649"/>
                      </a:cubicBezTo>
                      <a:cubicBezTo>
                        <a:pt x="1210" y="609"/>
                        <a:pt x="1194" y="617"/>
                        <a:pt x="1186" y="593"/>
                      </a:cubicBezTo>
                      <a:cubicBezTo>
                        <a:pt x="1178" y="562"/>
                        <a:pt x="1154" y="530"/>
                        <a:pt x="1154" y="491"/>
                      </a:cubicBezTo>
                      <a:cubicBezTo>
                        <a:pt x="1147" y="443"/>
                        <a:pt x="1147" y="404"/>
                        <a:pt x="1147" y="364"/>
                      </a:cubicBezTo>
                      <a:cubicBezTo>
                        <a:pt x="1139" y="333"/>
                        <a:pt x="1154" y="309"/>
                        <a:pt x="1131" y="301"/>
                      </a:cubicBezTo>
                      <a:cubicBezTo>
                        <a:pt x="1107" y="293"/>
                        <a:pt x="1083" y="230"/>
                        <a:pt x="1099" y="238"/>
                      </a:cubicBezTo>
                      <a:cubicBezTo>
                        <a:pt x="1107" y="246"/>
                        <a:pt x="1123" y="261"/>
                        <a:pt x="1131" y="238"/>
                      </a:cubicBezTo>
                      <a:cubicBezTo>
                        <a:pt x="1139" y="214"/>
                        <a:pt x="1170" y="182"/>
                        <a:pt x="1170" y="182"/>
                      </a:cubicBezTo>
                      <a:cubicBezTo>
                        <a:pt x="1178" y="182"/>
                        <a:pt x="1194" y="174"/>
                        <a:pt x="1210" y="166"/>
                      </a:cubicBezTo>
                      <a:cubicBezTo>
                        <a:pt x="1234" y="151"/>
                        <a:pt x="1249" y="135"/>
                        <a:pt x="1249" y="127"/>
                      </a:cubicBezTo>
                      <a:cubicBezTo>
                        <a:pt x="1241" y="111"/>
                        <a:pt x="1257" y="95"/>
                        <a:pt x="1257" y="119"/>
                      </a:cubicBezTo>
                      <a:cubicBezTo>
                        <a:pt x="1257" y="135"/>
                        <a:pt x="1257" y="166"/>
                        <a:pt x="1265" y="166"/>
                      </a:cubicBezTo>
                      <a:cubicBezTo>
                        <a:pt x="1281" y="166"/>
                        <a:pt x="1297" y="174"/>
                        <a:pt x="1273" y="174"/>
                      </a:cubicBezTo>
                      <a:cubicBezTo>
                        <a:pt x="1257" y="182"/>
                        <a:pt x="1170" y="198"/>
                        <a:pt x="1186" y="222"/>
                      </a:cubicBezTo>
                      <a:cubicBezTo>
                        <a:pt x="1194" y="253"/>
                        <a:pt x="1186" y="317"/>
                        <a:pt x="1210" y="317"/>
                      </a:cubicBezTo>
                      <a:cubicBezTo>
                        <a:pt x="1234" y="309"/>
                        <a:pt x="1241" y="309"/>
                        <a:pt x="1234" y="333"/>
                      </a:cubicBezTo>
                      <a:cubicBezTo>
                        <a:pt x="1234" y="356"/>
                        <a:pt x="1210" y="348"/>
                        <a:pt x="1202" y="372"/>
                      </a:cubicBezTo>
                      <a:cubicBezTo>
                        <a:pt x="1186" y="388"/>
                        <a:pt x="1147" y="412"/>
                        <a:pt x="1178" y="412"/>
                      </a:cubicBezTo>
                      <a:cubicBezTo>
                        <a:pt x="1210" y="419"/>
                        <a:pt x="1234" y="380"/>
                        <a:pt x="1234" y="396"/>
                      </a:cubicBezTo>
                      <a:cubicBezTo>
                        <a:pt x="1241" y="404"/>
                        <a:pt x="1265" y="412"/>
                        <a:pt x="1249" y="427"/>
                      </a:cubicBezTo>
                      <a:cubicBezTo>
                        <a:pt x="1234" y="443"/>
                        <a:pt x="1218" y="435"/>
                        <a:pt x="1218" y="451"/>
                      </a:cubicBezTo>
                      <a:cubicBezTo>
                        <a:pt x="1218" y="467"/>
                        <a:pt x="1202" y="475"/>
                        <a:pt x="1225" y="483"/>
                      </a:cubicBezTo>
                      <a:cubicBezTo>
                        <a:pt x="1249" y="491"/>
                        <a:pt x="1265" y="467"/>
                        <a:pt x="1273" y="483"/>
                      </a:cubicBezTo>
                      <a:cubicBezTo>
                        <a:pt x="1289" y="499"/>
                        <a:pt x="1312" y="506"/>
                        <a:pt x="1289" y="514"/>
                      </a:cubicBezTo>
                      <a:cubicBezTo>
                        <a:pt x="1273" y="530"/>
                        <a:pt x="1257" y="514"/>
                        <a:pt x="1249" y="538"/>
                      </a:cubicBezTo>
                      <a:cubicBezTo>
                        <a:pt x="1241" y="570"/>
                        <a:pt x="1234" y="577"/>
                        <a:pt x="1257" y="577"/>
                      </a:cubicBezTo>
                      <a:cubicBezTo>
                        <a:pt x="1289" y="586"/>
                        <a:pt x="1289" y="577"/>
                        <a:pt x="1297" y="601"/>
                      </a:cubicBezTo>
                      <a:cubicBezTo>
                        <a:pt x="1297" y="625"/>
                        <a:pt x="1297" y="609"/>
                        <a:pt x="1289" y="649"/>
                      </a:cubicBezTo>
                      <a:cubicBezTo>
                        <a:pt x="1289" y="680"/>
                        <a:pt x="1281" y="688"/>
                        <a:pt x="1312" y="696"/>
                      </a:cubicBezTo>
                      <a:cubicBezTo>
                        <a:pt x="1344" y="696"/>
                        <a:pt x="1360" y="672"/>
                        <a:pt x="1368" y="657"/>
                      </a:cubicBezTo>
                      <a:cubicBezTo>
                        <a:pt x="1368" y="649"/>
                        <a:pt x="1384" y="625"/>
                        <a:pt x="1415" y="672"/>
                      </a:cubicBezTo>
                      <a:cubicBezTo>
                        <a:pt x="1439" y="720"/>
                        <a:pt x="1463" y="728"/>
                        <a:pt x="1455" y="759"/>
                      </a:cubicBezTo>
                      <a:cubicBezTo>
                        <a:pt x="1439" y="791"/>
                        <a:pt x="1431" y="783"/>
                        <a:pt x="1455" y="799"/>
                      </a:cubicBezTo>
                      <a:cubicBezTo>
                        <a:pt x="1478" y="815"/>
                        <a:pt x="1494" y="815"/>
                        <a:pt x="1502" y="807"/>
                      </a:cubicBezTo>
                      <a:cubicBezTo>
                        <a:pt x="1510" y="807"/>
                        <a:pt x="1518" y="815"/>
                        <a:pt x="1518" y="846"/>
                      </a:cubicBezTo>
                      <a:cubicBezTo>
                        <a:pt x="1526" y="870"/>
                        <a:pt x="1487" y="941"/>
                        <a:pt x="1487" y="973"/>
                      </a:cubicBezTo>
                      <a:cubicBezTo>
                        <a:pt x="1487" y="1004"/>
                        <a:pt x="1478" y="1036"/>
                        <a:pt x="1478" y="1083"/>
                      </a:cubicBezTo>
                      <a:cubicBezTo>
                        <a:pt x="1487" y="1131"/>
                        <a:pt x="1471" y="1155"/>
                        <a:pt x="1494" y="1178"/>
                      </a:cubicBezTo>
                      <a:cubicBezTo>
                        <a:pt x="1518" y="1202"/>
                        <a:pt x="1534" y="1210"/>
                        <a:pt x="1534" y="1155"/>
                      </a:cubicBezTo>
                      <a:cubicBezTo>
                        <a:pt x="1534" y="1107"/>
                        <a:pt x="1526" y="1068"/>
                        <a:pt x="1542" y="1044"/>
                      </a:cubicBezTo>
                      <a:cubicBezTo>
                        <a:pt x="1550" y="1028"/>
                        <a:pt x="1558" y="1036"/>
                        <a:pt x="1558" y="1004"/>
                      </a:cubicBezTo>
                      <a:cubicBezTo>
                        <a:pt x="1558" y="981"/>
                        <a:pt x="1605" y="1028"/>
                        <a:pt x="1605" y="981"/>
                      </a:cubicBezTo>
                      <a:cubicBezTo>
                        <a:pt x="1597" y="941"/>
                        <a:pt x="1589" y="894"/>
                        <a:pt x="1605" y="870"/>
                      </a:cubicBezTo>
                      <a:cubicBezTo>
                        <a:pt x="1621" y="839"/>
                        <a:pt x="1605" y="815"/>
                        <a:pt x="1645" y="807"/>
                      </a:cubicBezTo>
                      <a:cubicBezTo>
                        <a:pt x="1684" y="791"/>
                        <a:pt x="1692" y="783"/>
                        <a:pt x="1692" y="767"/>
                      </a:cubicBezTo>
                      <a:cubicBezTo>
                        <a:pt x="1692" y="752"/>
                        <a:pt x="1668" y="767"/>
                        <a:pt x="1660" y="75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3" name="Freeform 776">
                  <a:extLst>
                    <a:ext uri="{FF2B5EF4-FFF2-40B4-BE49-F238E27FC236}">
                      <a16:creationId xmlns:a16="http://schemas.microsoft.com/office/drawing/2014/main" id="{A21A5857-1525-5D4C-B77F-5A0C827196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90886" y="5553737"/>
                  <a:ext cx="911486" cy="635490"/>
                </a:xfrm>
                <a:custGeom>
                  <a:avLst/>
                  <a:gdLst>
                    <a:gd name="T0" fmla="*/ 1486 w 1733"/>
                    <a:gd name="T1" fmla="*/ 1011 h 1210"/>
                    <a:gd name="T2" fmla="*/ 1463 w 1733"/>
                    <a:gd name="T3" fmla="*/ 806 h 1210"/>
                    <a:gd name="T4" fmla="*/ 1392 w 1733"/>
                    <a:gd name="T5" fmla="*/ 656 h 1210"/>
                    <a:gd name="T6" fmla="*/ 1297 w 1733"/>
                    <a:gd name="T7" fmla="*/ 624 h 1210"/>
                    <a:gd name="T8" fmla="*/ 1257 w 1733"/>
                    <a:gd name="T9" fmla="*/ 545 h 1210"/>
                    <a:gd name="T10" fmla="*/ 1273 w 1733"/>
                    <a:gd name="T11" fmla="*/ 490 h 1210"/>
                    <a:gd name="T12" fmla="*/ 1226 w 1733"/>
                    <a:gd name="T13" fmla="*/ 458 h 1210"/>
                    <a:gd name="T14" fmla="*/ 1233 w 1733"/>
                    <a:gd name="T15" fmla="*/ 411 h 1210"/>
                    <a:gd name="T16" fmla="*/ 1242 w 1733"/>
                    <a:gd name="T17" fmla="*/ 340 h 1210"/>
                    <a:gd name="T18" fmla="*/ 1186 w 1733"/>
                    <a:gd name="T19" fmla="*/ 221 h 1210"/>
                    <a:gd name="T20" fmla="*/ 1265 w 1733"/>
                    <a:gd name="T21" fmla="*/ 142 h 1210"/>
                    <a:gd name="T22" fmla="*/ 1186 w 1733"/>
                    <a:gd name="T23" fmla="*/ 189 h 1210"/>
                    <a:gd name="T24" fmla="*/ 1139 w 1733"/>
                    <a:gd name="T25" fmla="*/ 300 h 1210"/>
                    <a:gd name="T26" fmla="*/ 1202 w 1733"/>
                    <a:gd name="T27" fmla="*/ 593 h 1210"/>
                    <a:gd name="T28" fmla="*/ 1249 w 1733"/>
                    <a:gd name="T29" fmla="*/ 790 h 1210"/>
                    <a:gd name="T30" fmla="*/ 1052 w 1733"/>
                    <a:gd name="T31" fmla="*/ 759 h 1210"/>
                    <a:gd name="T32" fmla="*/ 941 w 1733"/>
                    <a:gd name="T33" fmla="*/ 743 h 1210"/>
                    <a:gd name="T34" fmla="*/ 854 w 1733"/>
                    <a:gd name="T35" fmla="*/ 426 h 1210"/>
                    <a:gd name="T36" fmla="*/ 751 w 1733"/>
                    <a:gd name="T37" fmla="*/ 331 h 1210"/>
                    <a:gd name="T38" fmla="*/ 569 w 1733"/>
                    <a:gd name="T39" fmla="*/ 213 h 1210"/>
                    <a:gd name="T40" fmla="*/ 372 w 1733"/>
                    <a:gd name="T41" fmla="*/ 268 h 1210"/>
                    <a:gd name="T42" fmla="*/ 238 w 1733"/>
                    <a:gd name="T43" fmla="*/ 340 h 1210"/>
                    <a:gd name="T44" fmla="*/ 0 w 1733"/>
                    <a:gd name="T45" fmla="*/ 253 h 1210"/>
                    <a:gd name="T46" fmla="*/ 1518 w 1733"/>
                    <a:gd name="T47" fmla="*/ 561 h 1210"/>
                    <a:gd name="T48" fmla="*/ 1700 w 1733"/>
                    <a:gd name="T49" fmla="*/ 656 h 1210"/>
                    <a:gd name="T50" fmla="*/ 1692 w 1733"/>
                    <a:gd name="T51" fmla="*/ 766 h 1210"/>
                    <a:gd name="T52" fmla="*/ 1613 w 1733"/>
                    <a:gd name="T53" fmla="*/ 988 h 1210"/>
                    <a:gd name="T54" fmla="*/ 1558 w 1733"/>
                    <a:gd name="T55" fmla="*/ 1051 h 1210"/>
                    <a:gd name="T56" fmla="*/ 1510 w 1733"/>
                    <a:gd name="T57" fmla="*/ 814 h 1210"/>
                    <a:gd name="T58" fmla="*/ 1495 w 1733"/>
                    <a:gd name="T59" fmla="*/ 1130 h 1210"/>
                    <a:gd name="T60" fmla="*/ 1550 w 1733"/>
                    <a:gd name="T61" fmla="*/ 1043 h 1210"/>
                    <a:gd name="T62" fmla="*/ 1605 w 1733"/>
                    <a:gd name="T63" fmla="*/ 988 h 1210"/>
                    <a:gd name="T64" fmla="*/ 1692 w 1733"/>
                    <a:gd name="T65" fmla="*/ 774 h 1210"/>
                    <a:gd name="T66" fmla="*/ 1724 w 1733"/>
                    <a:gd name="T67" fmla="*/ 600 h 1210"/>
                    <a:gd name="T68" fmla="*/ 1336 w 1733"/>
                    <a:gd name="T69" fmla="*/ 102 h 1210"/>
                    <a:gd name="T70" fmla="*/ 206 w 1733"/>
                    <a:gd name="T71" fmla="*/ 340 h 1210"/>
                    <a:gd name="T72" fmla="*/ 277 w 1733"/>
                    <a:gd name="T73" fmla="*/ 253 h 1210"/>
                    <a:gd name="T74" fmla="*/ 411 w 1733"/>
                    <a:gd name="T75" fmla="*/ 237 h 1210"/>
                    <a:gd name="T76" fmla="*/ 672 w 1733"/>
                    <a:gd name="T77" fmla="*/ 324 h 1210"/>
                    <a:gd name="T78" fmla="*/ 807 w 1733"/>
                    <a:gd name="T79" fmla="*/ 411 h 1210"/>
                    <a:gd name="T80" fmla="*/ 949 w 1733"/>
                    <a:gd name="T81" fmla="*/ 608 h 1210"/>
                    <a:gd name="T82" fmla="*/ 1052 w 1733"/>
                    <a:gd name="T83" fmla="*/ 743 h 1210"/>
                    <a:gd name="T84" fmla="*/ 1242 w 1733"/>
                    <a:gd name="T85" fmla="*/ 782 h 1210"/>
                    <a:gd name="T86" fmla="*/ 1194 w 1733"/>
                    <a:gd name="T87" fmla="*/ 600 h 1210"/>
                    <a:gd name="T88" fmla="*/ 1139 w 1733"/>
                    <a:gd name="T89" fmla="*/ 308 h 1210"/>
                    <a:gd name="T90" fmla="*/ 1139 w 1733"/>
                    <a:gd name="T91" fmla="*/ 245 h 1210"/>
                    <a:gd name="T92" fmla="*/ 1265 w 1733"/>
                    <a:gd name="T93" fmla="*/ 110 h 1210"/>
                    <a:gd name="T94" fmla="*/ 1281 w 1733"/>
                    <a:gd name="T95" fmla="*/ 189 h 1210"/>
                    <a:gd name="T96" fmla="*/ 1218 w 1733"/>
                    <a:gd name="T97" fmla="*/ 316 h 1210"/>
                    <a:gd name="T98" fmla="*/ 1194 w 1733"/>
                    <a:gd name="T99" fmla="*/ 395 h 1210"/>
                    <a:gd name="T100" fmla="*/ 1257 w 1733"/>
                    <a:gd name="T101" fmla="*/ 403 h 1210"/>
                    <a:gd name="T102" fmla="*/ 1226 w 1733"/>
                    <a:gd name="T103" fmla="*/ 482 h 1210"/>
                    <a:gd name="T104" fmla="*/ 1297 w 1733"/>
                    <a:gd name="T105" fmla="*/ 498 h 1210"/>
                    <a:gd name="T106" fmla="*/ 1257 w 1733"/>
                    <a:gd name="T107" fmla="*/ 577 h 1210"/>
                    <a:gd name="T108" fmla="*/ 1305 w 1733"/>
                    <a:gd name="T109" fmla="*/ 664 h 1210"/>
                    <a:gd name="T110" fmla="*/ 1447 w 1733"/>
                    <a:gd name="T111" fmla="*/ 711 h 1210"/>
                    <a:gd name="T112" fmla="*/ 1502 w 1733"/>
                    <a:gd name="T113" fmla="*/ 814 h 1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33" h="1210">
                      <a:moveTo>
                        <a:pt x="1526" y="1209"/>
                      </a:moveTo>
                      <a:lnTo>
                        <a:pt x="1526" y="1209"/>
                      </a:lnTo>
                      <a:cubicBezTo>
                        <a:pt x="1518" y="1209"/>
                        <a:pt x="1510" y="1201"/>
                        <a:pt x="1502" y="1185"/>
                      </a:cubicBezTo>
                      <a:cubicBezTo>
                        <a:pt x="1479" y="1170"/>
                        <a:pt x="1486" y="1154"/>
                        <a:pt x="1486" y="1130"/>
                      </a:cubicBezTo>
                      <a:cubicBezTo>
                        <a:pt x="1486" y="1122"/>
                        <a:pt x="1486" y="1106"/>
                        <a:pt x="1486" y="1090"/>
                      </a:cubicBezTo>
                      <a:cubicBezTo>
                        <a:pt x="1479" y="1059"/>
                        <a:pt x="1486" y="1035"/>
                        <a:pt x="1486" y="1011"/>
                      </a:cubicBezTo>
                      <a:cubicBezTo>
                        <a:pt x="1495" y="1004"/>
                        <a:pt x="1495" y="996"/>
                        <a:pt x="1495" y="980"/>
                      </a:cubicBezTo>
                      <a:cubicBezTo>
                        <a:pt x="1495" y="964"/>
                        <a:pt x="1502" y="940"/>
                        <a:pt x="1510" y="917"/>
                      </a:cubicBezTo>
                      <a:cubicBezTo>
                        <a:pt x="1518" y="893"/>
                        <a:pt x="1526" y="861"/>
                        <a:pt x="1526" y="853"/>
                      </a:cubicBezTo>
                      <a:cubicBezTo>
                        <a:pt x="1526" y="830"/>
                        <a:pt x="1518" y="814"/>
                        <a:pt x="1510" y="814"/>
                      </a:cubicBezTo>
                      <a:cubicBezTo>
                        <a:pt x="1510" y="822"/>
                        <a:pt x="1510" y="822"/>
                        <a:pt x="1510" y="822"/>
                      </a:cubicBezTo>
                      <a:cubicBezTo>
                        <a:pt x="1502" y="822"/>
                        <a:pt x="1486" y="822"/>
                        <a:pt x="1463" y="806"/>
                      </a:cubicBezTo>
                      <a:lnTo>
                        <a:pt x="1455" y="806"/>
                      </a:lnTo>
                      <a:cubicBezTo>
                        <a:pt x="1447" y="798"/>
                        <a:pt x="1447" y="798"/>
                        <a:pt x="1447" y="782"/>
                      </a:cubicBezTo>
                      <a:cubicBezTo>
                        <a:pt x="1447" y="782"/>
                        <a:pt x="1455" y="774"/>
                        <a:pt x="1455" y="766"/>
                      </a:cubicBezTo>
                      <a:cubicBezTo>
                        <a:pt x="1463" y="743"/>
                        <a:pt x="1455" y="735"/>
                        <a:pt x="1439" y="719"/>
                      </a:cubicBezTo>
                      <a:cubicBezTo>
                        <a:pt x="1439" y="703"/>
                        <a:pt x="1423" y="695"/>
                        <a:pt x="1415" y="679"/>
                      </a:cubicBezTo>
                      <a:cubicBezTo>
                        <a:pt x="1408" y="656"/>
                        <a:pt x="1400" y="656"/>
                        <a:pt x="1392" y="656"/>
                      </a:cubicBezTo>
                      <a:cubicBezTo>
                        <a:pt x="1384" y="656"/>
                        <a:pt x="1376" y="664"/>
                        <a:pt x="1376" y="671"/>
                      </a:cubicBezTo>
                      <a:cubicBezTo>
                        <a:pt x="1368" y="679"/>
                        <a:pt x="1352" y="703"/>
                        <a:pt x="1320" y="703"/>
                      </a:cubicBezTo>
                      <a:cubicBezTo>
                        <a:pt x="1313" y="703"/>
                        <a:pt x="1305" y="703"/>
                        <a:pt x="1297" y="695"/>
                      </a:cubicBezTo>
                      <a:cubicBezTo>
                        <a:pt x="1297" y="687"/>
                        <a:pt x="1297" y="679"/>
                        <a:pt x="1297" y="664"/>
                      </a:cubicBezTo>
                      <a:lnTo>
                        <a:pt x="1297" y="656"/>
                      </a:lnTo>
                      <a:cubicBezTo>
                        <a:pt x="1297" y="640"/>
                        <a:pt x="1297" y="632"/>
                        <a:pt x="1297" y="624"/>
                      </a:cubicBezTo>
                      <a:cubicBezTo>
                        <a:pt x="1305" y="624"/>
                        <a:pt x="1305" y="616"/>
                        <a:pt x="1297" y="608"/>
                      </a:cubicBezTo>
                      <a:cubicBezTo>
                        <a:pt x="1297" y="593"/>
                        <a:pt x="1297" y="593"/>
                        <a:pt x="1281" y="593"/>
                      </a:cubicBezTo>
                      <a:cubicBezTo>
                        <a:pt x="1273" y="593"/>
                        <a:pt x="1273" y="593"/>
                        <a:pt x="1265" y="593"/>
                      </a:cubicBezTo>
                      <a:cubicBezTo>
                        <a:pt x="1257" y="593"/>
                        <a:pt x="1249" y="584"/>
                        <a:pt x="1249" y="584"/>
                      </a:cubicBezTo>
                      <a:cubicBezTo>
                        <a:pt x="1242" y="577"/>
                        <a:pt x="1249" y="569"/>
                        <a:pt x="1249" y="561"/>
                      </a:cubicBezTo>
                      <a:cubicBezTo>
                        <a:pt x="1249" y="561"/>
                        <a:pt x="1249" y="553"/>
                        <a:pt x="1257" y="545"/>
                      </a:cubicBezTo>
                      <a:cubicBezTo>
                        <a:pt x="1257" y="529"/>
                        <a:pt x="1273" y="529"/>
                        <a:pt x="1281" y="529"/>
                      </a:cubicBezTo>
                      <a:cubicBezTo>
                        <a:pt x="1289" y="529"/>
                        <a:pt x="1289" y="521"/>
                        <a:pt x="1297" y="521"/>
                      </a:cubicBezTo>
                      <a:cubicBezTo>
                        <a:pt x="1305" y="521"/>
                        <a:pt x="1305" y="513"/>
                        <a:pt x="1305" y="513"/>
                      </a:cubicBezTo>
                      <a:lnTo>
                        <a:pt x="1297" y="506"/>
                      </a:lnTo>
                      <a:cubicBezTo>
                        <a:pt x="1289" y="506"/>
                        <a:pt x="1289" y="498"/>
                        <a:pt x="1281" y="490"/>
                      </a:cubicBezTo>
                      <a:lnTo>
                        <a:pt x="1273" y="490"/>
                      </a:lnTo>
                      <a:lnTo>
                        <a:pt x="1265" y="490"/>
                      </a:lnTo>
                      <a:cubicBezTo>
                        <a:pt x="1257" y="490"/>
                        <a:pt x="1249" y="498"/>
                        <a:pt x="1242" y="498"/>
                      </a:cubicBezTo>
                      <a:cubicBezTo>
                        <a:pt x="1242" y="498"/>
                        <a:pt x="1242" y="498"/>
                        <a:pt x="1233" y="498"/>
                      </a:cubicBezTo>
                      <a:cubicBezTo>
                        <a:pt x="1226" y="490"/>
                        <a:pt x="1218" y="490"/>
                        <a:pt x="1218" y="482"/>
                      </a:cubicBezTo>
                      <a:cubicBezTo>
                        <a:pt x="1218" y="482"/>
                        <a:pt x="1218" y="474"/>
                        <a:pt x="1218" y="466"/>
                      </a:cubicBezTo>
                      <a:cubicBezTo>
                        <a:pt x="1218" y="466"/>
                        <a:pt x="1218" y="458"/>
                        <a:pt x="1226" y="458"/>
                      </a:cubicBezTo>
                      <a:cubicBezTo>
                        <a:pt x="1226" y="442"/>
                        <a:pt x="1233" y="442"/>
                        <a:pt x="1242" y="442"/>
                      </a:cubicBezTo>
                      <a:cubicBezTo>
                        <a:pt x="1242" y="442"/>
                        <a:pt x="1249" y="434"/>
                        <a:pt x="1257" y="434"/>
                      </a:cubicBezTo>
                      <a:cubicBezTo>
                        <a:pt x="1257" y="426"/>
                        <a:pt x="1257" y="426"/>
                        <a:pt x="1257" y="426"/>
                      </a:cubicBezTo>
                      <a:cubicBezTo>
                        <a:pt x="1257" y="419"/>
                        <a:pt x="1257" y="419"/>
                        <a:pt x="1249" y="411"/>
                      </a:cubicBezTo>
                      <a:lnTo>
                        <a:pt x="1242" y="403"/>
                      </a:lnTo>
                      <a:cubicBezTo>
                        <a:pt x="1242" y="403"/>
                        <a:pt x="1233" y="403"/>
                        <a:pt x="1233" y="411"/>
                      </a:cubicBezTo>
                      <a:cubicBezTo>
                        <a:pt x="1218" y="419"/>
                        <a:pt x="1210" y="426"/>
                        <a:pt x="1186" y="426"/>
                      </a:cubicBezTo>
                      <a:cubicBezTo>
                        <a:pt x="1186" y="426"/>
                        <a:pt x="1178" y="426"/>
                        <a:pt x="1170" y="419"/>
                      </a:cubicBezTo>
                      <a:cubicBezTo>
                        <a:pt x="1170" y="411"/>
                        <a:pt x="1178" y="403"/>
                        <a:pt x="1186" y="395"/>
                      </a:cubicBezTo>
                      <a:cubicBezTo>
                        <a:pt x="1194" y="387"/>
                        <a:pt x="1202" y="379"/>
                        <a:pt x="1202" y="371"/>
                      </a:cubicBezTo>
                      <a:cubicBezTo>
                        <a:pt x="1210" y="363"/>
                        <a:pt x="1218" y="355"/>
                        <a:pt x="1226" y="355"/>
                      </a:cubicBezTo>
                      <a:cubicBezTo>
                        <a:pt x="1233" y="347"/>
                        <a:pt x="1242" y="347"/>
                        <a:pt x="1242" y="340"/>
                      </a:cubicBezTo>
                      <a:cubicBezTo>
                        <a:pt x="1242" y="331"/>
                        <a:pt x="1242" y="324"/>
                        <a:pt x="1242" y="324"/>
                      </a:cubicBezTo>
                      <a:cubicBezTo>
                        <a:pt x="1242" y="324"/>
                        <a:pt x="1233" y="324"/>
                        <a:pt x="1226" y="324"/>
                      </a:cubicBezTo>
                      <a:cubicBezTo>
                        <a:pt x="1218" y="324"/>
                        <a:pt x="1218" y="324"/>
                        <a:pt x="1218" y="324"/>
                      </a:cubicBezTo>
                      <a:cubicBezTo>
                        <a:pt x="1202" y="324"/>
                        <a:pt x="1202" y="300"/>
                        <a:pt x="1194" y="276"/>
                      </a:cubicBezTo>
                      <a:cubicBezTo>
                        <a:pt x="1194" y="260"/>
                        <a:pt x="1194" y="245"/>
                        <a:pt x="1186" y="229"/>
                      </a:cubicBezTo>
                      <a:lnTo>
                        <a:pt x="1186" y="221"/>
                      </a:lnTo>
                      <a:cubicBezTo>
                        <a:pt x="1194" y="205"/>
                        <a:pt x="1233" y="189"/>
                        <a:pt x="1265" y="181"/>
                      </a:cubicBezTo>
                      <a:cubicBezTo>
                        <a:pt x="1273" y="181"/>
                        <a:pt x="1281" y="181"/>
                        <a:pt x="1281" y="181"/>
                      </a:cubicBezTo>
                      <a:cubicBezTo>
                        <a:pt x="1289" y="181"/>
                        <a:pt x="1289" y="181"/>
                        <a:pt x="1289" y="181"/>
                      </a:cubicBezTo>
                      <a:cubicBezTo>
                        <a:pt x="1289" y="173"/>
                        <a:pt x="1281" y="173"/>
                        <a:pt x="1273" y="173"/>
                      </a:cubicBezTo>
                      <a:cubicBezTo>
                        <a:pt x="1273" y="173"/>
                        <a:pt x="1273" y="173"/>
                        <a:pt x="1265" y="173"/>
                      </a:cubicBezTo>
                      <a:cubicBezTo>
                        <a:pt x="1265" y="166"/>
                        <a:pt x="1265" y="150"/>
                        <a:pt x="1265" y="142"/>
                      </a:cubicBezTo>
                      <a:cubicBezTo>
                        <a:pt x="1265" y="134"/>
                        <a:pt x="1265" y="126"/>
                        <a:pt x="1265" y="126"/>
                      </a:cubicBezTo>
                      <a:cubicBezTo>
                        <a:pt x="1265" y="118"/>
                        <a:pt x="1265" y="118"/>
                        <a:pt x="1265" y="118"/>
                      </a:cubicBezTo>
                      <a:cubicBezTo>
                        <a:pt x="1265" y="118"/>
                        <a:pt x="1265" y="118"/>
                        <a:pt x="1257" y="118"/>
                      </a:cubicBezTo>
                      <a:cubicBezTo>
                        <a:pt x="1257" y="126"/>
                        <a:pt x="1257" y="126"/>
                        <a:pt x="1257" y="134"/>
                      </a:cubicBezTo>
                      <a:cubicBezTo>
                        <a:pt x="1257" y="150"/>
                        <a:pt x="1242" y="158"/>
                        <a:pt x="1218" y="173"/>
                      </a:cubicBezTo>
                      <a:cubicBezTo>
                        <a:pt x="1202" y="181"/>
                        <a:pt x="1194" y="189"/>
                        <a:pt x="1186" y="189"/>
                      </a:cubicBezTo>
                      <a:lnTo>
                        <a:pt x="1186" y="189"/>
                      </a:lnTo>
                      <a:cubicBezTo>
                        <a:pt x="1178" y="197"/>
                        <a:pt x="1155" y="221"/>
                        <a:pt x="1139" y="245"/>
                      </a:cubicBezTo>
                      <a:cubicBezTo>
                        <a:pt x="1139" y="253"/>
                        <a:pt x="1131" y="260"/>
                        <a:pt x="1123" y="260"/>
                      </a:cubicBezTo>
                      <a:cubicBezTo>
                        <a:pt x="1123" y="260"/>
                        <a:pt x="1115" y="260"/>
                        <a:pt x="1107" y="253"/>
                      </a:cubicBezTo>
                      <a:lnTo>
                        <a:pt x="1107" y="253"/>
                      </a:lnTo>
                      <a:cubicBezTo>
                        <a:pt x="1107" y="260"/>
                        <a:pt x="1123" y="292"/>
                        <a:pt x="1139" y="300"/>
                      </a:cubicBezTo>
                      <a:cubicBezTo>
                        <a:pt x="1155" y="308"/>
                        <a:pt x="1155" y="324"/>
                        <a:pt x="1155" y="347"/>
                      </a:cubicBezTo>
                      <a:cubicBezTo>
                        <a:pt x="1155" y="355"/>
                        <a:pt x="1155" y="363"/>
                        <a:pt x="1155" y="371"/>
                      </a:cubicBezTo>
                      <a:cubicBezTo>
                        <a:pt x="1162" y="395"/>
                        <a:pt x="1162" y="419"/>
                        <a:pt x="1162" y="442"/>
                      </a:cubicBezTo>
                      <a:cubicBezTo>
                        <a:pt x="1162" y="458"/>
                        <a:pt x="1162" y="474"/>
                        <a:pt x="1162" y="490"/>
                      </a:cubicBezTo>
                      <a:cubicBezTo>
                        <a:pt x="1162" y="521"/>
                        <a:pt x="1178" y="545"/>
                        <a:pt x="1186" y="561"/>
                      </a:cubicBezTo>
                      <a:cubicBezTo>
                        <a:pt x="1194" y="577"/>
                        <a:pt x="1194" y="584"/>
                        <a:pt x="1202" y="593"/>
                      </a:cubicBezTo>
                      <a:cubicBezTo>
                        <a:pt x="1202" y="608"/>
                        <a:pt x="1210" y="616"/>
                        <a:pt x="1218" y="624"/>
                      </a:cubicBezTo>
                      <a:cubicBezTo>
                        <a:pt x="1226" y="624"/>
                        <a:pt x="1233" y="632"/>
                        <a:pt x="1242" y="648"/>
                      </a:cubicBezTo>
                      <a:cubicBezTo>
                        <a:pt x="1249" y="671"/>
                        <a:pt x="1249" y="679"/>
                        <a:pt x="1249" y="695"/>
                      </a:cubicBezTo>
                      <a:cubicBezTo>
                        <a:pt x="1249" y="703"/>
                        <a:pt x="1249" y="719"/>
                        <a:pt x="1249" y="727"/>
                      </a:cubicBezTo>
                      <a:cubicBezTo>
                        <a:pt x="1257" y="751"/>
                        <a:pt x="1257" y="766"/>
                        <a:pt x="1257" y="774"/>
                      </a:cubicBezTo>
                      <a:cubicBezTo>
                        <a:pt x="1249" y="782"/>
                        <a:pt x="1249" y="782"/>
                        <a:pt x="1249" y="790"/>
                      </a:cubicBezTo>
                      <a:lnTo>
                        <a:pt x="1249" y="790"/>
                      </a:lnTo>
                      <a:lnTo>
                        <a:pt x="1249" y="790"/>
                      </a:lnTo>
                      <a:cubicBezTo>
                        <a:pt x="1242" y="790"/>
                        <a:pt x="1226" y="790"/>
                        <a:pt x="1218" y="790"/>
                      </a:cubicBezTo>
                      <a:cubicBezTo>
                        <a:pt x="1202" y="790"/>
                        <a:pt x="1186" y="798"/>
                        <a:pt x="1178" y="798"/>
                      </a:cubicBezTo>
                      <a:cubicBezTo>
                        <a:pt x="1170" y="798"/>
                        <a:pt x="1162" y="798"/>
                        <a:pt x="1162" y="798"/>
                      </a:cubicBezTo>
                      <a:cubicBezTo>
                        <a:pt x="1123" y="790"/>
                        <a:pt x="1083" y="774"/>
                        <a:pt x="1052" y="759"/>
                      </a:cubicBezTo>
                      <a:cubicBezTo>
                        <a:pt x="1044" y="759"/>
                        <a:pt x="1044" y="751"/>
                        <a:pt x="1044" y="751"/>
                      </a:cubicBezTo>
                      <a:cubicBezTo>
                        <a:pt x="1036" y="743"/>
                        <a:pt x="1044" y="743"/>
                        <a:pt x="1044" y="735"/>
                      </a:cubicBezTo>
                      <a:cubicBezTo>
                        <a:pt x="1044" y="735"/>
                        <a:pt x="1052" y="727"/>
                        <a:pt x="1044" y="727"/>
                      </a:cubicBezTo>
                      <a:cubicBezTo>
                        <a:pt x="1044" y="719"/>
                        <a:pt x="1028" y="719"/>
                        <a:pt x="1020" y="719"/>
                      </a:cubicBezTo>
                      <a:cubicBezTo>
                        <a:pt x="1012" y="719"/>
                        <a:pt x="996" y="719"/>
                        <a:pt x="989" y="727"/>
                      </a:cubicBezTo>
                      <a:cubicBezTo>
                        <a:pt x="980" y="735"/>
                        <a:pt x="957" y="743"/>
                        <a:pt x="941" y="743"/>
                      </a:cubicBezTo>
                      <a:cubicBezTo>
                        <a:pt x="925" y="743"/>
                        <a:pt x="917" y="735"/>
                        <a:pt x="909" y="727"/>
                      </a:cubicBezTo>
                      <a:cubicBezTo>
                        <a:pt x="894" y="703"/>
                        <a:pt x="925" y="632"/>
                        <a:pt x="941" y="608"/>
                      </a:cubicBezTo>
                      <a:cubicBezTo>
                        <a:pt x="965" y="577"/>
                        <a:pt x="957" y="553"/>
                        <a:pt x="957" y="521"/>
                      </a:cubicBezTo>
                      <a:cubicBezTo>
                        <a:pt x="957" y="521"/>
                        <a:pt x="957" y="513"/>
                        <a:pt x="957" y="506"/>
                      </a:cubicBezTo>
                      <a:cubicBezTo>
                        <a:pt x="949" y="482"/>
                        <a:pt x="909" y="458"/>
                        <a:pt x="878" y="442"/>
                      </a:cubicBezTo>
                      <a:cubicBezTo>
                        <a:pt x="870" y="442"/>
                        <a:pt x="862" y="434"/>
                        <a:pt x="854" y="426"/>
                      </a:cubicBezTo>
                      <a:cubicBezTo>
                        <a:pt x="846" y="419"/>
                        <a:pt x="830" y="419"/>
                        <a:pt x="822" y="419"/>
                      </a:cubicBezTo>
                      <a:cubicBezTo>
                        <a:pt x="815" y="419"/>
                        <a:pt x="807" y="419"/>
                        <a:pt x="807" y="419"/>
                      </a:cubicBezTo>
                      <a:cubicBezTo>
                        <a:pt x="799" y="419"/>
                        <a:pt x="791" y="419"/>
                        <a:pt x="791" y="419"/>
                      </a:cubicBezTo>
                      <a:cubicBezTo>
                        <a:pt x="783" y="419"/>
                        <a:pt x="775" y="419"/>
                        <a:pt x="767" y="419"/>
                      </a:cubicBezTo>
                      <a:cubicBezTo>
                        <a:pt x="759" y="411"/>
                        <a:pt x="759" y="387"/>
                        <a:pt x="751" y="355"/>
                      </a:cubicBezTo>
                      <a:cubicBezTo>
                        <a:pt x="751" y="347"/>
                        <a:pt x="751" y="340"/>
                        <a:pt x="751" y="331"/>
                      </a:cubicBezTo>
                      <a:cubicBezTo>
                        <a:pt x="751" y="331"/>
                        <a:pt x="743" y="324"/>
                        <a:pt x="712" y="324"/>
                      </a:cubicBezTo>
                      <a:cubicBezTo>
                        <a:pt x="696" y="324"/>
                        <a:pt x="672" y="331"/>
                        <a:pt x="672" y="331"/>
                      </a:cubicBezTo>
                      <a:cubicBezTo>
                        <a:pt x="664" y="331"/>
                        <a:pt x="664" y="331"/>
                        <a:pt x="664" y="331"/>
                      </a:cubicBezTo>
                      <a:cubicBezTo>
                        <a:pt x="664" y="324"/>
                        <a:pt x="664" y="324"/>
                        <a:pt x="664" y="324"/>
                      </a:cubicBezTo>
                      <a:cubicBezTo>
                        <a:pt x="664" y="324"/>
                        <a:pt x="633" y="268"/>
                        <a:pt x="625" y="253"/>
                      </a:cubicBezTo>
                      <a:cubicBezTo>
                        <a:pt x="617" y="229"/>
                        <a:pt x="601" y="213"/>
                        <a:pt x="569" y="213"/>
                      </a:cubicBezTo>
                      <a:cubicBezTo>
                        <a:pt x="546" y="213"/>
                        <a:pt x="522" y="213"/>
                        <a:pt x="498" y="205"/>
                      </a:cubicBezTo>
                      <a:cubicBezTo>
                        <a:pt x="498" y="205"/>
                        <a:pt x="498" y="197"/>
                        <a:pt x="490" y="197"/>
                      </a:cubicBezTo>
                      <a:cubicBezTo>
                        <a:pt x="475" y="197"/>
                        <a:pt x="459" y="213"/>
                        <a:pt x="451" y="221"/>
                      </a:cubicBezTo>
                      <a:cubicBezTo>
                        <a:pt x="443" y="229"/>
                        <a:pt x="427" y="237"/>
                        <a:pt x="411" y="237"/>
                      </a:cubicBezTo>
                      <a:cubicBezTo>
                        <a:pt x="403" y="245"/>
                        <a:pt x="403" y="245"/>
                        <a:pt x="396" y="245"/>
                      </a:cubicBezTo>
                      <a:cubicBezTo>
                        <a:pt x="388" y="253"/>
                        <a:pt x="380" y="260"/>
                        <a:pt x="372" y="268"/>
                      </a:cubicBezTo>
                      <a:cubicBezTo>
                        <a:pt x="364" y="284"/>
                        <a:pt x="356" y="300"/>
                        <a:pt x="325" y="292"/>
                      </a:cubicBezTo>
                      <a:cubicBezTo>
                        <a:pt x="293" y="292"/>
                        <a:pt x="285" y="276"/>
                        <a:pt x="277" y="268"/>
                      </a:cubicBezTo>
                      <a:cubicBezTo>
                        <a:pt x="277" y="260"/>
                        <a:pt x="277" y="260"/>
                        <a:pt x="277" y="260"/>
                      </a:cubicBezTo>
                      <a:cubicBezTo>
                        <a:pt x="269" y="260"/>
                        <a:pt x="253" y="300"/>
                        <a:pt x="245" y="324"/>
                      </a:cubicBezTo>
                      <a:cubicBezTo>
                        <a:pt x="238" y="331"/>
                        <a:pt x="238" y="340"/>
                        <a:pt x="238" y="340"/>
                      </a:cubicBezTo>
                      <a:lnTo>
                        <a:pt x="238" y="340"/>
                      </a:lnTo>
                      <a:cubicBezTo>
                        <a:pt x="230" y="355"/>
                        <a:pt x="230" y="363"/>
                        <a:pt x="222" y="363"/>
                      </a:cubicBezTo>
                      <a:cubicBezTo>
                        <a:pt x="214" y="363"/>
                        <a:pt x="214" y="355"/>
                        <a:pt x="214" y="355"/>
                      </a:cubicBezTo>
                      <a:cubicBezTo>
                        <a:pt x="214" y="347"/>
                        <a:pt x="214" y="347"/>
                        <a:pt x="206" y="347"/>
                      </a:cubicBezTo>
                      <a:cubicBezTo>
                        <a:pt x="190" y="347"/>
                        <a:pt x="174" y="355"/>
                        <a:pt x="174" y="355"/>
                      </a:cubicBezTo>
                      <a:cubicBezTo>
                        <a:pt x="48" y="498"/>
                        <a:pt x="48" y="498"/>
                        <a:pt x="48" y="498"/>
                      </a:cubicBezTo>
                      <a:cubicBezTo>
                        <a:pt x="0" y="253"/>
                        <a:pt x="0" y="253"/>
                        <a:pt x="0" y="253"/>
                      </a:cubicBezTo>
                      <a:cubicBezTo>
                        <a:pt x="1320" y="0"/>
                        <a:pt x="1320" y="0"/>
                        <a:pt x="1320" y="0"/>
                      </a:cubicBezTo>
                      <a:cubicBezTo>
                        <a:pt x="1320" y="7"/>
                        <a:pt x="1320" y="7"/>
                        <a:pt x="1320" y="7"/>
                      </a:cubicBezTo>
                      <a:cubicBezTo>
                        <a:pt x="1320" y="15"/>
                        <a:pt x="1320" y="47"/>
                        <a:pt x="1344" y="94"/>
                      </a:cubicBezTo>
                      <a:cubicBezTo>
                        <a:pt x="1376" y="158"/>
                        <a:pt x="1415" y="284"/>
                        <a:pt x="1415" y="324"/>
                      </a:cubicBezTo>
                      <a:cubicBezTo>
                        <a:pt x="1415" y="371"/>
                        <a:pt x="1455" y="537"/>
                        <a:pt x="1455" y="553"/>
                      </a:cubicBezTo>
                      <a:cubicBezTo>
                        <a:pt x="1463" y="561"/>
                        <a:pt x="1486" y="561"/>
                        <a:pt x="1518" y="561"/>
                      </a:cubicBezTo>
                      <a:cubicBezTo>
                        <a:pt x="1542" y="569"/>
                        <a:pt x="1558" y="569"/>
                        <a:pt x="1581" y="569"/>
                      </a:cubicBezTo>
                      <a:cubicBezTo>
                        <a:pt x="1597" y="577"/>
                        <a:pt x="1613" y="577"/>
                        <a:pt x="1629" y="577"/>
                      </a:cubicBezTo>
                      <a:cubicBezTo>
                        <a:pt x="1660" y="584"/>
                        <a:pt x="1700" y="584"/>
                        <a:pt x="1732" y="600"/>
                      </a:cubicBezTo>
                      <a:lnTo>
                        <a:pt x="1732" y="600"/>
                      </a:lnTo>
                      <a:lnTo>
                        <a:pt x="1732" y="600"/>
                      </a:lnTo>
                      <a:cubicBezTo>
                        <a:pt x="1732" y="616"/>
                        <a:pt x="1724" y="632"/>
                        <a:pt x="1700" y="656"/>
                      </a:cubicBezTo>
                      <a:cubicBezTo>
                        <a:pt x="1692" y="671"/>
                        <a:pt x="1684" y="679"/>
                        <a:pt x="1684" y="687"/>
                      </a:cubicBezTo>
                      <a:cubicBezTo>
                        <a:pt x="1676" y="695"/>
                        <a:pt x="1676" y="695"/>
                        <a:pt x="1660" y="703"/>
                      </a:cubicBezTo>
                      <a:cubicBezTo>
                        <a:pt x="1645" y="719"/>
                        <a:pt x="1653" y="727"/>
                        <a:pt x="1660" y="743"/>
                      </a:cubicBezTo>
                      <a:cubicBezTo>
                        <a:pt x="1660" y="751"/>
                        <a:pt x="1668" y="751"/>
                        <a:pt x="1668" y="759"/>
                      </a:cubicBezTo>
                      <a:cubicBezTo>
                        <a:pt x="1676" y="766"/>
                        <a:pt x="1676" y="766"/>
                        <a:pt x="1684" y="766"/>
                      </a:cubicBezTo>
                      <a:cubicBezTo>
                        <a:pt x="1684" y="766"/>
                        <a:pt x="1684" y="766"/>
                        <a:pt x="1692" y="766"/>
                      </a:cubicBezTo>
                      <a:lnTo>
                        <a:pt x="1692" y="766"/>
                      </a:lnTo>
                      <a:cubicBezTo>
                        <a:pt x="1692" y="766"/>
                        <a:pt x="1700" y="766"/>
                        <a:pt x="1708" y="774"/>
                      </a:cubicBezTo>
                      <a:cubicBezTo>
                        <a:pt x="1708" y="790"/>
                        <a:pt x="1692" y="798"/>
                        <a:pt x="1653" y="814"/>
                      </a:cubicBezTo>
                      <a:cubicBezTo>
                        <a:pt x="1637" y="822"/>
                        <a:pt x="1629" y="830"/>
                        <a:pt x="1629" y="846"/>
                      </a:cubicBezTo>
                      <a:cubicBezTo>
                        <a:pt x="1629" y="853"/>
                        <a:pt x="1629" y="869"/>
                        <a:pt x="1621" y="877"/>
                      </a:cubicBezTo>
                      <a:cubicBezTo>
                        <a:pt x="1605" y="909"/>
                        <a:pt x="1605" y="948"/>
                        <a:pt x="1613" y="988"/>
                      </a:cubicBezTo>
                      <a:cubicBezTo>
                        <a:pt x="1613" y="996"/>
                        <a:pt x="1613" y="1004"/>
                        <a:pt x="1613" y="1011"/>
                      </a:cubicBezTo>
                      <a:cubicBezTo>
                        <a:pt x="1605" y="1011"/>
                        <a:pt x="1605" y="1011"/>
                        <a:pt x="1597" y="1011"/>
                      </a:cubicBezTo>
                      <a:cubicBezTo>
                        <a:pt x="1597" y="1011"/>
                        <a:pt x="1589" y="1011"/>
                        <a:pt x="1581" y="1011"/>
                      </a:cubicBezTo>
                      <a:lnTo>
                        <a:pt x="1573" y="1011"/>
                      </a:lnTo>
                      <a:lnTo>
                        <a:pt x="1573" y="1011"/>
                      </a:lnTo>
                      <a:cubicBezTo>
                        <a:pt x="1573" y="1035"/>
                        <a:pt x="1566" y="1035"/>
                        <a:pt x="1558" y="1051"/>
                      </a:cubicBezTo>
                      <a:cubicBezTo>
                        <a:pt x="1558" y="1051"/>
                        <a:pt x="1550" y="1051"/>
                        <a:pt x="1550" y="1059"/>
                      </a:cubicBezTo>
                      <a:cubicBezTo>
                        <a:pt x="1542" y="1067"/>
                        <a:pt x="1542" y="1090"/>
                        <a:pt x="1542" y="1114"/>
                      </a:cubicBezTo>
                      <a:cubicBezTo>
                        <a:pt x="1542" y="1130"/>
                        <a:pt x="1542" y="1146"/>
                        <a:pt x="1542" y="1162"/>
                      </a:cubicBezTo>
                      <a:cubicBezTo>
                        <a:pt x="1542" y="1193"/>
                        <a:pt x="1542" y="1209"/>
                        <a:pt x="1526" y="1209"/>
                      </a:cubicBezTo>
                      <a:close/>
                      <a:moveTo>
                        <a:pt x="1510" y="814"/>
                      </a:moveTo>
                      <a:lnTo>
                        <a:pt x="1510" y="814"/>
                      </a:lnTo>
                      <a:cubicBezTo>
                        <a:pt x="1526" y="814"/>
                        <a:pt x="1534" y="822"/>
                        <a:pt x="1534" y="853"/>
                      </a:cubicBezTo>
                      <a:cubicBezTo>
                        <a:pt x="1534" y="869"/>
                        <a:pt x="1526" y="893"/>
                        <a:pt x="1518" y="917"/>
                      </a:cubicBezTo>
                      <a:cubicBezTo>
                        <a:pt x="1510" y="940"/>
                        <a:pt x="1502" y="964"/>
                        <a:pt x="1502" y="980"/>
                      </a:cubicBezTo>
                      <a:cubicBezTo>
                        <a:pt x="1502" y="996"/>
                        <a:pt x="1495" y="1004"/>
                        <a:pt x="1495" y="1011"/>
                      </a:cubicBezTo>
                      <a:cubicBezTo>
                        <a:pt x="1495" y="1035"/>
                        <a:pt x="1486" y="1059"/>
                        <a:pt x="1495" y="1090"/>
                      </a:cubicBezTo>
                      <a:cubicBezTo>
                        <a:pt x="1495" y="1106"/>
                        <a:pt x="1495" y="1122"/>
                        <a:pt x="1495" y="1130"/>
                      </a:cubicBezTo>
                      <a:cubicBezTo>
                        <a:pt x="1495" y="1154"/>
                        <a:pt x="1486" y="1170"/>
                        <a:pt x="1502" y="1177"/>
                      </a:cubicBezTo>
                      <a:cubicBezTo>
                        <a:pt x="1510" y="1185"/>
                        <a:pt x="1526" y="1201"/>
                        <a:pt x="1526" y="1201"/>
                      </a:cubicBezTo>
                      <a:cubicBezTo>
                        <a:pt x="1534" y="1201"/>
                        <a:pt x="1534" y="1193"/>
                        <a:pt x="1534" y="1162"/>
                      </a:cubicBezTo>
                      <a:cubicBezTo>
                        <a:pt x="1534" y="1146"/>
                        <a:pt x="1534" y="1130"/>
                        <a:pt x="1534" y="1114"/>
                      </a:cubicBezTo>
                      <a:cubicBezTo>
                        <a:pt x="1534" y="1083"/>
                        <a:pt x="1534" y="1067"/>
                        <a:pt x="1542" y="1051"/>
                      </a:cubicBezTo>
                      <a:cubicBezTo>
                        <a:pt x="1550" y="1051"/>
                        <a:pt x="1550" y="1043"/>
                        <a:pt x="1550" y="1043"/>
                      </a:cubicBezTo>
                      <a:cubicBezTo>
                        <a:pt x="1558" y="1035"/>
                        <a:pt x="1566" y="1035"/>
                        <a:pt x="1566" y="1011"/>
                      </a:cubicBezTo>
                      <a:cubicBezTo>
                        <a:pt x="1566" y="1004"/>
                        <a:pt x="1566" y="1004"/>
                        <a:pt x="1573" y="1004"/>
                      </a:cubicBezTo>
                      <a:cubicBezTo>
                        <a:pt x="1581" y="1004"/>
                        <a:pt x="1581" y="1004"/>
                        <a:pt x="1589" y="1004"/>
                      </a:cubicBezTo>
                      <a:lnTo>
                        <a:pt x="1597" y="1004"/>
                      </a:lnTo>
                      <a:cubicBezTo>
                        <a:pt x="1605" y="1004"/>
                        <a:pt x="1605" y="1004"/>
                        <a:pt x="1605" y="1004"/>
                      </a:cubicBezTo>
                      <a:cubicBezTo>
                        <a:pt x="1605" y="1004"/>
                        <a:pt x="1605" y="1004"/>
                        <a:pt x="1605" y="988"/>
                      </a:cubicBezTo>
                      <a:cubicBezTo>
                        <a:pt x="1597" y="948"/>
                        <a:pt x="1597" y="901"/>
                        <a:pt x="1613" y="877"/>
                      </a:cubicBezTo>
                      <a:cubicBezTo>
                        <a:pt x="1621" y="861"/>
                        <a:pt x="1621" y="853"/>
                        <a:pt x="1621" y="846"/>
                      </a:cubicBezTo>
                      <a:cubicBezTo>
                        <a:pt x="1621" y="830"/>
                        <a:pt x="1629" y="814"/>
                        <a:pt x="1653" y="806"/>
                      </a:cubicBezTo>
                      <a:cubicBezTo>
                        <a:pt x="1692" y="790"/>
                        <a:pt x="1700" y="782"/>
                        <a:pt x="1700" y="774"/>
                      </a:cubicBezTo>
                      <a:lnTo>
                        <a:pt x="1692" y="774"/>
                      </a:lnTo>
                      <a:lnTo>
                        <a:pt x="1692" y="774"/>
                      </a:lnTo>
                      <a:cubicBezTo>
                        <a:pt x="1684" y="774"/>
                        <a:pt x="1668" y="774"/>
                        <a:pt x="1660" y="759"/>
                      </a:cubicBezTo>
                      <a:cubicBezTo>
                        <a:pt x="1660" y="759"/>
                        <a:pt x="1660" y="751"/>
                        <a:pt x="1653" y="751"/>
                      </a:cubicBezTo>
                      <a:cubicBezTo>
                        <a:pt x="1645" y="735"/>
                        <a:pt x="1637" y="719"/>
                        <a:pt x="1653" y="703"/>
                      </a:cubicBezTo>
                      <a:cubicBezTo>
                        <a:pt x="1668" y="695"/>
                        <a:pt x="1668" y="687"/>
                        <a:pt x="1676" y="679"/>
                      </a:cubicBezTo>
                      <a:cubicBezTo>
                        <a:pt x="1676" y="679"/>
                        <a:pt x="1684" y="671"/>
                        <a:pt x="1700" y="656"/>
                      </a:cubicBezTo>
                      <a:cubicBezTo>
                        <a:pt x="1716" y="632"/>
                        <a:pt x="1724" y="616"/>
                        <a:pt x="1724" y="600"/>
                      </a:cubicBezTo>
                      <a:cubicBezTo>
                        <a:pt x="1700" y="593"/>
                        <a:pt x="1660" y="593"/>
                        <a:pt x="1629" y="584"/>
                      </a:cubicBezTo>
                      <a:cubicBezTo>
                        <a:pt x="1613" y="584"/>
                        <a:pt x="1597" y="584"/>
                        <a:pt x="1581" y="577"/>
                      </a:cubicBezTo>
                      <a:cubicBezTo>
                        <a:pt x="1558" y="577"/>
                        <a:pt x="1534" y="577"/>
                        <a:pt x="1518" y="569"/>
                      </a:cubicBezTo>
                      <a:cubicBezTo>
                        <a:pt x="1479" y="569"/>
                        <a:pt x="1455" y="561"/>
                        <a:pt x="1455" y="553"/>
                      </a:cubicBezTo>
                      <a:cubicBezTo>
                        <a:pt x="1447" y="537"/>
                        <a:pt x="1415" y="371"/>
                        <a:pt x="1408" y="324"/>
                      </a:cubicBezTo>
                      <a:cubicBezTo>
                        <a:pt x="1408" y="284"/>
                        <a:pt x="1368" y="158"/>
                        <a:pt x="1336" y="102"/>
                      </a:cubicBezTo>
                      <a:cubicBezTo>
                        <a:pt x="1320" y="55"/>
                        <a:pt x="1313" y="23"/>
                        <a:pt x="1313" y="7"/>
                      </a:cubicBezTo>
                      <a:cubicBezTo>
                        <a:pt x="8" y="260"/>
                        <a:pt x="8" y="260"/>
                        <a:pt x="8" y="260"/>
                      </a:cubicBezTo>
                      <a:cubicBezTo>
                        <a:pt x="48" y="482"/>
                        <a:pt x="48" y="482"/>
                        <a:pt x="48" y="482"/>
                      </a:cubicBezTo>
                      <a:cubicBezTo>
                        <a:pt x="166" y="347"/>
                        <a:pt x="166" y="347"/>
                        <a:pt x="166" y="347"/>
                      </a:cubicBezTo>
                      <a:lnTo>
                        <a:pt x="166" y="347"/>
                      </a:lnTo>
                      <a:cubicBezTo>
                        <a:pt x="166" y="347"/>
                        <a:pt x="190" y="340"/>
                        <a:pt x="206" y="340"/>
                      </a:cubicBezTo>
                      <a:cubicBezTo>
                        <a:pt x="214" y="340"/>
                        <a:pt x="214" y="347"/>
                        <a:pt x="222" y="347"/>
                      </a:cubicBezTo>
                      <a:cubicBezTo>
                        <a:pt x="222" y="355"/>
                        <a:pt x="222" y="355"/>
                        <a:pt x="222" y="355"/>
                      </a:cubicBezTo>
                      <a:lnTo>
                        <a:pt x="230" y="340"/>
                      </a:lnTo>
                      <a:lnTo>
                        <a:pt x="230" y="340"/>
                      </a:lnTo>
                      <a:cubicBezTo>
                        <a:pt x="230" y="331"/>
                        <a:pt x="238" y="324"/>
                        <a:pt x="238" y="316"/>
                      </a:cubicBezTo>
                      <a:cubicBezTo>
                        <a:pt x="253" y="268"/>
                        <a:pt x="261" y="253"/>
                        <a:pt x="277" y="253"/>
                      </a:cubicBezTo>
                      <a:lnTo>
                        <a:pt x="277" y="253"/>
                      </a:lnTo>
                      <a:cubicBezTo>
                        <a:pt x="285" y="253"/>
                        <a:pt x="285" y="260"/>
                        <a:pt x="285" y="260"/>
                      </a:cubicBezTo>
                      <a:cubicBezTo>
                        <a:pt x="293" y="276"/>
                        <a:pt x="301" y="284"/>
                        <a:pt x="325" y="284"/>
                      </a:cubicBezTo>
                      <a:cubicBezTo>
                        <a:pt x="348" y="292"/>
                        <a:pt x="356" y="276"/>
                        <a:pt x="372" y="260"/>
                      </a:cubicBezTo>
                      <a:cubicBezTo>
                        <a:pt x="372" y="253"/>
                        <a:pt x="380" y="245"/>
                        <a:pt x="388" y="245"/>
                      </a:cubicBezTo>
                      <a:cubicBezTo>
                        <a:pt x="396" y="237"/>
                        <a:pt x="403" y="237"/>
                        <a:pt x="411" y="237"/>
                      </a:cubicBezTo>
                      <a:cubicBezTo>
                        <a:pt x="427" y="229"/>
                        <a:pt x="435" y="221"/>
                        <a:pt x="443" y="213"/>
                      </a:cubicBezTo>
                      <a:cubicBezTo>
                        <a:pt x="451" y="205"/>
                        <a:pt x="475" y="197"/>
                        <a:pt x="490" y="197"/>
                      </a:cubicBezTo>
                      <a:cubicBezTo>
                        <a:pt x="498" y="197"/>
                        <a:pt x="498" y="197"/>
                        <a:pt x="506" y="197"/>
                      </a:cubicBezTo>
                      <a:cubicBezTo>
                        <a:pt x="522" y="205"/>
                        <a:pt x="546" y="205"/>
                        <a:pt x="569" y="205"/>
                      </a:cubicBezTo>
                      <a:cubicBezTo>
                        <a:pt x="601" y="205"/>
                        <a:pt x="625" y="229"/>
                        <a:pt x="633" y="245"/>
                      </a:cubicBezTo>
                      <a:cubicBezTo>
                        <a:pt x="633" y="268"/>
                        <a:pt x="664" y="308"/>
                        <a:pt x="672" y="324"/>
                      </a:cubicBezTo>
                      <a:cubicBezTo>
                        <a:pt x="680" y="316"/>
                        <a:pt x="696" y="316"/>
                        <a:pt x="712" y="316"/>
                      </a:cubicBezTo>
                      <a:cubicBezTo>
                        <a:pt x="743" y="316"/>
                        <a:pt x="759" y="324"/>
                        <a:pt x="759" y="331"/>
                      </a:cubicBezTo>
                      <a:cubicBezTo>
                        <a:pt x="759" y="340"/>
                        <a:pt x="759" y="347"/>
                        <a:pt x="759" y="355"/>
                      </a:cubicBezTo>
                      <a:cubicBezTo>
                        <a:pt x="767" y="379"/>
                        <a:pt x="767" y="403"/>
                        <a:pt x="775" y="411"/>
                      </a:cubicBezTo>
                      <a:cubicBezTo>
                        <a:pt x="775" y="411"/>
                        <a:pt x="783" y="419"/>
                        <a:pt x="791" y="419"/>
                      </a:cubicBezTo>
                      <a:cubicBezTo>
                        <a:pt x="791" y="419"/>
                        <a:pt x="799" y="411"/>
                        <a:pt x="807" y="411"/>
                      </a:cubicBezTo>
                      <a:cubicBezTo>
                        <a:pt x="807" y="411"/>
                        <a:pt x="815" y="411"/>
                        <a:pt x="822" y="411"/>
                      </a:cubicBezTo>
                      <a:cubicBezTo>
                        <a:pt x="830" y="411"/>
                        <a:pt x="846" y="419"/>
                        <a:pt x="862" y="426"/>
                      </a:cubicBezTo>
                      <a:cubicBezTo>
                        <a:pt x="862" y="426"/>
                        <a:pt x="870" y="434"/>
                        <a:pt x="886" y="434"/>
                      </a:cubicBezTo>
                      <a:cubicBezTo>
                        <a:pt x="917" y="458"/>
                        <a:pt x="957" y="482"/>
                        <a:pt x="965" y="506"/>
                      </a:cubicBezTo>
                      <a:cubicBezTo>
                        <a:pt x="965" y="513"/>
                        <a:pt x="965" y="513"/>
                        <a:pt x="965" y="521"/>
                      </a:cubicBezTo>
                      <a:cubicBezTo>
                        <a:pt x="965" y="553"/>
                        <a:pt x="965" y="577"/>
                        <a:pt x="949" y="608"/>
                      </a:cubicBezTo>
                      <a:cubicBezTo>
                        <a:pt x="917" y="664"/>
                        <a:pt x="902" y="711"/>
                        <a:pt x="917" y="727"/>
                      </a:cubicBezTo>
                      <a:cubicBezTo>
                        <a:pt x="917" y="735"/>
                        <a:pt x="933" y="735"/>
                        <a:pt x="941" y="735"/>
                      </a:cubicBezTo>
                      <a:cubicBezTo>
                        <a:pt x="957" y="735"/>
                        <a:pt x="973" y="735"/>
                        <a:pt x="980" y="719"/>
                      </a:cubicBezTo>
                      <a:cubicBezTo>
                        <a:pt x="989" y="711"/>
                        <a:pt x="1004" y="711"/>
                        <a:pt x="1020" y="711"/>
                      </a:cubicBezTo>
                      <a:cubicBezTo>
                        <a:pt x="1028" y="711"/>
                        <a:pt x="1044" y="711"/>
                        <a:pt x="1052" y="727"/>
                      </a:cubicBezTo>
                      <a:cubicBezTo>
                        <a:pt x="1060" y="735"/>
                        <a:pt x="1052" y="735"/>
                        <a:pt x="1052" y="743"/>
                      </a:cubicBezTo>
                      <a:cubicBezTo>
                        <a:pt x="1052" y="743"/>
                        <a:pt x="1044" y="743"/>
                        <a:pt x="1044" y="751"/>
                      </a:cubicBezTo>
                      <a:cubicBezTo>
                        <a:pt x="1044" y="751"/>
                        <a:pt x="1052" y="751"/>
                        <a:pt x="1060" y="751"/>
                      </a:cubicBezTo>
                      <a:cubicBezTo>
                        <a:pt x="1083" y="766"/>
                        <a:pt x="1131" y="782"/>
                        <a:pt x="1162" y="790"/>
                      </a:cubicBezTo>
                      <a:cubicBezTo>
                        <a:pt x="1162" y="790"/>
                        <a:pt x="1170" y="790"/>
                        <a:pt x="1178" y="790"/>
                      </a:cubicBezTo>
                      <a:cubicBezTo>
                        <a:pt x="1186" y="790"/>
                        <a:pt x="1202" y="790"/>
                        <a:pt x="1210" y="782"/>
                      </a:cubicBezTo>
                      <a:cubicBezTo>
                        <a:pt x="1226" y="782"/>
                        <a:pt x="1242" y="782"/>
                        <a:pt x="1242" y="782"/>
                      </a:cubicBezTo>
                      <a:cubicBezTo>
                        <a:pt x="1249" y="782"/>
                        <a:pt x="1249" y="774"/>
                        <a:pt x="1249" y="774"/>
                      </a:cubicBezTo>
                      <a:cubicBezTo>
                        <a:pt x="1249" y="759"/>
                        <a:pt x="1249" y="751"/>
                        <a:pt x="1249" y="735"/>
                      </a:cubicBezTo>
                      <a:cubicBezTo>
                        <a:pt x="1242" y="719"/>
                        <a:pt x="1242" y="703"/>
                        <a:pt x="1242" y="695"/>
                      </a:cubicBezTo>
                      <a:cubicBezTo>
                        <a:pt x="1242" y="679"/>
                        <a:pt x="1242" y="671"/>
                        <a:pt x="1233" y="656"/>
                      </a:cubicBezTo>
                      <a:cubicBezTo>
                        <a:pt x="1226" y="640"/>
                        <a:pt x="1218" y="632"/>
                        <a:pt x="1210" y="624"/>
                      </a:cubicBezTo>
                      <a:cubicBezTo>
                        <a:pt x="1202" y="616"/>
                        <a:pt x="1194" y="616"/>
                        <a:pt x="1194" y="600"/>
                      </a:cubicBezTo>
                      <a:cubicBezTo>
                        <a:pt x="1186" y="584"/>
                        <a:pt x="1186" y="577"/>
                        <a:pt x="1178" y="569"/>
                      </a:cubicBezTo>
                      <a:cubicBezTo>
                        <a:pt x="1170" y="545"/>
                        <a:pt x="1155" y="521"/>
                        <a:pt x="1155" y="498"/>
                      </a:cubicBezTo>
                      <a:cubicBezTo>
                        <a:pt x="1155" y="474"/>
                        <a:pt x="1155" y="458"/>
                        <a:pt x="1155" y="442"/>
                      </a:cubicBezTo>
                      <a:cubicBezTo>
                        <a:pt x="1155" y="419"/>
                        <a:pt x="1155" y="395"/>
                        <a:pt x="1147" y="371"/>
                      </a:cubicBezTo>
                      <a:cubicBezTo>
                        <a:pt x="1147" y="363"/>
                        <a:pt x="1147" y="355"/>
                        <a:pt x="1147" y="347"/>
                      </a:cubicBezTo>
                      <a:cubicBezTo>
                        <a:pt x="1147" y="324"/>
                        <a:pt x="1147" y="316"/>
                        <a:pt x="1139" y="308"/>
                      </a:cubicBezTo>
                      <a:cubicBezTo>
                        <a:pt x="1115" y="300"/>
                        <a:pt x="1091" y="260"/>
                        <a:pt x="1099" y="245"/>
                      </a:cubicBezTo>
                      <a:lnTo>
                        <a:pt x="1099" y="245"/>
                      </a:lnTo>
                      <a:lnTo>
                        <a:pt x="1107" y="245"/>
                      </a:lnTo>
                      <a:lnTo>
                        <a:pt x="1115" y="245"/>
                      </a:lnTo>
                      <a:cubicBezTo>
                        <a:pt x="1115" y="253"/>
                        <a:pt x="1123" y="253"/>
                        <a:pt x="1123" y="253"/>
                      </a:cubicBezTo>
                      <a:cubicBezTo>
                        <a:pt x="1123" y="253"/>
                        <a:pt x="1131" y="253"/>
                        <a:pt x="1139" y="245"/>
                      </a:cubicBezTo>
                      <a:cubicBezTo>
                        <a:pt x="1147" y="221"/>
                        <a:pt x="1170" y="189"/>
                        <a:pt x="1178" y="189"/>
                      </a:cubicBezTo>
                      <a:cubicBezTo>
                        <a:pt x="1186" y="181"/>
                        <a:pt x="1186" y="181"/>
                        <a:pt x="1186" y="181"/>
                      </a:cubicBezTo>
                      <a:cubicBezTo>
                        <a:pt x="1194" y="181"/>
                        <a:pt x="1202" y="181"/>
                        <a:pt x="1218" y="166"/>
                      </a:cubicBezTo>
                      <a:cubicBezTo>
                        <a:pt x="1233" y="158"/>
                        <a:pt x="1249" y="142"/>
                        <a:pt x="1249" y="134"/>
                      </a:cubicBezTo>
                      <a:cubicBezTo>
                        <a:pt x="1249" y="126"/>
                        <a:pt x="1249" y="118"/>
                        <a:pt x="1257" y="118"/>
                      </a:cubicBezTo>
                      <a:cubicBezTo>
                        <a:pt x="1257" y="110"/>
                        <a:pt x="1257" y="110"/>
                        <a:pt x="1265" y="110"/>
                      </a:cubicBezTo>
                      <a:cubicBezTo>
                        <a:pt x="1265" y="110"/>
                        <a:pt x="1273" y="110"/>
                        <a:pt x="1273" y="126"/>
                      </a:cubicBezTo>
                      <a:cubicBezTo>
                        <a:pt x="1273" y="134"/>
                        <a:pt x="1273" y="134"/>
                        <a:pt x="1273" y="142"/>
                      </a:cubicBezTo>
                      <a:cubicBezTo>
                        <a:pt x="1273" y="150"/>
                        <a:pt x="1273" y="166"/>
                        <a:pt x="1273" y="166"/>
                      </a:cubicBezTo>
                      <a:lnTo>
                        <a:pt x="1273" y="166"/>
                      </a:lnTo>
                      <a:cubicBezTo>
                        <a:pt x="1281" y="166"/>
                        <a:pt x="1297" y="173"/>
                        <a:pt x="1297" y="173"/>
                      </a:cubicBezTo>
                      <a:cubicBezTo>
                        <a:pt x="1297" y="181"/>
                        <a:pt x="1289" y="189"/>
                        <a:pt x="1281" y="189"/>
                      </a:cubicBezTo>
                      <a:lnTo>
                        <a:pt x="1273" y="189"/>
                      </a:lnTo>
                      <a:cubicBezTo>
                        <a:pt x="1249" y="197"/>
                        <a:pt x="1202" y="205"/>
                        <a:pt x="1194" y="221"/>
                      </a:cubicBezTo>
                      <a:lnTo>
                        <a:pt x="1194" y="229"/>
                      </a:lnTo>
                      <a:cubicBezTo>
                        <a:pt x="1202" y="245"/>
                        <a:pt x="1202" y="260"/>
                        <a:pt x="1202" y="276"/>
                      </a:cubicBezTo>
                      <a:cubicBezTo>
                        <a:pt x="1210" y="300"/>
                        <a:pt x="1210" y="316"/>
                        <a:pt x="1218" y="316"/>
                      </a:cubicBezTo>
                      <a:lnTo>
                        <a:pt x="1218" y="316"/>
                      </a:lnTo>
                      <a:cubicBezTo>
                        <a:pt x="1226" y="316"/>
                        <a:pt x="1233" y="316"/>
                        <a:pt x="1233" y="316"/>
                      </a:cubicBezTo>
                      <a:cubicBezTo>
                        <a:pt x="1242" y="316"/>
                        <a:pt x="1242" y="316"/>
                        <a:pt x="1249" y="324"/>
                      </a:cubicBezTo>
                      <a:cubicBezTo>
                        <a:pt x="1249" y="324"/>
                        <a:pt x="1249" y="331"/>
                        <a:pt x="1249" y="340"/>
                      </a:cubicBezTo>
                      <a:cubicBezTo>
                        <a:pt x="1249" y="355"/>
                        <a:pt x="1242" y="355"/>
                        <a:pt x="1226" y="363"/>
                      </a:cubicBezTo>
                      <a:cubicBezTo>
                        <a:pt x="1226" y="363"/>
                        <a:pt x="1218" y="371"/>
                        <a:pt x="1210" y="379"/>
                      </a:cubicBezTo>
                      <a:cubicBezTo>
                        <a:pt x="1210" y="387"/>
                        <a:pt x="1202" y="387"/>
                        <a:pt x="1194" y="395"/>
                      </a:cubicBezTo>
                      <a:cubicBezTo>
                        <a:pt x="1186" y="403"/>
                        <a:pt x="1178" y="411"/>
                        <a:pt x="1178" y="419"/>
                      </a:cubicBezTo>
                      <a:lnTo>
                        <a:pt x="1186" y="419"/>
                      </a:lnTo>
                      <a:cubicBezTo>
                        <a:pt x="1202" y="419"/>
                        <a:pt x="1218" y="411"/>
                        <a:pt x="1226" y="403"/>
                      </a:cubicBezTo>
                      <a:cubicBezTo>
                        <a:pt x="1233" y="395"/>
                        <a:pt x="1233" y="395"/>
                        <a:pt x="1242" y="395"/>
                      </a:cubicBezTo>
                      <a:lnTo>
                        <a:pt x="1249" y="395"/>
                      </a:lnTo>
                      <a:cubicBezTo>
                        <a:pt x="1249" y="403"/>
                        <a:pt x="1257" y="403"/>
                        <a:pt x="1257" y="403"/>
                      </a:cubicBezTo>
                      <a:cubicBezTo>
                        <a:pt x="1265" y="411"/>
                        <a:pt x="1265" y="419"/>
                        <a:pt x="1265" y="426"/>
                      </a:cubicBezTo>
                      <a:lnTo>
                        <a:pt x="1265" y="434"/>
                      </a:lnTo>
                      <a:cubicBezTo>
                        <a:pt x="1257" y="442"/>
                        <a:pt x="1249" y="442"/>
                        <a:pt x="1242" y="450"/>
                      </a:cubicBezTo>
                      <a:cubicBezTo>
                        <a:pt x="1233" y="450"/>
                        <a:pt x="1226" y="450"/>
                        <a:pt x="1226" y="458"/>
                      </a:cubicBezTo>
                      <a:lnTo>
                        <a:pt x="1226" y="466"/>
                      </a:lnTo>
                      <a:cubicBezTo>
                        <a:pt x="1226" y="474"/>
                        <a:pt x="1226" y="482"/>
                        <a:pt x="1226" y="482"/>
                      </a:cubicBezTo>
                      <a:lnTo>
                        <a:pt x="1233" y="490"/>
                      </a:lnTo>
                      <a:cubicBezTo>
                        <a:pt x="1242" y="490"/>
                        <a:pt x="1242" y="490"/>
                        <a:pt x="1242" y="490"/>
                      </a:cubicBezTo>
                      <a:cubicBezTo>
                        <a:pt x="1249" y="490"/>
                        <a:pt x="1257" y="490"/>
                        <a:pt x="1257" y="482"/>
                      </a:cubicBezTo>
                      <a:cubicBezTo>
                        <a:pt x="1265" y="482"/>
                        <a:pt x="1265" y="482"/>
                        <a:pt x="1273" y="482"/>
                      </a:cubicBezTo>
                      <a:cubicBezTo>
                        <a:pt x="1281" y="482"/>
                        <a:pt x="1281" y="482"/>
                        <a:pt x="1289" y="490"/>
                      </a:cubicBezTo>
                      <a:lnTo>
                        <a:pt x="1297" y="498"/>
                      </a:lnTo>
                      <a:cubicBezTo>
                        <a:pt x="1305" y="506"/>
                        <a:pt x="1313" y="506"/>
                        <a:pt x="1313" y="513"/>
                      </a:cubicBezTo>
                      <a:cubicBezTo>
                        <a:pt x="1313" y="521"/>
                        <a:pt x="1305" y="521"/>
                        <a:pt x="1305" y="529"/>
                      </a:cubicBezTo>
                      <a:cubicBezTo>
                        <a:pt x="1297" y="529"/>
                        <a:pt x="1289" y="529"/>
                        <a:pt x="1281" y="537"/>
                      </a:cubicBezTo>
                      <a:cubicBezTo>
                        <a:pt x="1273" y="537"/>
                        <a:pt x="1265" y="537"/>
                        <a:pt x="1265" y="545"/>
                      </a:cubicBezTo>
                      <a:cubicBezTo>
                        <a:pt x="1257" y="553"/>
                        <a:pt x="1257" y="561"/>
                        <a:pt x="1257" y="569"/>
                      </a:cubicBezTo>
                      <a:cubicBezTo>
                        <a:pt x="1257" y="569"/>
                        <a:pt x="1249" y="577"/>
                        <a:pt x="1257" y="577"/>
                      </a:cubicBezTo>
                      <a:cubicBezTo>
                        <a:pt x="1257" y="584"/>
                        <a:pt x="1257" y="584"/>
                        <a:pt x="1265" y="584"/>
                      </a:cubicBezTo>
                      <a:cubicBezTo>
                        <a:pt x="1273" y="584"/>
                        <a:pt x="1281" y="584"/>
                        <a:pt x="1281" y="584"/>
                      </a:cubicBezTo>
                      <a:cubicBezTo>
                        <a:pt x="1297" y="584"/>
                        <a:pt x="1305" y="584"/>
                        <a:pt x="1305" y="608"/>
                      </a:cubicBezTo>
                      <a:cubicBezTo>
                        <a:pt x="1313" y="616"/>
                        <a:pt x="1305" y="624"/>
                        <a:pt x="1305" y="632"/>
                      </a:cubicBezTo>
                      <a:cubicBezTo>
                        <a:pt x="1305" y="632"/>
                        <a:pt x="1305" y="640"/>
                        <a:pt x="1305" y="656"/>
                      </a:cubicBezTo>
                      <a:lnTo>
                        <a:pt x="1305" y="664"/>
                      </a:lnTo>
                      <a:cubicBezTo>
                        <a:pt x="1305" y="679"/>
                        <a:pt x="1305" y="687"/>
                        <a:pt x="1305" y="687"/>
                      </a:cubicBezTo>
                      <a:cubicBezTo>
                        <a:pt x="1305" y="695"/>
                        <a:pt x="1313" y="695"/>
                        <a:pt x="1320" y="695"/>
                      </a:cubicBezTo>
                      <a:cubicBezTo>
                        <a:pt x="1352" y="703"/>
                        <a:pt x="1368" y="671"/>
                        <a:pt x="1368" y="664"/>
                      </a:cubicBezTo>
                      <a:cubicBezTo>
                        <a:pt x="1376" y="656"/>
                        <a:pt x="1384" y="648"/>
                        <a:pt x="1392" y="648"/>
                      </a:cubicBezTo>
                      <a:cubicBezTo>
                        <a:pt x="1400" y="648"/>
                        <a:pt x="1415" y="656"/>
                        <a:pt x="1423" y="679"/>
                      </a:cubicBezTo>
                      <a:cubicBezTo>
                        <a:pt x="1431" y="695"/>
                        <a:pt x="1439" y="703"/>
                        <a:pt x="1447" y="711"/>
                      </a:cubicBezTo>
                      <a:cubicBezTo>
                        <a:pt x="1463" y="735"/>
                        <a:pt x="1471" y="743"/>
                        <a:pt x="1463" y="766"/>
                      </a:cubicBezTo>
                      <a:cubicBezTo>
                        <a:pt x="1463" y="774"/>
                        <a:pt x="1455" y="782"/>
                        <a:pt x="1455" y="790"/>
                      </a:cubicBezTo>
                      <a:lnTo>
                        <a:pt x="1455" y="790"/>
                      </a:lnTo>
                      <a:lnTo>
                        <a:pt x="1455" y="798"/>
                      </a:lnTo>
                      <a:cubicBezTo>
                        <a:pt x="1463" y="798"/>
                        <a:pt x="1463" y="798"/>
                        <a:pt x="1471" y="798"/>
                      </a:cubicBezTo>
                      <a:cubicBezTo>
                        <a:pt x="1479" y="806"/>
                        <a:pt x="1486" y="814"/>
                        <a:pt x="1502" y="814"/>
                      </a:cubicBezTo>
                      <a:cubicBezTo>
                        <a:pt x="1502" y="814"/>
                        <a:pt x="1502" y="814"/>
                        <a:pt x="1510" y="814"/>
                      </a:cubicBezTo>
                      <a:close/>
                    </a:path>
                  </a:pathLst>
                </a:custGeom>
                <a:solidFill>
                  <a:srgbClr val="666666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4" name="Freeform 777">
                  <a:extLst>
                    <a:ext uri="{FF2B5EF4-FFF2-40B4-BE49-F238E27FC236}">
                      <a16:creationId xmlns:a16="http://schemas.microsoft.com/office/drawing/2014/main" id="{03D069A4-A345-AC42-B459-B7416AEBD6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62084" y="5502712"/>
                  <a:ext cx="881336" cy="897571"/>
                </a:xfrm>
                <a:custGeom>
                  <a:avLst/>
                  <a:gdLst>
                    <a:gd name="T0" fmla="*/ 538 w 1677"/>
                    <a:gd name="T1" fmla="*/ 15 h 1707"/>
                    <a:gd name="T2" fmla="*/ 561 w 1677"/>
                    <a:gd name="T3" fmla="*/ 166 h 1707"/>
                    <a:gd name="T4" fmla="*/ 546 w 1677"/>
                    <a:gd name="T5" fmla="*/ 324 h 1707"/>
                    <a:gd name="T6" fmla="*/ 498 w 1677"/>
                    <a:gd name="T7" fmla="*/ 521 h 1707"/>
                    <a:gd name="T8" fmla="*/ 356 w 1677"/>
                    <a:gd name="T9" fmla="*/ 632 h 1707"/>
                    <a:gd name="T10" fmla="*/ 277 w 1677"/>
                    <a:gd name="T11" fmla="*/ 695 h 1707"/>
                    <a:gd name="T12" fmla="*/ 222 w 1677"/>
                    <a:gd name="T13" fmla="*/ 877 h 1707"/>
                    <a:gd name="T14" fmla="*/ 119 w 1677"/>
                    <a:gd name="T15" fmla="*/ 917 h 1707"/>
                    <a:gd name="T16" fmla="*/ 119 w 1677"/>
                    <a:gd name="T17" fmla="*/ 1075 h 1707"/>
                    <a:gd name="T18" fmla="*/ 56 w 1677"/>
                    <a:gd name="T19" fmla="*/ 1154 h 1707"/>
                    <a:gd name="T20" fmla="*/ 32 w 1677"/>
                    <a:gd name="T21" fmla="*/ 1304 h 1707"/>
                    <a:gd name="T22" fmla="*/ 182 w 1677"/>
                    <a:gd name="T23" fmla="*/ 1501 h 1707"/>
                    <a:gd name="T24" fmla="*/ 348 w 1677"/>
                    <a:gd name="T25" fmla="*/ 1619 h 1707"/>
                    <a:gd name="T26" fmla="*/ 530 w 1677"/>
                    <a:gd name="T27" fmla="*/ 1611 h 1707"/>
                    <a:gd name="T28" fmla="*/ 696 w 1677"/>
                    <a:gd name="T29" fmla="*/ 1532 h 1707"/>
                    <a:gd name="T30" fmla="*/ 854 w 1677"/>
                    <a:gd name="T31" fmla="*/ 1478 h 1707"/>
                    <a:gd name="T32" fmla="*/ 925 w 1677"/>
                    <a:gd name="T33" fmla="*/ 1367 h 1707"/>
                    <a:gd name="T34" fmla="*/ 941 w 1677"/>
                    <a:gd name="T35" fmla="*/ 1217 h 1707"/>
                    <a:gd name="T36" fmla="*/ 1012 w 1677"/>
                    <a:gd name="T37" fmla="*/ 1051 h 1707"/>
                    <a:gd name="T38" fmla="*/ 1115 w 1677"/>
                    <a:gd name="T39" fmla="*/ 901 h 1707"/>
                    <a:gd name="T40" fmla="*/ 1194 w 1677"/>
                    <a:gd name="T41" fmla="*/ 893 h 1707"/>
                    <a:gd name="T42" fmla="*/ 1257 w 1677"/>
                    <a:gd name="T43" fmla="*/ 822 h 1707"/>
                    <a:gd name="T44" fmla="*/ 1336 w 1677"/>
                    <a:gd name="T45" fmla="*/ 751 h 1707"/>
                    <a:gd name="T46" fmla="*/ 1423 w 1677"/>
                    <a:gd name="T47" fmla="*/ 624 h 1707"/>
                    <a:gd name="T48" fmla="*/ 1471 w 1677"/>
                    <a:gd name="T49" fmla="*/ 411 h 1707"/>
                    <a:gd name="T50" fmla="*/ 1676 w 1677"/>
                    <a:gd name="T51" fmla="*/ 419 h 1707"/>
                    <a:gd name="T52" fmla="*/ 1629 w 1677"/>
                    <a:gd name="T53" fmla="*/ 348 h 1707"/>
                    <a:gd name="T54" fmla="*/ 1510 w 1677"/>
                    <a:gd name="T55" fmla="*/ 292 h 1707"/>
                    <a:gd name="T56" fmla="*/ 1392 w 1677"/>
                    <a:gd name="T57" fmla="*/ 340 h 1707"/>
                    <a:gd name="T58" fmla="*/ 1281 w 1677"/>
                    <a:gd name="T59" fmla="*/ 348 h 1707"/>
                    <a:gd name="T60" fmla="*/ 1218 w 1677"/>
                    <a:gd name="T61" fmla="*/ 442 h 1707"/>
                    <a:gd name="T62" fmla="*/ 1052 w 1677"/>
                    <a:gd name="T63" fmla="*/ 585 h 1707"/>
                    <a:gd name="T64" fmla="*/ 641 w 1677"/>
                    <a:gd name="T65" fmla="*/ 419 h 1707"/>
                    <a:gd name="T66" fmla="*/ 538 w 1677"/>
                    <a:gd name="T67" fmla="*/ 15 h 17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77" h="1707">
                      <a:moveTo>
                        <a:pt x="538" y="15"/>
                      </a:moveTo>
                      <a:lnTo>
                        <a:pt x="538" y="15"/>
                      </a:lnTo>
                      <a:cubicBezTo>
                        <a:pt x="538" y="31"/>
                        <a:pt x="546" y="63"/>
                        <a:pt x="546" y="87"/>
                      </a:cubicBezTo>
                      <a:cubicBezTo>
                        <a:pt x="554" y="118"/>
                        <a:pt x="577" y="158"/>
                        <a:pt x="561" y="166"/>
                      </a:cubicBezTo>
                      <a:cubicBezTo>
                        <a:pt x="546" y="174"/>
                        <a:pt x="538" y="158"/>
                        <a:pt x="546" y="197"/>
                      </a:cubicBezTo>
                      <a:cubicBezTo>
                        <a:pt x="546" y="237"/>
                        <a:pt x="561" y="316"/>
                        <a:pt x="546" y="324"/>
                      </a:cubicBezTo>
                      <a:cubicBezTo>
                        <a:pt x="538" y="340"/>
                        <a:pt x="506" y="316"/>
                        <a:pt x="506" y="379"/>
                      </a:cubicBezTo>
                      <a:cubicBezTo>
                        <a:pt x="514" y="435"/>
                        <a:pt x="522" y="498"/>
                        <a:pt x="498" y="521"/>
                      </a:cubicBezTo>
                      <a:cubicBezTo>
                        <a:pt x="483" y="553"/>
                        <a:pt x="443" y="624"/>
                        <a:pt x="419" y="624"/>
                      </a:cubicBezTo>
                      <a:cubicBezTo>
                        <a:pt x="388" y="632"/>
                        <a:pt x="388" y="648"/>
                        <a:pt x="356" y="632"/>
                      </a:cubicBezTo>
                      <a:cubicBezTo>
                        <a:pt x="332" y="616"/>
                        <a:pt x="309" y="593"/>
                        <a:pt x="301" y="624"/>
                      </a:cubicBezTo>
                      <a:cubicBezTo>
                        <a:pt x="293" y="656"/>
                        <a:pt x="301" y="688"/>
                        <a:pt x="277" y="695"/>
                      </a:cubicBezTo>
                      <a:cubicBezTo>
                        <a:pt x="253" y="703"/>
                        <a:pt x="206" y="711"/>
                        <a:pt x="214" y="743"/>
                      </a:cubicBezTo>
                      <a:cubicBezTo>
                        <a:pt x="222" y="782"/>
                        <a:pt x="237" y="893"/>
                        <a:pt x="222" y="877"/>
                      </a:cubicBezTo>
                      <a:cubicBezTo>
                        <a:pt x="198" y="861"/>
                        <a:pt x="166" y="830"/>
                        <a:pt x="159" y="846"/>
                      </a:cubicBezTo>
                      <a:cubicBezTo>
                        <a:pt x="143" y="854"/>
                        <a:pt x="119" y="893"/>
                        <a:pt x="119" y="917"/>
                      </a:cubicBezTo>
                      <a:cubicBezTo>
                        <a:pt x="127" y="948"/>
                        <a:pt x="103" y="980"/>
                        <a:pt x="119" y="1004"/>
                      </a:cubicBezTo>
                      <a:cubicBezTo>
                        <a:pt x="127" y="1027"/>
                        <a:pt x="135" y="1067"/>
                        <a:pt x="119" y="1075"/>
                      </a:cubicBezTo>
                      <a:cubicBezTo>
                        <a:pt x="95" y="1083"/>
                        <a:pt x="79" y="1075"/>
                        <a:pt x="79" y="1106"/>
                      </a:cubicBezTo>
                      <a:cubicBezTo>
                        <a:pt x="79" y="1146"/>
                        <a:pt x="87" y="1154"/>
                        <a:pt x="56" y="1154"/>
                      </a:cubicBezTo>
                      <a:cubicBezTo>
                        <a:pt x="32" y="1162"/>
                        <a:pt x="0" y="1170"/>
                        <a:pt x="0" y="1178"/>
                      </a:cubicBezTo>
                      <a:cubicBezTo>
                        <a:pt x="0" y="1185"/>
                        <a:pt x="8" y="1280"/>
                        <a:pt x="32" y="1304"/>
                      </a:cubicBezTo>
                      <a:cubicBezTo>
                        <a:pt x="64" y="1328"/>
                        <a:pt x="79" y="1359"/>
                        <a:pt x="95" y="1391"/>
                      </a:cubicBezTo>
                      <a:cubicBezTo>
                        <a:pt x="119" y="1431"/>
                        <a:pt x="119" y="1470"/>
                        <a:pt x="182" y="1501"/>
                      </a:cubicBezTo>
                      <a:cubicBezTo>
                        <a:pt x="237" y="1532"/>
                        <a:pt x="261" y="1509"/>
                        <a:pt x="285" y="1548"/>
                      </a:cubicBezTo>
                      <a:cubicBezTo>
                        <a:pt x="309" y="1580"/>
                        <a:pt x="253" y="1595"/>
                        <a:pt x="348" y="1619"/>
                      </a:cubicBezTo>
                      <a:cubicBezTo>
                        <a:pt x="443" y="1635"/>
                        <a:pt x="435" y="1706"/>
                        <a:pt x="475" y="1659"/>
                      </a:cubicBezTo>
                      <a:cubicBezTo>
                        <a:pt x="506" y="1611"/>
                        <a:pt x="467" y="1588"/>
                        <a:pt x="530" y="1611"/>
                      </a:cubicBezTo>
                      <a:cubicBezTo>
                        <a:pt x="593" y="1627"/>
                        <a:pt x="656" y="1588"/>
                        <a:pt x="672" y="1580"/>
                      </a:cubicBezTo>
                      <a:cubicBezTo>
                        <a:pt x="680" y="1564"/>
                        <a:pt x="625" y="1548"/>
                        <a:pt x="696" y="1532"/>
                      </a:cubicBezTo>
                      <a:cubicBezTo>
                        <a:pt x="767" y="1524"/>
                        <a:pt x="814" y="1509"/>
                        <a:pt x="814" y="1493"/>
                      </a:cubicBezTo>
                      <a:cubicBezTo>
                        <a:pt x="807" y="1470"/>
                        <a:pt x="823" y="1493"/>
                        <a:pt x="854" y="1478"/>
                      </a:cubicBezTo>
                      <a:cubicBezTo>
                        <a:pt x="886" y="1462"/>
                        <a:pt x="894" y="1399"/>
                        <a:pt x="917" y="1399"/>
                      </a:cubicBezTo>
                      <a:cubicBezTo>
                        <a:pt x="933" y="1399"/>
                        <a:pt x="965" y="1383"/>
                        <a:pt x="925" y="1367"/>
                      </a:cubicBezTo>
                      <a:cubicBezTo>
                        <a:pt x="886" y="1352"/>
                        <a:pt x="854" y="1375"/>
                        <a:pt x="886" y="1328"/>
                      </a:cubicBezTo>
                      <a:cubicBezTo>
                        <a:pt x="917" y="1272"/>
                        <a:pt x="917" y="1257"/>
                        <a:pt x="941" y="1217"/>
                      </a:cubicBezTo>
                      <a:cubicBezTo>
                        <a:pt x="973" y="1178"/>
                        <a:pt x="973" y="1178"/>
                        <a:pt x="981" y="1138"/>
                      </a:cubicBezTo>
                      <a:cubicBezTo>
                        <a:pt x="989" y="1091"/>
                        <a:pt x="996" y="1114"/>
                        <a:pt x="1012" y="1051"/>
                      </a:cubicBezTo>
                      <a:cubicBezTo>
                        <a:pt x="1028" y="988"/>
                        <a:pt x="996" y="948"/>
                        <a:pt x="1036" y="925"/>
                      </a:cubicBezTo>
                      <a:cubicBezTo>
                        <a:pt x="1083" y="901"/>
                        <a:pt x="1091" y="877"/>
                        <a:pt x="1115" y="901"/>
                      </a:cubicBezTo>
                      <a:cubicBezTo>
                        <a:pt x="1139" y="925"/>
                        <a:pt x="1170" y="956"/>
                        <a:pt x="1186" y="941"/>
                      </a:cubicBezTo>
                      <a:cubicBezTo>
                        <a:pt x="1194" y="932"/>
                        <a:pt x="1194" y="917"/>
                        <a:pt x="1194" y="893"/>
                      </a:cubicBezTo>
                      <a:cubicBezTo>
                        <a:pt x="1186" y="877"/>
                        <a:pt x="1210" y="830"/>
                        <a:pt x="1234" y="846"/>
                      </a:cubicBezTo>
                      <a:cubicBezTo>
                        <a:pt x="1249" y="854"/>
                        <a:pt x="1257" y="854"/>
                        <a:pt x="1257" y="822"/>
                      </a:cubicBezTo>
                      <a:cubicBezTo>
                        <a:pt x="1257" y="790"/>
                        <a:pt x="1226" y="759"/>
                        <a:pt x="1257" y="759"/>
                      </a:cubicBezTo>
                      <a:cubicBezTo>
                        <a:pt x="1289" y="759"/>
                        <a:pt x="1329" y="774"/>
                        <a:pt x="1336" y="751"/>
                      </a:cubicBezTo>
                      <a:cubicBezTo>
                        <a:pt x="1344" y="719"/>
                        <a:pt x="1336" y="679"/>
                        <a:pt x="1368" y="672"/>
                      </a:cubicBezTo>
                      <a:cubicBezTo>
                        <a:pt x="1400" y="664"/>
                        <a:pt x="1407" y="688"/>
                        <a:pt x="1423" y="624"/>
                      </a:cubicBezTo>
                      <a:cubicBezTo>
                        <a:pt x="1431" y="569"/>
                        <a:pt x="1439" y="521"/>
                        <a:pt x="1431" y="482"/>
                      </a:cubicBezTo>
                      <a:cubicBezTo>
                        <a:pt x="1431" y="442"/>
                        <a:pt x="1447" y="395"/>
                        <a:pt x="1471" y="411"/>
                      </a:cubicBezTo>
                      <a:cubicBezTo>
                        <a:pt x="1494" y="419"/>
                        <a:pt x="1566" y="490"/>
                        <a:pt x="1605" y="498"/>
                      </a:cubicBezTo>
                      <a:cubicBezTo>
                        <a:pt x="1637" y="498"/>
                        <a:pt x="1660" y="466"/>
                        <a:pt x="1676" y="419"/>
                      </a:cubicBezTo>
                      <a:lnTo>
                        <a:pt x="1668" y="419"/>
                      </a:lnTo>
                      <a:cubicBezTo>
                        <a:pt x="1668" y="419"/>
                        <a:pt x="1637" y="363"/>
                        <a:pt x="1629" y="348"/>
                      </a:cubicBezTo>
                      <a:cubicBezTo>
                        <a:pt x="1629" y="324"/>
                        <a:pt x="1605" y="308"/>
                        <a:pt x="1573" y="308"/>
                      </a:cubicBezTo>
                      <a:cubicBezTo>
                        <a:pt x="1550" y="308"/>
                        <a:pt x="1526" y="308"/>
                        <a:pt x="1510" y="292"/>
                      </a:cubicBezTo>
                      <a:cubicBezTo>
                        <a:pt x="1487" y="284"/>
                        <a:pt x="1463" y="300"/>
                        <a:pt x="1455" y="316"/>
                      </a:cubicBezTo>
                      <a:cubicBezTo>
                        <a:pt x="1439" y="324"/>
                        <a:pt x="1415" y="332"/>
                        <a:pt x="1392" y="340"/>
                      </a:cubicBezTo>
                      <a:cubicBezTo>
                        <a:pt x="1376" y="348"/>
                        <a:pt x="1368" y="387"/>
                        <a:pt x="1329" y="387"/>
                      </a:cubicBezTo>
                      <a:cubicBezTo>
                        <a:pt x="1289" y="379"/>
                        <a:pt x="1289" y="363"/>
                        <a:pt x="1281" y="348"/>
                      </a:cubicBezTo>
                      <a:cubicBezTo>
                        <a:pt x="1265" y="332"/>
                        <a:pt x="1242" y="419"/>
                        <a:pt x="1242" y="435"/>
                      </a:cubicBezTo>
                      <a:cubicBezTo>
                        <a:pt x="1234" y="442"/>
                        <a:pt x="1226" y="466"/>
                        <a:pt x="1218" y="442"/>
                      </a:cubicBezTo>
                      <a:cubicBezTo>
                        <a:pt x="1218" y="426"/>
                        <a:pt x="1170" y="450"/>
                        <a:pt x="1170" y="450"/>
                      </a:cubicBezTo>
                      <a:cubicBezTo>
                        <a:pt x="1052" y="585"/>
                        <a:pt x="1052" y="585"/>
                        <a:pt x="1052" y="585"/>
                      </a:cubicBezTo>
                      <a:cubicBezTo>
                        <a:pt x="1012" y="348"/>
                        <a:pt x="1012" y="348"/>
                        <a:pt x="1012" y="348"/>
                      </a:cubicBezTo>
                      <a:cubicBezTo>
                        <a:pt x="641" y="419"/>
                        <a:pt x="641" y="419"/>
                        <a:pt x="641" y="419"/>
                      </a:cubicBezTo>
                      <a:cubicBezTo>
                        <a:pt x="561" y="8"/>
                        <a:pt x="561" y="8"/>
                        <a:pt x="561" y="8"/>
                      </a:cubicBezTo>
                      <a:cubicBezTo>
                        <a:pt x="546" y="0"/>
                        <a:pt x="530" y="8"/>
                        <a:pt x="538" y="15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5" name="Freeform 778">
                  <a:extLst>
                    <a:ext uri="{FF2B5EF4-FFF2-40B4-BE49-F238E27FC236}">
                      <a16:creationId xmlns:a16="http://schemas.microsoft.com/office/drawing/2014/main" id="{83394EA9-5BF7-F144-982F-A338DE72EE4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57445" y="5502712"/>
                  <a:ext cx="890613" cy="885975"/>
                </a:xfrm>
                <a:custGeom>
                  <a:avLst/>
                  <a:gdLst>
                    <a:gd name="T0" fmla="*/ 301 w 1693"/>
                    <a:gd name="T1" fmla="*/ 1595 h 1683"/>
                    <a:gd name="T2" fmla="*/ 111 w 1693"/>
                    <a:gd name="T3" fmla="*/ 1423 h 1683"/>
                    <a:gd name="T4" fmla="*/ 64 w 1693"/>
                    <a:gd name="T5" fmla="*/ 1154 h 1683"/>
                    <a:gd name="T6" fmla="*/ 127 w 1693"/>
                    <a:gd name="T7" fmla="*/ 1067 h 1683"/>
                    <a:gd name="T8" fmla="*/ 174 w 1693"/>
                    <a:gd name="T9" fmla="*/ 838 h 1683"/>
                    <a:gd name="T10" fmla="*/ 269 w 1693"/>
                    <a:gd name="T11" fmla="*/ 695 h 1683"/>
                    <a:gd name="T12" fmla="*/ 356 w 1693"/>
                    <a:gd name="T13" fmla="*/ 624 h 1683"/>
                    <a:gd name="T14" fmla="*/ 483 w 1693"/>
                    <a:gd name="T15" fmla="*/ 553 h 1683"/>
                    <a:gd name="T16" fmla="*/ 554 w 1693"/>
                    <a:gd name="T17" fmla="*/ 237 h 1683"/>
                    <a:gd name="T18" fmla="*/ 554 w 1693"/>
                    <a:gd name="T19" fmla="*/ 87 h 1683"/>
                    <a:gd name="T20" fmla="*/ 569 w 1693"/>
                    <a:gd name="T21" fmla="*/ 0 h 1683"/>
                    <a:gd name="T22" fmla="*/ 1178 w 1693"/>
                    <a:gd name="T23" fmla="*/ 442 h 1683"/>
                    <a:gd name="T24" fmla="*/ 1242 w 1693"/>
                    <a:gd name="T25" fmla="*/ 435 h 1683"/>
                    <a:gd name="T26" fmla="*/ 1297 w 1693"/>
                    <a:gd name="T27" fmla="*/ 355 h 1683"/>
                    <a:gd name="T28" fmla="*/ 1455 w 1693"/>
                    <a:gd name="T29" fmla="*/ 308 h 1683"/>
                    <a:gd name="T30" fmla="*/ 1684 w 1693"/>
                    <a:gd name="T31" fmla="*/ 419 h 1683"/>
                    <a:gd name="T32" fmla="*/ 1510 w 1693"/>
                    <a:gd name="T33" fmla="*/ 435 h 1683"/>
                    <a:gd name="T34" fmla="*/ 1392 w 1693"/>
                    <a:gd name="T35" fmla="*/ 672 h 1683"/>
                    <a:gd name="T36" fmla="*/ 1297 w 1693"/>
                    <a:gd name="T37" fmla="*/ 766 h 1683"/>
                    <a:gd name="T38" fmla="*/ 1257 w 1693"/>
                    <a:gd name="T39" fmla="*/ 854 h 1683"/>
                    <a:gd name="T40" fmla="*/ 1194 w 1693"/>
                    <a:gd name="T41" fmla="*/ 941 h 1683"/>
                    <a:gd name="T42" fmla="*/ 1052 w 1693"/>
                    <a:gd name="T43" fmla="*/ 925 h 1683"/>
                    <a:gd name="T44" fmla="*/ 965 w 1693"/>
                    <a:gd name="T45" fmla="*/ 1201 h 1683"/>
                    <a:gd name="T46" fmla="*/ 902 w 1693"/>
                    <a:gd name="T47" fmla="*/ 1359 h 1683"/>
                    <a:gd name="T48" fmla="*/ 862 w 1693"/>
                    <a:gd name="T49" fmla="*/ 1478 h 1683"/>
                    <a:gd name="T50" fmla="*/ 712 w 1693"/>
                    <a:gd name="T51" fmla="*/ 1540 h 1683"/>
                    <a:gd name="T52" fmla="*/ 569 w 1693"/>
                    <a:gd name="T53" fmla="*/ 1619 h 1683"/>
                    <a:gd name="T54" fmla="*/ 459 w 1693"/>
                    <a:gd name="T55" fmla="*/ 1682 h 1683"/>
                    <a:gd name="T56" fmla="*/ 127 w 1693"/>
                    <a:gd name="T57" fmla="*/ 956 h 1683"/>
                    <a:gd name="T58" fmla="*/ 95 w 1693"/>
                    <a:gd name="T59" fmla="*/ 1106 h 1683"/>
                    <a:gd name="T60" fmla="*/ 103 w 1693"/>
                    <a:gd name="T61" fmla="*/ 1383 h 1683"/>
                    <a:gd name="T62" fmla="*/ 301 w 1693"/>
                    <a:gd name="T63" fmla="*/ 1548 h 1683"/>
                    <a:gd name="T64" fmla="*/ 459 w 1693"/>
                    <a:gd name="T65" fmla="*/ 1675 h 1683"/>
                    <a:gd name="T66" fmla="*/ 569 w 1693"/>
                    <a:gd name="T67" fmla="*/ 1611 h 1683"/>
                    <a:gd name="T68" fmla="*/ 712 w 1693"/>
                    <a:gd name="T69" fmla="*/ 1532 h 1683"/>
                    <a:gd name="T70" fmla="*/ 862 w 1693"/>
                    <a:gd name="T71" fmla="*/ 1478 h 1683"/>
                    <a:gd name="T72" fmla="*/ 902 w 1693"/>
                    <a:gd name="T73" fmla="*/ 1367 h 1683"/>
                    <a:gd name="T74" fmla="*/ 965 w 1693"/>
                    <a:gd name="T75" fmla="*/ 1193 h 1683"/>
                    <a:gd name="T76" fmla="*/ 1044 w 1693"/>
                    <a:gd name="T77" fmla="*/ 917 h 1683"/>
                    <a:gd name="T78" fmla="*/ 1186 w 1693"/>
                    <a:gd name="T79" fmla="*/ 941 h 1683"/>
                    <a:gd name="T80" fmla="*/ 1242 w 1693"/>
                    <a:gd name="T81" fmla="*/ 838 h 1683"/>
                    <a:gd name="T82" fmla="*/ 1265 w 1693"/>
                    <a:gd name="T83" fmla="*/ 759 h 1683"/>
                    <a:gd name="T84" fmla="*/ 1376 w 1693"/>
                    <a:gd name="T85" fmla="*/ 672 h 1683"/>
                    <a:gd name="T86" fmla="*/ 1479 w 1693"/>
                    <a:gd name="T87" fmla="*/ 403 h 1683"/>
                    <a:gd name="T88" fmla="*/ 1676 w 1693"/>
                    <a:gd name="T89" fmla="*/ 426 h 1683"/>
                    <a:gd name="T90" fmla="*/ 1502 w 1693"/>
                    <a:gd name="T91" fmla="*/ 292 h 1683"/>
                    <a:gd name="T92" fmla="*/ 1337 w 1693"/>
                    <a:gd name="T93" fmla="*/ 387 h 1683"/>
                    <a:gd name="T94" fmla="*/ 1250 w 1693"/>
                    <a:gd name="T95" fmla="*/ 435 h 1683"/>
                    <a:gd name="T96" fmla="*/ 1060 w 1693"/>
                    <a:gd name="T97" fmla="*/ 593 h 1683"/>
                    <a:gd name="T98" fmla="*/ 546 w 1693"/>
                    <a:gd name="T99" fmla="*/ 15 h 1683"/>
                    <a:gd name="T100" fmla="*/ 569 w 1693"/>
                    <a:gd name="T101" fmla="*/ 166 h 1683"/>
                    <a:gd name="T102" fmla="*/ 538 w 1693"/>
                    <a:gd name="T103" fmla="*/ 340 h 1683"/>
                    <a:gd name="T104" fmla="*/ 404 w 1693"/>
                    <a:gd name="T105" fmla="*/ 640 h 1683"/>
                    <a:gd name="T106" fmla="*/ 317 w 1693"/>
                    <a:gd name="T107" fmla="*/ 624 h 1683"/>
                    <a:gd name="T108" fmla="*/ 238 w 1693"/>
                    <a:gd name="T109" fmla="*/ 877 h 16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693" h="1683">
                      <a:moveTo>
                        <a:pt x="459" y="1682"/>
                      </a:moveTo>
                      <a:lnTo>
                        <a:pt x="459" y="1682"/>
                      </a:lnTo>
                      <a:cubicBezTo>
                        <a:pt x="451" y="1682"/>
                        <a:pt x="443" y="1675"/>
                        <a:pt x="435" y="1667"/>
                      </a:cubicBezTo>
                      <a:cubicBezTo>
                        <a:pt x="427" y="1651"/>
                        <a:pt x="404" y="1627"/>
                        <a:pt x="356" y="1619"/>
                      </a:cubicBezTo>
                      <a:cubicBezTo>
                        <a:pt x="325" y="1611"/>
                        <a:pt x="309" y="1604"/>
                        <a:pt x="301" y="1595"/>
                      </a:cubicBezTo>
                      <a:cubicBezTo>
                        <a:pt x="293" y="1588"/>
                        <a:pt x="293" y="1580"/>
                        <a:pt x="293" y="1572"/>
                      </a:cubicBezTo>
                      <a:cubicBezTo>
                        <a:pt x="293" y="1564"/>
                        <a:pt x="301" y="1556"/>
                        <a:pt x="293" y="1548"/>
                      </a:cubicBezTo>
                      <a:cubicBezTo>
                        <a:pt x="277" y="1532"/>
                        <a:pt x="269" y="1532"/>
                        <a:pt x="253" y="1524"/>
                      </a:cubicBezTo>
                      <a:cubicBezTo>
                        <a:pt x="238" y="1524"/>
                        <a:pt x="214" y="1524"/>
                        <a:pt x="182" y="1509"/>
                      </a:cubicBezTo>
                      <a:cubicBezTo>
                        <a:pt x="135" y="1485"/>
                        <a:pt x="127" y="1446"/>
                        <a:pt x="111" y="1423"/>
                      </a:cubicBezTo>
                      <a:cubicBezTo>
                        <a:pt x="111" y="1415"/>
                        <a:pt x="103" y="1399"/>
                        <a:pt x="103" y="1391"/>
                      </a:cubicBezTo>
                      <a:cubicBezTo>
                        <a:pt x="95" y="1383"/>
                        <a:pt x="95" y="1383"/>
                        <a:pt x="95" y="1383"/>
                      </a:cubicBezTo>
                      <a:cubicBezTo>
                        <a:pt x="79" y="1352"/>
                        <a:pt x="64" y="1328"/>
                        <a:pt x="40" y="1304"/>
                      </a:cubicBezTo>
                      <a:cubicBezTo>
                        <a:pt x="8" y="1280"/>
                        <a:pt x="0" y="1185"/>
                        <a:pt x="0" y="1178"/>
                      </a:cubicBezTo>
                      <a:cubicBezTo>
                        <a:pt x="0" y="1162"/>
                        <a:pt x="48" y="1154"/>
                        <a:pt x="64" y="1154"/>
                      </a:cubicBezTo>
                      <a:cubicBezTo>
                        <a:pt x="87" y="1146"/>
                        <a:pt x="87" y="1146"/>
                        <a:pt x="87" y="1114"/>
                      </a:cubicBezTo>
                      <a:cubicBezTo>
                        <a:pt x="87" y="1106"/>
                        <a:pt x="87" y="1106"/>
                        <a:pt x="87" y="1106"/>
                      </a:cubicBezTo>
                      <a:cubicBezTo>
                        <a:pt x="87" y="1083"/>
                        <a:pt x="95" y="1075"/>
                        <a:pt x="111" y="1075"/>
                      </a:cubicBezTo>
                      <a:lnTo>
                        <a:pt x="119" y="1075"/>
                      </a:lnTo>
                      <a:cubicBezTo>
                        <a:pt x="127" y="1067"/>
                        <a:pt x="127" y="1067"/>
                        <a:pt x="127" y="1067"/>
                      </a:cubicBezTo>
                      <a:cubicBezTo>
                        <a:pt x="135" y="1051"/>
                        <a:pt x="127" y="1027"/>
                        <a:pt x="119" y="1004"/>
                      </a:cubicBezTo>
                      <a:cubicBezTo>
                        <a:pt x="111" y="988"/>
                        <a:pt x="119" y="972"/>
                        <a:pt x="119" y="956"/>
                      </a:cubicBezTo>
                      <a:cubicBezTo>
                        <a:pt x="127" y="941"/>
                        <a:pt x="127" y="932"/>
                        <a:pt x="127" y="917"/>
                      </a:cubicBezTo>
                      <a:cubicBezTo>
                        <a:pt x="127" y="893"/>
                        <a:pt x="151" y="854"/>
                        <a:pt x="158" y="838"/>
                      </a:cubicBezTo>
                      <a:cubicBezTo>
                        <a:pt x="167" y="838"/>
                        <a:pt x="167" y="838"/>
                        <a:pt x="174" y="838"/>
                      </a:cubicBezTo>
                      <a:cubicBezTo>
                        <a:pt x="182" y="838"/>
                        <a:pt x="198" y="846"/>
                        <a:pt x="206" y="861"/>
                      </a:cubicBezTo>
                      <a:cubicBezTo>
                        <a:pt x="214" y="861"/>
                        <a:pt x="222" y="869"/>
                        <a:pt x="230" y="877"/>
                      </a:cubicBezTo>
                      <a:lnTo>
                        <a:pt x="230" y="877"/>
                      </a:lnTo>
                      <a:cubicBezTo>
                        <a:pt x="238" y="869"/>
                        <a:pt x="230" y="790"/>
                        <a:pt x="222" y="751"/>
                      </a:cubicBezTo>
                      <a:cubicBezTo>
                        <a:pt x="214" y="719"/>
                        <a:pt x="245" y="703"/>
                        <a:pt x="269" y="695"/>
                      </a:cubicBezTo>
                      <a:cubicBezTo>
                        <a:pt x="269" y="695"/>
                        <a:pt x="277" y="695"/>
                        <a:pt x="285" y="695"/>
                      </a:cubicBezTo>
                      <a:cubicBezTo>
                        <a:pt x="301" y="688"/>
                        <a:pt x="301" y="664"/>
                        <a:pt x="301" y="648"/>
                      </a:cubicBezTo>
                      <a:cubicBezTo>
                        <a:pt x="301" y="640"/>
                        <a:pt x="309" y="632"/>
                        <a:pt x="309" y="624"/>
                      </a:cubicBezTo>
                      <a:cubicBezTo>
                        <a:pt x="309" y="608"/>
                        <a:pt x="317" y="601"/>
                        <a:pt x="325" y="601"/>
                      </a:cubicBezTo>
                      <a:cubicBezTo>
                        <a:pt x="332" y="601"/>
                        <a:pt x="340" y="608"/>
                        <a:pt x="356" y="624"/>
                      </a:cubicBezTo>
                      <a:cubicBezTo>
                        <a:pt x="364" y="624"/>
                        <a:pt x="364" y="624"/>
                        <a:pt x="372" y="632"/>
                      </a:cubicBezTo>
                      <a:cubicBezTo>
                        <a:pt x="372" y="632"/>
                        <a:pt x="380" y="640"/>
                        <a:pt x="388" y="640"/>
                      </a:cubicBezTo>
                      <a:cubicBezTo>
                        <a:pt x="396" y="640"/>
                        <a:pt x="396" y="632"/>
                        <a:pt x="404" y="632"/>
                      </a:cubicBezTo>
                      <a:cubicBezTo>
                        <a:pt x="411" y="632"/>
                        <a:pt x="419" y="624"/>
                        <a:pt x="427" y="624"/>
                      </a:cubicBezTo>
                      <a:cubicBezTo>
                        <a:pt x="443" y="616"/>
                        <a:pt x="467" y="585"/>
                        <a:pt x="483" y="553"/>
                      </a:cubicBezTo>
                      <a:cubicBezTo>
                        <a:pt x="491" y="545"/>
                        <a:pt x="498" y="529"/>
                        <a:pt x="506" y="521"/>
                      </a:cubicBezTo>
                      <a:cubicBezTo>
                        <a:pt x="530" y="498"/>
                        <a:pt x="522" y="435"/>
                        <a:pt x="514" y="379"/>
                      </a:cubicBezTo>
                      <a:cubicBezTo>
                        <a:pt x="506" y="340"/>
                        <a:pt x="522" y="332"/>
                        <a:pt x="538" y="332"/>
                      </a:cubicBezTo>
                      <a:cubicBezTo>
                        <a:pt x="546" y="332"/>
                        <a:pt x="554" y="324"/>
                        <a:pt x="554" y="324"/>
                      </a:cubicBezTo>
                      <a:cubicBezTo>
                        <a:pt x="562" y="316"/>
                        <a:pt x="554" y="268"/>
                        <a:pt x="554" y="237"/>
                      </a:cubicBezTo>
                      <a:cubicBezTo>
                        <a:pt x="554" y="221"/>
                        <a:pt x="546" y="205"/>
                        <a:pt x="546" y="197"/>
                      </a:cubicBezTo>
                      <a:cubicBezTo>
                        <a:pt x="546" y="166"/>
                        <a:pt x="546" y="166"/>
                        <a:pt x="562" y="166"/>
                      </a:cubicBezTo>
                      <a:lnTo>
                        <a:pt x="569" y="158"/>
                      </a:lnTo>
                      <a:cubicBezTo>
                        <a:pt x="578" y="158"/>
                        <a:pt x="569" y="134"/>
                        <a:pt x="562" y="118"/>
                      </a:cubicBezTo>
                      <a:cubicBezTo>
                        <a:pt x="562" y="110"/>
                        <a:pt x="554" y="102"/>
                        <a:pt x="554" y="87"/>
                      </a:cubicBezTo>
                      <a:cubicBezTo>
                        <a:pt x="554" y="79"/>
                        <a:pt x="546" y="63"/>
                        <a:pt x="546" y="47"/>
                      </a:cubicBezTo>
                      <a:cubicBezTo>
                        <a:pt x="546" y="39"/>
                        <a:pt x="538" y="24"/>
                        <a:pt x="538" y="15"/>
                      </a:cubicBezTo>
                      <a:lnTo>
                        <a:pt x="538" y="8"/>
                      </a:lnTo>
                      <a:cubicBezTo>
                        <a:pt x="546" y="0"/>
                        <a:pt x="554" y="0"/>
                        <a:pt x="562" y="0"/>
                      </a:cubicBezTo>
                      <a:cubicBezTo>
                        <a:pt x="569" y="0"/>
                        <a:pt x="569" y="0"/>
                        <a:pt x="569" y="0"/>
                      </a:cubicBezTo>
                      <a:cubicBezTo>
                        <a:pt x="578" y="0"/>
                        <a:pt x="578" y="0"/>
                        <a:pt x="578" y="0"/>
                      </a:cubicBezTo>
                      <a:cubicBezTo>
                        <a:pt x="657" y="419"/>
                        <a:pt x="657" y="419"/>
                        <a:pt x="657" y="419"/>
                      </a:cubicBezTo>
                      <a:cubicBezTo>
                        <a:pt x="1020" y="348"/>
                        <a:pt x="1020" y="348"/>
                        <a:pt x="1020" y="348"/>
                      </a:cubicBezTo>
                      <a:cubicBezTo>
                        <a:pt x="1060" y="577"/>
                        <a:pt x="1060" y="577"/>
                        <a:pt x="1060" y="577"/>
                      </a:cubicBezTo>
                      <a:cubicBezTo>
                        <a:pt x="1178" y="442"/>
                        <a:pt x="1178" y="442"/>
                        <a:pt x="1178" y="442"/>
                      </a:cubicBezTo>
                      <a:lnTo>
                        <a:pt x="1178" y="442"/>
                      </a:lnTo>
                      <a:cubicBezTo>
                        <a:pt x="1178" y="442"/>
                        <a:pt x="1202" y="435"/>
                        <a:pt x="1218" y="435"/>
                      </a:cubicBezTo>
                      <a:cubicBezTo>
                        <a:pt x="1226" y="435"/>
                        <a:pt x="1226" y="442"/>
                        <a:pt x="1234" y="442"/>
                      </a:cubicBezTo>
                      <a:cubicBezTo>
                        <a:pt x="1234" y="450"/>
                        <a:pt x="1234" y="450"/>
                        <a:pt x="1234" y="450"/>
                      </a:cubicBezTo>
                      <a:lnTo>
                        <a:pt x="1242" y="435"/>
                      </a:lnTo>
                      <a:lnTo>
                        <a:pt x="1242" y="435"/>
                      </a:lnTo>
                      <a:cubicBezTo>
                        <a:pt x="1242" y="426"/>
                        <a:pt x="1250" y="419"/>
                        <a:pt x="1250" y="411"/>
                      </a:cubicBezTo>
                      <a:cubicBezTo>
                        <a:pt x="1265" y="363"/>
                        <a:pt x="1273" y="348"/>
                        <a:pt x="1289" y="348"/>
                      </a:cubicBezTo>
                      <a:lnTo>
                        <a:pt x="1289" y="348"/>
                      </a:lnTo>
                      <a:cubicBezTo>
                        <a:pt x="1297" y="348"/>
                        <a:pt x="1297" y="355"/>
                        <a:pt x="1297" y="355"/>
                      </a:cubicBezTo>
                      <a:cubicBezTo>
                        <a:pt x="1305" y="371"/>
                        <a:pt x="1313" y="379"/>
                        <a:pt x="1337" y="379"/>
                      </a:cubicBezTo>
                      <a:cubicBezTo>
                        <a:pt x="1360" y="387"/>
                        <a:pt x="1368" y="371"/>
                        <a:pt x="1384" y="355"/>
                      </a:cubicBezTo>
                      <a:cubicBezTo>
                        <a:pt x="1384" y="348"/>
                        <a:pt x="1392" y="340"/>
                        <a:pt x="1400" y="340"/>
                      </a:cubicBezTo>
                      <a:cubicBezTo>
                        <a:pt x="1408" y="332"/>
                        <a:pt x="1415" y="332"/>
                        <a:pt x="1423" y="332"/>
                      </a:cubicBezTo>
                      <a:cubicBezTo>
                        <a:pt x="1439" y="324"/>
                        <a:pt x="1447" y="316"/>
                        <a:pt x="1455" y="308"/>
                      </a:cubicBezTo>
                      <a:cubicBezTo>
                        <a:pt x="1463" y="300"/>
                        <a:pt x="1487" y="292"/>
                        <a:pt x="1502" y="292"/>
                      </a:cubicBezTo>
                      <a:cubicBezTo>
                        <a:pt x="1510" y="292"/>
                        <a:pt x="1510" y="292"/>
                        <a:pt x="1518" y="292"/>
                      </a:cubicBezTo>
                      <a:cubicBezTo>
                        <a:pt x="1534" y="300"/>
                        <a:pt x="1558" y="300"/>
                        <a:pt x="1581" y="300"/>
                      </a:cubicBezTo>
                      <a:cubicBezTo>
                        <a:pt x="1613" y="300"/>
                        <a:pt x="1637" y="324"/>
                        <a:pt x="1645" y="340"/>
                      </a:cubicBezTo>
                      <a:cubicBezTo>
                        <a:pt x="1645" y="363"/>
                        <a:pt x="1676" y="403"/>
                        <a:pt x="1684" y="419"/>
                      </a:cubicBezTo>
                      <a:lnTo>
                        <a:pt x="1684" y="419"/>
                      </a:lnTo>
                      <a:cubicBezTo>
                        <a:pt x="1692" y="411"/>
                        <a:pt x="1692" y="411"/>
                        <a:pt x="1692" y="411"/>
                      </a:cubicBezTo>
                      <a:cubicBezTo>
                        <a:pt x="1692" y="419"/>
                        <a:pt x="1692" y="419"/>
                        <a:pt x="1692" y="419"/>
                      </a:cubicBezTo>
                      <a:cubicBezTo>
                        <a:pt x="1668" y="474"/>
                        <a:pt x="1637" y="506"/>
                        <a:pt x="1613" y="498"/>
                      </a:cubicBezTo>
                      <a:cubicBezTo>
                        <a:pt x="1590" y="490"/>
                        <a:pt x="1542" y="458"/>
                        <a:pt x="1510" y="435"/>
                      </a:cubicBezTo>
                      <a:cubicBezTo>
                        <a:pt x="1495" y="426"/>
                        <a:pt x="1479" y="411"/>
                        <a:pt x="1479" y="411"/>
                      </a:cubicBezTo>
                      <a:cubicBezTo>
                        <a:pt x="1471" y="411"/>
                        <a:pt x="1463" y="411"/>
                        <a:pt x="1463" y="411"/>
                      </a:cubicBezTo>
                      <a:cubicBezTo>
                        <a:pt x="1455" y="426"/>
                        <a:pt x="1447" y="450"/>
                        <a:pt x="1447" y="482"/>
                      </a:cubicBezTo>
                      <a:cubicBezTo>
                        <a:pt x="1447" y="529"/>
                        <a:pt x="1447" y="577"/>
                        <a:pt x="1431" y="624"/>
                      </a:cubicBezTo>
                      <a:cubicBezTo>
                        <a:pt x="1423" y="672"/>
                        <a:pt x="1415" y="672"/>
                        <a:pt x="1392" y="672"/>
                      </a:cubicBezTo>
                      <a:cubicBezTo>
                        <a:pt x="1392" y="672"/>
                        <a:pt x="1384" y="679"/>
                        <a:pt x="1376" y="679"/>
                      </a:cubicBezTo>
                      <a:cubicBezTo>
                        <a:pt x="1352" y="679"/>
                        <a:pt x="1352" y="703"/>
                        <a:pt x="1352" y="719"/>
                      </a:cubicBezTo>
                      <a:cubicBezTo>
                        <a:pt x="1352" y="735"/>
                        <a:pt x="1352" y="743"/>
                        <a:pt x="1344" y="751"/>
                      </a:cubicBezTo>
                      <a:cubicBezTo>
                        <a:pt x="1344" y="766"/>
                        <a:pt x="1328" y="766"/>
                        <a:pt x="1321" y="766"/>
                      </a:cubicBezTo>
                      <a:cubicBezTo>
                        <a:pt x="1313" y="766"/>
                        <a:pt x="1305" y="766"/>
                        <a:pt x="1297" y="766"/>
                      </a:cubicBezTo>
                      <a:cubicBezTo>
                        <a:pt x="1289" y="766"/>
                        <a:pt x="1273" y="759"/>
                        <a:pt x="1265" y="766"/>
                      </a:cubicBezTo>
                      <a:cubicBezTo>
                        <a:pt x="1257" y="766"/>
                        <a:pt x="1257" y="766"/>
                        <a:pt x="1257" y="766"/>
                      </a:cubicBezTo>
                      <a:cubicBezTo>
                        <a:pt x="1257" y="766"/>
                        <a:pt x="1257" y="774"/>
                        <a:pt x="1257" y="782"/>
                      </a:cubicBezTo>
                      <a:cubicBezTo>
                        <a:pt x="1265" y="790"/>
                        <a:pt x="1265" y="806"/>
                        <a:pt x="1265" y="822"/>
                      </a:cubicBezTo>
                      <a:cubicBezTo>
                        <a:pt x="1265" y="838"/>
                        <a:pt x="1265" y="854"/>
                        <a:pt x="1257" y="854"/>
                      </a:cubicBezTo>
                      <a:cubicBezTo>
                        <a:pt x="1250" y="854"/>
                        <a:pt x="1242" y="854"/>
                        <a:pt x="1234" y="846"/>
                      </a:cubicBezTo>
                      <a:cubicBezTo>
                        <a:pt x="1234" y="838"/>
                        <a:pt x="1226" y="846"/>
                        <a:pt x="1218" y="854"/>
                      </a:cubicBezTo>
                      <a:cubicBezTo>
                        <a:pt x="1210" y="861"/>
                        <a:pt x="1202" y="885"/>
                        <a:pt x="1202" y="893"/>
                      </a:cubicBezTo>
                      <a:lnTo>
                        <a:pt x="1202" y="893"/>
                      </a:lnTo>
                      <a:cubicBezTo>
                        <a:pt x="1202" y="917"/>
                        <a:pt x="1202" y="932"/>
                        <a:pt x="1194" y="941"/>
                      </a:cubicBezTo>
                      <a:cubicBezTo>
                        <a:pt x="1194" y="948"/>
                        <a:pt x="1186" y="948"/>
                        <a:pt x="1186" y="948"/>
                      </a:cubicBezTo>
                      <a:cubicBezTo>
                        <a:pt x="1170" y="948"/>
                        <a:pt x="1147" y="925"/>
                        <a:pt x="1123" y="909"/>
                      </a:cubicBezTo>
                      <a:cubicBezTo>
                        <a:pt x="1123" y="901"/>
                        <a:pt x="1123" y="901"/>
                        <a:pt x="1123" y="901"/>
                      </a:cubicBezTo>
                      <a:cubicBezTo>
                        <a:pt x="1107" y="893"/>
                        <a:pt x="1099" y="893"/>
                        <a:pt x="1075" y="909"/>
                      </a:cubicBezTo>
                      <a:cubicBezTo>
                        <a:pt x="1068" y="917"/>
                        <a:pt x="1060" y="917"/>
                        <a:pt x="1052" y="925"/>
                      </a:cubicBezTo>
                      <a:cubicBezTo>
                        <a:pt x="1028" y="941"/>
                        <a:pt x="1028" y="956"/>
                        <a:pt x="1028" y="988"/>
                      </a:cubicBezTo>
                      <a:cubicBezTo>
                        <a:pt x="1028" y="1004"/>
                        <a:pt x="1028" y="1027"/>
                        <a:pt x="1020" y="1051"/>
                      </a:cubicBezTo>
                      <a:cubicBezTo>
                        <a:pt x="1012" y="1083"/>
                        <a:pt x="1004" y="1099"/>
                        <a:pt x="1004" y="1106"/>
                      </a:cubicBezTo>
                      <a:cubicBezTo>
                        <a:pt x="997" y="1114"/>
                        <a:pt x="997" y="1114"/>
                        <a:pt x="997" y="1138"/>
                      </a:cubicBezTo>
                      <a:cubicBezTo>
                        <a:pt x="989" y="1170"/>
                        <a:pt x="989" y="1178"/>
                        <a:pt x="965" y="1201"/>
                      </a:cubicBezTo>
                      <a:cubicBezTo>
                        <a:pt x="965" y="1201"/>
                        <a:pt x="957" y="1209"/>
                        <a:pt x="957" y="1217"/>
                      </a:cubicBezTo>
                      <a:cubicBezTo>
                        <a:pt x="941" y="1241"/>
                        <a:pt x="933" y="1249"/>
                        <a:pt x="925" y="1272"/>
                      </a:cubicBezTo>
                      <a:cubicBezTo>
                        <a:pt x="917" y="1288"/>
                        <a:pt x="910" y="1304"/>
                        <a:pt x="894" y="1328"/>
                      </a:cubicBezTo>
                      <a:cubicBezTo>
                        <a:pt x="886" y="1344"/>
                        <a:pt x="886" y="1352"/>
                        <a:pt x="886" y="1359"/>
                      </a:cubicBezTo>
                      <a:cubicBezTo>
                        <a:pt x="886" y="1359"/>
                        <a:pt x="894" y="1359"/>
                        <a:pt x="902" y="1359"/>
                      </a:cubicBezTo>
                      <a:cubicBezTo>
                        <a:pt x="910" y="1359"/>
                        <a:pt x="925" y="1359"/>
                        <a:pt x="933" y="1367"/>
                      </a:cubicBezTo>
                      <a:cubicBezTo>
                        <a:pt x="949" y="1375"/>
                        <a:pt x="957" y="1383"/>
                        <a:pt x="957" y="1391"/>
                      </a:cubicBezTo>
                      <a:cubicBezTo>
                        <a:pt x="957" y="1399"/>
                        <a:pt x="933" y="1399"/>
                        <a:pt x="925" y="1399"/>
                      </a:cubicBezTo>
                      <a:cubicBezTo>
                        <a:pt x="917" y="1399"/>
                        <a:pt x="910" y="1415"/>
                        <a:pt x="902" y="1431"/>
                      </a:cubicBezTo>
                      <a:cubicBezTo>
                        <a:pt x="894" y="1454"/>
                        <a:pt x="886" y="1470"/>
                        <a:pt x="862" y="1478"/>
                      </a:cubicBezTo>
                      <a:cubicBezTo>
                        <a:pt x="854" y="1485"/>
                        <a:pt x="846" y="1485"/>
                        <a:pt x="838" y="1485"/>
                      </a:cubicBezTo>
                      <a:lnTo>
                        <a:pt x="831" y="1485"/>
                      </a:lnTo>
                      <a:cubicBezTo>
                        <a:pt x="822" y="1485"/>
                        <a:pt x="822" y="1485"/>
                        <a:pt x="822" y="1485"/>
                      </a:cubicBezTo>
                      <a:lnTo>
                        <a:pt x="822" y="1485"/>
                      </a:lnTo>
                      <a:cubicBezTo>
                        <a:pt x="831" y="1517"/>
                        <a:pt x="783" y="1524"/>
                        <a:pt x="712" y="1540"/>
                      </a:cubicBezTo>
                      <a:cubicBezTo>
                        <a:pt x="704" y="1540"/>
                        <a:pt x="704" y="1540"/>
                        <a:pt x="704" y="1540"/>
                      </a:cubicBezTo>
                      <a:cubicBezTo>
                        <a:pt x="680" y="1548"/>
                        <a:pt x="672" y="1548"/>
                        <a:pt x="672" y="1548"/>
                      </a:cubicBezTo>
                      <a:cubicBezTo>
                        <a:pt x="672" y="1556"/>
                        <a:pt x="672" y="1556"/>
                        <a:pt x="680" y="1556"/>
                      </a:cubicBezTo>
                      <a:cubicBezTo>
                        <a:pt x="680" y="1564"/>
                        <a:pt x="688" y="1572"/>
                        <a:pt x="680" y="1580"/>
                      </a:cubicBezTo>
                      <a:cubicBezTo>
                        <a:pt x="664" y="1588"/>
                        <a:pt x="625" y="1619"/>
                        <a:pt x="569" y="1619"/>
                      </a:cubicBezTo>
                      <a:cubicBezTo>
                        <a:pt x="562" y="1619"/>
                        <a:pt x="546" y="1611"/>
                        <a:pt x="538" y="1611"/>
                      </a:cubicBezTo>
                      <a:cubicBezTo>
                        <a:pt x="522" y="1611"/>
                        <a:pt x="514" y="1604"/>
                        <a:pt x="506" y="1604"/>
                      </a:cubicBezTo>
                      <a:cubicBezTo>
                        <a:pt x="498" y="1604"/>
                        <a:pt x="498" y="1611"/>
                        <a:pt x="498" y="1619"/>
                      </a:cubicBezTo>
                      <a:cubicBezTo>
                        <a:pt x="498" y="1627"/>
                        <a:pt x="498" y="1643"/>
                        <a:pt x="483" y="1667"/>
                      </a:cubicBezTo>
                      <a:cubicBezTo>
                        <a:pt x="475" y="1675"/>
                        <a:pt x="467" y="1682"/>
                        <a:pt x="459" y="1682"/>
                      </a:cubicBezTo>
                      <a:close/>
                      <a:moveTo>
                        <a:pt x="174" y="846"/>
                      </a:moveTo>
                      <a:lnTo>
                        <a:pt x="174" y="846"/>
                      </a:lnTo>
                      <a:cubicBezTo>
                        <a:pt x="167" y="846"/>
                        <a:pt x="167" y="846"/>
                        <a:pt x="167" y="846"/>
                      </a:cubicBezTo>
                      <a:cubicBezTo>
                        <a:pt x="151" y="854"/>
                        <a:pt x="135" y="893"/>
                        <a:pt x="135" y="917"/>
                      </a:cubicBezTo>
                      <a:cubicBezTo>
                        <a:pt x="135" y="932"/>
                        <a:pt x="135" y="948"/>
                        <a:pt x="127" y="956"/>
                      </a:cubicBezTo>
                      <a:cubicBezTo>
                        <a:pt x="127" y="972"/>
                        <a:pt x="119" y="988"/>
                        <a:pt x="127" y="1004"/>
                      </a:cubicBezTo>
                      <a:cubicBezTo>
                        <a:pt x="135" y="1012"/>
                        <a:pt x="143" y="1043"/>
                        <a:pt x="135" y="1067"/>
                      </a:cubicBezTo>
                      <a:cubicBezTo>
                        <a:pt x="135" y="1075"/>
                        <a:pt x="127" y="1075"/>
                        <a:pt x="127" y="1075"/>
                      </a:cubicBezTo>
                      <a:cubicBezTo>
                        <a:pt x="119" y="1083"/>
                        <a:pt x="111" y="1083"/>
                        <a:pt x="111" y="1083"/>
                      </a:cubicBezTo>
                      <a:cubicBezTo>
                        <a:pt x="95" y="1083"/>
                        <a:pt x="95" y="1083"/>
                        <a:pt x="95" y="1106"/>
                      </a:cubicBezTo>
                      <a:cubicBezTo>
                        <a:pt x="95" y="1114"/>
                        <a:pt x="95" y="1114"/>
                        <a:pt x="95" y="1114"/>
                      </a:cubicBezTo>
                      <a:cubicBezTo>
                        <a:pt x="95" y="1146"/>
                        <a:pt x="95" y="1154"/>
                        <a:pt x="64" y="1162"/>
                      </a:cubicBezTo>
                      <a:cubicBezTo>
                        <a:pt x="32" y="1162"/>
                        <a:pt x="8" y="1178"/>
                        <a:pt x="8" y="1178"/>
                      </a:cubicBezTo>
                      <a:cubicBezTo>
                        <a:pt x="8" y="1193"/>
                        <a:pt x="16" y="1280"/>
                        <a:pt x="48" y="1304"/>
                      </a:cubicBezTo>
                      <a:cubicBezTo>
                        <a:pt x="72" y="1320"/>
                        <a:pt x="87" y="1352"/>
                        <a:pt x="103" y="1383"/>
                      </a:cubicBezTo>
                      <a:cubicBezTo>
                        <a:pt x="111" y="1391"/>
                        <a:pt x="111" y="1391"/>
                        <a:pt x="111" y="1391"/>
                      </a:cubicBezTo>
                      <a:cubicBezTo>
                        <a:pt x="111" y="1399"/>
                        <a:pt x="119" y="1407"/>
                        <a:pt x="119" y="1415"/>
                      </a:cubicBezTo>
                      <a:cubicBezTo>
                        <a:pt x="135" y="1446"/>
                        <a:pt x="143" y="1478"/>
                        <a:pt x="190" y="1501"/>
                      </a:cubicBezTo>
                      <a:cubicBezTo>
                        <a:pt x="214" y="1517"/>
                        <a:pt x="238" y="1517"/>
                        <a:pt x="253" y="1517"/>
                      </a:cubicBezTo>
                      <a:cubicBezTo>
                        <a:pt x="269" y="1524"/>
                        <a:pt x="285" y="1524"/>
                        <a:pt x="301" y="1548"/>
                      </a:cubicBezTo>
                      <a:cubicBezTo>
                        <a:pt x="309" y="1556"/>
                        <a:pt x="301" y="1572"/>
                        <a:pt x="301" y="1580"/>
                      </a:cubicBezTo>
                      <a:cubicBezTo>
                        <a:pt x="301" y="1588"/>
                        <a:pt x="301" y="1588"/>
                        <a:pt x="301" y="1595"/>
                      </a:cubicBezTo>
                      <a:cubicBezTo>
                        <a:pt x="309" y="1604"/>
                        <a:pt x="325" y="1604"/>
                        <a:pt x="356" y="1611"/>
                      </a:cubicBezTo>
                      <a:cubicBezTo>
                        <a:pt x="404" y="1627"/>
                        <a:pt x="427" y="1643"/>
                        <a:pt x="443" y="1659"/>
                      </a:cubicBezTo>
                      <a:cubicBezTo>
                        <a:pt x="451" y="1667"/>
                        <a:pt x="459" y="1675"/>
                        <a:pt x="459" y="1675"/>
                      </a:cubicBezTo>
                      <a:cubicBezTo>
                        <a:pt x="467" y="1675"/>
                        <a:pt x="467" y="1667"/>
                        <a:pt x="475" y="1659"/>
                      </a:cubicBezTo>
                      <a:cubicBezTo>
                        <a:pt x="491" y="1643"/>
                        <a:pt x="491" y="1627"/>
                        <a:pt x="491" y="1619"/>
                      </a:cubicBezTo>
                      <a:cubicBezTo>
                        <a:pt x="491" y="1604"/>
                        <a:pt x="498" y="1595"/>
                        <a:pt x="506" y="1595"/>
                      </a:cubicBezTo>
                      <a:cubicBezTo>
                        <a:pt x="514" y="1595"/>
                        <a:pt x="522" y="1604"/>
                        <a:pt x="538" y="1604"/>
                      </a:cubicBezTo>
                      <a:cubicBezTo>
                        <a:pt x="546" y="1604"/>
                        <a:pt x="562" y="1611"/>
                        <a:pt x="569" y="1611"/>
                      </a:cubicBezTo>
                      <a:cubicBezTo>
                        <a:pt x="617" y="1611"/>
                        <a:pt x="664" y="1588"/>
                        <a:pt x="672" y="1572"/>
                      </a:cubicBezTo>
                      <a:cubicBezTo>
                        <a:pt x="680" y="1572"/>
                        <a:pt x="680" y="1572"/>
                        <a:pt x="672" y="1564"/>
                      </a:cubicBezTo>
                      <a:cubicBezTo>
                        <a:pt x="664" y="1556"/>
                        <a:pt x="664" y="1556"/>
                        <a:pt x="664" y="1548"/>
                      </a:cubicBezTo>
                      <a:cubicBezTo>
                        <a:pt x="672" y="1540"/>
                        <a:pt x="680" y="1540"/>
                        <a:pt x="704" y="1532"/>
                      </a:cubicBezTo>
                      <a:cubicBezTo>
                        <a:pt x="712" y="1532"/>
                        <a:pt x="712" y="1532"/>
                        <a:pt x="712" y="1532"/>
                      </a:cubicBezTo>
                      <a:cubicBezTo>
                        <a:pt x="767" y="1517"/>
                        <a:pt x="822" y="1509"/>
                        <a:pt x="815" y="1493"/>
                      </a:cubicBezTo>
                      <a:cubicBezTo>
                        <a:pt x="815" y="1485"/>
                        <a:pt x="815" y="1485"/>
                        <a:pt x="815" y="1478"/>
                      </a:cubicBezTo>
                      <a:cubicBezTo>
                        <a:pt x="822" y="1478"/>
                        <a:pt x="822" y="1478"/>
                        <a:pt x="831" y="1478"/>
                      </a:cubicBezTo>
                      <a:lnTo>
                        <a:pt x="838" y="1478"/>
                      </a:lnTo>
                      <a:cubicBezTo>
                        <a:pt x="846" y="1478"/>
                        <a:pt x="854" y="1478"/>
                        <a:pt x="862" y="1478"/>
                      </a:cubicBezTo>
                      <a:cubicBezTo>
                        <a:pt x="878" y="1470"/>
                        <a:pt x="886" y="1446"/>
                        <a:pt x="894" y="1431"/>
                      </a:cubicBezTo>
                      <a:cubicBezTo>
                        <a:pt x="902" y="1415"/>
                        <a:pt x="910" y="1399"/>
                        <a:pt x="925" y="1399"/>
                      </a:cubicBezTo>
                      <a:cubicBezTo>
                        <a:pt x="933" y="1399"/>
                        <a:pt x="949" y="1391"/>
                        <a:pt x="949" y="1383"/>
                      </a:cubicBezTo>
                      <a:cubicBezTo>
                        <a:pt x="949" y="1383"/>
                        <a:pt x="949" y="1375"/>
                        <a:pt x="933" y="1375"/>
                      </a:cubicBezTo>
                      <a:cubicBezTo>
                        <a:pt x="917" y="1367"/>
                        <a:pt x="910" y="1367"/>
                        <a:pt x="902" y="1367"/>
                      </a:cubicBezTo>
                      <a:cubicBezTo>
                        <a:pt x="886" y="1367"/>
                        <a:pt x="878" y="1367"/>
                        <a:pt x="878" y="1359"/>
                      </a:cubicBezTo>
                      <a:cubicBezTo>
                        <a:pt x="878" y="1352"/>
                        <a:pt x="878" y="1344"/>
                        <a:pt x="894" y="1328"/>
                      </a:cubicBezTo>
                      <a:cubicBezTo>
                        <a:pt x="910" y="1304"/>
                        <a:pt x="910" y="1280"/>
                        <a:pt x="917" y="1265"/>
                      </a:cubicBezTo>
                      <a:cubicBezTo>
                        <a:pt x="925" y="1249"/>
                        <a:pt x="933" y="1233"/>
                        <a:pt x="949" y="1209"/>
                      </a:cubicBezTo>
                      <a:cubicBezTo>
                        <a:pt x="957" y="1209"/>
                        <a:pt x="957" y="1201"/>
                        <a:pt x="965" y="1193"/>
                      </a:cubicBezTo>
                      <a:cubicBezTo>
                        <a:pt x="981" y="1170"/>
                        <a:pt x="981" y="1170"/>
                        <a:pt x="989" y="1138"/>
                      </a:cubicBezTo>
                      <a:cubicBezTo>
                        <a:pt x="989" y="1114"/>
                        <a:pt x="989" y="1106"/>
                        <a:pt x="997" y="1099"/>
                      </a:cubicBezTo>
                      <a:cubicBezTo>
                        <a:pt x="1004" y="1091"/>
                        <a:pt x="1004" y="1083"/>
                        <a:pt x="1012" y="1051"/>
                      </a:cubicBezTo>
                      <a:cubicBezTo>
                        <a:pt x="1020" y="1027"/>
                        <a:pt x="1020" y="1004"/>
                        <a:pt x="1020" y="988"/>
                      </a:cubicBezTo>
                      <a:cubicBezTo>
                        <a:pt x="1020" y="956"/>
                        <a:pt x="1020" y="932"/>
                        <a:pt x="1044" y="917"/>
                      </a:cubicBezTo>
                      <a:cubicBezTo>
                        <a:pt x="1060" y="917"/>
                        <a:pt x="1068" y="909"/>
                        <a:pt x="1075" y="901"/>
                      </a:cubicBezTo>
                      <a:cubicBezTo>
                        <a:pt x="1084" y="893"/>
                        <a:pt x="1091" y="885"/>
                        <a:pt x="1107" y="885"/>
                      </a:cubicBezTo>
                      <a:cubicBezTo>
                        <a:pt x="1115" y="885"/>
                        <a:pt x="1115" y="893"/>
                        <a:pt x="1123" y="901"/>
                      </a:cubicBezTo>
                      <a:cubicBezTo>
                        <a:pt x="1131" y="901"/>
                        <a:pt x="1131" y="901"/>
                        <a:pt x="1131" y="901"/>
                      </a:cubicBezTo>
                      <a:cubicBezTo>
                        <a:pt x="1147" y="917"/>
                        <a:pt x="1170" y="941"/>
                        <a:pt x="1186" y="941"/>
                      </a:cubicBezTo>
                      <a:lnTo>
                        <a:pt x="1186" y="941"/>
                      </a:lnTo>
                      <a:cubicBezTo>
                        <a:pt x="1202" y="925"/>
                        <a:pt x="1194" y="917"/>
                        <a:pt x="1194" y="901"/>
                      </a:cubicBezTo>
                      <a:cubicBezTo>
                        <a:pt x="1194" y="893"/>
                        <a:pt x="1194" y="893"/>
                        <a:pt x="1194" y="893"/>
                      </a:cubicBezTo>
                      <a:cubicBezTo>
                        <a:pt x="1194" y="885"/>
                        <a:pt x="1202" y="861"/>
                        <a:pt x="1210" y="846"/>
                      </a:cubicBezTo>
                      <a:cubicBezTo>
                        <a:pt x="1226" y="838"/>
                        <a:pt x="1234" y="830"/>
                        <a:pt x="1242" y="838"/>
                      </a:cubicBezTo>
                      <a:cubicBezTo>
                        <a:pt x="1250" y="846"/>
                        <a:pt x="1250" y="846"/>
                        <a:pt x="1257" y="846"/>
                      </a:cubicBezTo>
                      <a:cubicBezTo>
                        <a:pt x="1257" y="846"/>
                        <a:pt x="1257" y="846"/>
                        <a:pt x="1257" y="822"/>
                      </a:cubicBezTo>
                      <a:cubicBezTo>
                        <a:pt x="1257" y="806"/>
                        <a:pt x="1257" y="798"/>
                        <a:pt x="1250" y="790"/>
                      </a:cubicBezTo>
                      <a:cubicBezTo>
                        <a:pt x="1250" y="774"/>
                        <a:pt x="1250" y="766"/>
                        <a:pt x="1250" y="759"/>
                      </a:cubicBezTo>
                      <a:cubicBezTo>
                        <a:pt x="1250" y="759"/>
                        <a:pt x="1257" y="759"/>
                        <a:pt x="1265" y="759"/>
                      </a:cubicBezTo>
                      <a:cubicBezTo>
                        <a:pt x="1273" y="759"/>
                        <a:pt x="1289" y="759"/>
                        <a:pt x="1297" y="759"/>
                      </a:cubicBezTo>
                      <a:cubicBezTo>
                        <a:pt x="1305" y="759"/>
                        <a:pt x="1313" y="759"/>
                        <a:pt x="1321" y="759"/>
                      </a:cubicBezTo>
                      <a:cubicBezTo>
                        <a:pt x="1328" y="759"/>
                        <a:pt x="1337" y="759"/>
                        <a:pt x="1337" y="751"/>
                      </a:cubicBezTo>
                      <a:cubicBezTo>
                        <a:pt x="1344" y="743"/>
                        <a:pt x="1344" y="727"/>
                        <a:pt x="1344" y="719"/>
                      </a:cubicBezTo>
                      <a:cubicBezTo>
                        <a:pt x="1344" y="703"/>
                        <a:pt x="1344" y="679"/>
                        <a:pt x="1376" y="672"/>
                      </a:cubicBezTo>
                      <a:cubicBezTo>
                        <a:pt x="1384" y="672"/>
                        <a:pt x="1392" y="672"/>
                        <a:pt x="1392" y="672"/>
                      </a:cubicBezTo>
                      <a:cubicBezTo>
                        <a:pt x="1408" y="664"/>
                        <a:pt x="1415" y="664"/>
                        <a:pt x="1423" y="624"/>
                      </a:cubicBezTo>
                      <a:cubicBezTo>
                        <a:pt x="1439" y="561"/>
                        <a:pt x="1439" y="514"/>
                        <a:pt x="1439" y="482"/>
                      </a:cubicBezTo>
                      <a:cubicBezTo>
                        <a:pt x="1439" y="458"/>
                        <a:pt x="1439" y="419"/>
                        <a:pt x="1455" y="411"/>
                      </a:cubicBezTo>
                      <a:cubicBezTo>
                        <a:pt x="1463" y="403"/>
                        <a:pt x="1471" y="403"/>
                        <a:pt x="1479" y="403"/>
                      </a:cubicBezTo>
                      <a:cubicBezTo>
                        <a:pt x="1487" y="411"/>
                        <a:pt x="1502" y="419"/>
                        <a:pt x="1518" y="426"/>
                      </a:cubicBezTo>
                      <a:cubicBezTo>
                        <a:pt x="1550" y="450"/>
                        <a:pt x="1590" y="490"/>
                        <a:pt x="1613" y="490"/>
                      </a:cubicBezTo>
                      <a:lnTo>
                        <a:pt x="1621" y="490"/>
                      </a:lnTo>
                      <a:cubicBezTo>
                        <a:pt x="1637" y="490"/>
                        <a:pt x="1661" y="466"/>
                        <a:pt x="1676" y="426"/>
                      </a:cubicBezTo>
                      <a:lnTo>
                        <a:pt x="1676" y="426"/>
                      </a:lnTo>
                      <a:cubicBezTo>
                        <a:pt x="1676" y="419"/>
                        <a:pt x="1676" y="419"/>
                        <a:pt x="1676" y="419"/>
                      </a:cubicBezTo>
                      <a:cubicBezTo>
                        <a:pt x="1676" y="419"/>
                        <a:pt x="1645" y="363"/>
                        <a:pt x="1637" y="348"/>
                      </a:cubicBezTo>
                      <a:cubicBezTo>
                        <a:pt x="1629" y="324"/>
                        <a:pt x="1613" y="308"/>
                        <a:pt x="1581" y="308"/>
                      </a:cubicBezTo>
                      <a:cubicBezTo>
                        <a:pt x="1558" y="308"/>
                        <a:pt x="1534" y="308"/>
                        <a:pt x="1510" y="300"/>
                      </a:cubicBezTo>
                      <a:cubicBezTo>
                        <a:pt x="1510" y="300"/>
                        <a:pt x="1510" y="292"/>
                        <a:pt x="1502" y="292"/>
                      </a:cubicBezTo>
                      <a:cubicBezTo>
                        <a:pt x="1487" y="292"/>
                        <a:pt x="1471" y="308"/>
                        <a:pt x="1463" y="316"/>
                      </a:cubicBezTo>
                      <a:cubicBezTo>
                        <a:pt x="1455" y="324"/>
                        <a:pt x="1439" y="332"/>
                        <a:pt x="1423" y="332"/>
                      </a:cubicBezTo>
                      <a:cubicBezTo>
                        <a:pt x="1415" y="340"/>
                        <a:pt x="1415" y="340"/>
                        <a:pt x="1408" y="340"/>
                      </a:cubicBezTo>
                      <a:cubicBezTo>
                        <a:pt x="1400" y="348"/>
                        <a:pt x="1392" y="355"/>
                        <a:pt x="1384" y="363"/>
                      </a:cubicBezTo>
                      <a:cubicBezTo>
                        <a:pt x="1376" y="379"/>
                        <a:pt x="1368" y="395"/>
                        <a:pt x="1337" y="387"/>
                      </a:cubicBezTo>
                      <a:cubicBezTo>
                        <a:pt x="1305" y="387"/>
                        <a:pt x="1297" y="371"/>
                        <a:pt x="1289" y="363"/>
                      </a:cubicBezTo>
                      <a:cubicBezTo>
                        <a:pt x="1289" y="355"/>
                        <a:pt x="1289" y="355"/>
                        <a:pt x="1289" y="355"/>
                      </a:cubicBezTo>
                      <a:cubicBezTo>
                        <a:pt x="1281" y="355"/>
                        <a:pt x="1265" y="395"/>
                        <a:pt x="1257" y="419"/>
                      </a:cubicBezTo>
                      <a:cubicBezTo>
                        <a:pt x="1250" y="426"/>
                        <a:pt x="1250" y="435"/>
                        <a:pt x="1250" y="435"/>
                      </a:cubicBezTo>
                      <a:lnTo>
                        <a:pt x="1250" y="435"/>
                      </a:lnTo>
                      <a:cubicBezTo>
                        <a:pt x="1242" y="450"/>
                        <a:pt x="1242" y="458"/>
                        <a:pt x="1234" y="458"/>
                      </a:cubicBezTo>
                      <a:cubicBezTo>
                        <a:pt x="1226" y="458"/>
                        <a:pt x="1226" y="450"/>
                        <a:pt x="1226" y="450"/>
                      </a:cubicBezTo>
                      <a:cubicBezTo>
                        <a:pt x="1226" y="442"/>
                        <a:pt x="1226" y="442"/>
                        <a:pt x="1218" y="442"/>
                      </a:cubicBezTo>
                      <a:cubicBezTo>
                        <a:pt x="1202" y="442"/>
                        <a:pt x="1186" y="450"/>
                        <a:pt x="1186" y="450"/>
                      </a:cubicBezTo>
                      <a:cubicBezTo>
                        <a:pt x="1060" y="593"/>
                        <a:pt x="1060" y="593"/>
                        <a:pt x="1060" y="593"/>
                      </a:cubicBezTo>
                      <a:cubicBezTo>
                        <a:pt x="1020" y="355"/>
                        <a:pt x="1020" y="355"/>
                        <a:pt x="1020" y="355"/>
                      </a:cubicBezTo>
                      <a:cubicBezTo>
                        <a:pt x="649" y="426"/>
                        <a:pt x="649" y="426"/>
                        <a:pt x="649" y="426"/>
                      </a:cubicBezTo>
                      <a:cubicBezTo>
                        <a:pt x="569" y="8"/>
                        <a:pt x="569" y="8"/>
                        <a:pt x="569" y="8"/>
                      </a:cubicBezTo>
                      <a:cubicBezTo>
                        <a:pt x="569" y="8"/>
                        <a:pt x="569" y="8"/>
                        <a:pt x="562" y="8"/>
                      </a:cubicBezTo>
                      <a:cubicBezTo>
                        <a:pt x="554" y="8"/>
                        <a:pt x="546" y="8"/>
                        <a:pt x="546" y="15"/>
                      </a:cubicBezTo>
                      <a:lnTo>
                        <a:pt x="546" y="15"/>
                      </a:lnTo>
                      <a:cubicBezTo>
                        <a:pt x="546" y="24"/>
                        <a:pt x="554" y="31"/>
                        <a:pt x="554" y="47"/>
                      </a:cubicBezTo>
                      <a:cubicBezTo>
                        <a:pt x="554" y="63"/>
                        <a:pt x="562" y="71"/>
                        <a:pt x="562" y="87"/>
                      </a:cubicBezTo>
                      <a:cubicBezTo>
                        <a:pt x="562" y="95"/>
                        <a:pt x="569" y="110"/>
                        <a:pt x="569" y="118"/>
                      </a:cubicBezTo>
                      <a:cubicBezTo>
                        <a:pt x="578" y="142"/>
                        <a:pt x="585" y="158"/>
                        <a:pt x="569" y="166"/>
                      </a:cubicBezTo>
                      <a:lnTo>
                        <a:pt x="562" y="166"/>
                      </a:lnTo>
                      <a:cubicBezTo>
                        <a:pt x="554" y="174"/>
                        <a:pt x="554" y="174"/>
                        <a:pt x="554" y="197"/>
                      </a:cubicBezTo>
                      <a:cubicBezTo>
                        <a:pt x="554" y="205"/>
                        <a:pt x="554" y="221"/>
                        <a:pt x="562" y="237"/>
                      </a:cubicBezTo>
                      <a:cubicBezTo>
                        <a:pt x="562" y="284"/>
                        <a:pt x="569" y="316"/>
                        <a:pt x="562" y="332"/>
                      </a:cubicBezTo>
                      <a:cubicBezTo>
                        <a:pt x="554" y="332"/>
                        <a:pt x="546" y="332"/>
                        <a:pt x="538" y="340"/>
                      </a:cubicBezTo>
                      <a:cubicBezTo>
                        <a:pt x="530" y="340"/>
                        <a:pt x="514" y="340"/>
                        <a:pt x="522" y="379"/>
                      </a:cubicBezTo>
                      <a:cubicBezTo>
                        <a:pt x="530" y="442"/>
                        <a:pt x="530" y="498"/>
                        <a:pt x="514" y="529"/>
                      </a:cubicBezTo>
                      <a:cubicBezTo>
                        <a:pt x="506" y="537"/>
                        <a:pt x="498" y="545"/>
                        <a:pt x="491" y="561"/>
                      </a:cubicBezTo>
                      <a:cubicBezTo>
                        <a:pt x="467" y="593"/>
                        <a:pt x="451" y="624"/>
                        <a:pt x="427" y="632"/>
                      </a:cubicBezTo>
                      <a:cubicBezTo>
                        <a:pt x="419" y="632"/>
                        <a:pt x="411" y="632"/>
                        <a:pt x="404" y="640"/>
                      </a:cubicBezTo>
                      <a:cubicBezTo>
                        <a:pt x="404" y="640"/>
                        <a:pt x="396" y="640"/>
                        <a:pt x="388" y="640"/>
                      </a:cubicBezTo>
                      <a:cubicBezTo>
                        <a:pt x="380" y="640"/>
                        <a:pt x="372" y="640"/>
                        <a:pt x="364" y="632"/>
                      </a:cubicBezTo>
                      <a:cubicBezTo>
                        <a:pt x="364" y="632"/>
                        <a:pt x="356" y="632"/>
                        <a:pt x="356" y="624"/>
                      </a:cubicBezTo>
                      <a:cubicBezTo>
                        <a:pt x="340" y="616"/>
                        <a:pt x="332" y="608"/>
                        <a:pt x="325" y="608"/>
                      </a:cubicBezTo>
                      <a:cubicBezTo>
                        <a:pt x="325" y="608"/>
                        <a:pt x="317" y="608"/>
                        <a:pt x="317" y="624"/>
                      </a:cubicBezTo>
                      <a:cubicBezTo>
                        <a:pt x="317" y="632"/>
                        <a:pt x="309" y="640"/>
                        <a:pt x="309" y="648"/>
                      </a:cubicBezTo>
                      <a:cubicBezTo>
                        <a:pt x="309" y="672"/>
                        <a:pt x="309" y="688"/>
                        <a:pt x="285" y="695"/>
                      </a:cubicBezTo>
                      <a:cubicBezTo>
                        <a:pt x="285" y="703"/>
                        <a:pt x="277" y="703"/>
                        <a:pt x="269" y="703"/>
                      </a:cubicBezTo>
                      <a:cubicBezTo>
                        <a:pt x="245" y="719"/>
                        <a:pt x="222" y="727"/>
                        <a:pt x="230" y="743"/>
                      </a:cubicBezTo>
                      <a:cubicBezTo>
                        <a:pt x="238" y="774"/>
                        <a:pt x="245" y="861"/>
                        <a:pt x="238" y="877"/>
                      </a:cubicBezTo>
                      <a:cubicBezTo>
                        <a:pt x="238" y="885"/>
                        <a:pt x="230" y="885"/>
                        <a:pt x="230" y="885"/>
                      </a:cubicBezTo>
                      <a:cubicBezTo>
                        <a:pt x="230" y="885"/>
                        <a:pt x="230" y="885"/>
                        <a:pt x="230" y="877"/>
                      </a:cubicBezTo>
                      <a:cubicBezTo>
                        <a:pt x="222" y="877"/>
                        <a:pt x="214" y="869"/>
                        <a:pt x="206" y="861"/>
                      </a:cubicBezTo>
                      <a:cubicBezTo>
                        <a:pt x="190" y="854"/>
                        <a:pt x="182" y="846"/>
                        <a:pt x="174" y="846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6" name="Freeform 779">
                  <a:extLst>
                    <a:ext uri="{FF2B5EF4-FFF2-40B4-BE49-F238E27FC236}">
                      <a16:creationId xmlns:a16="http://schemas.microsoft.com/office/drawing/2014/main" id="{229BCA45-322B-5E42-AA8F-94494D0A42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32203" y="5711450"/>
                  <a:ext cx="1514506" cy="876698"/>
                </a:xfrm>
                <a:custGeom>
                  <a:avLst/>
                  <a:gdLst>
                    <a:gd name="T0" fmla="*/ 2846 w 2879"/>
                    <a:gd name="T1" fmla="*/ 1122 h 1668"/>
                    <a:gd name="T2" fmla="*/ 2744 w 2879"/>
                    <a:gd name="T3" fmla="*/ 1012 h 1668"/>
                    <a:gd name="T4" fmla="*/ 2664 w 2879"/>
                    <a:gd name="T5" fmla="*/ 1043 h 1668"/>
                    <a:gd name="T6" fmla="*/ 2562 w 2879"/>
                    <a:gd name="T7" fmla="*/ 1012 h 1668"/>
                    <a:gd name="T8" fmla="*/ 2522 w 2879"/>
                    <a:gd name="T9" fmla="*/ 949 h 1668"/>
                    <a:gd name="T10" fmla="*/ 2641 w 2879"/>
                    <a:gd name="T11" fmla="*/ 1012 h 1668"/>
                    <a:gd name="T12" fmla="*/ 2657 w 2879"/>
                    <a:gd name="T13" fmla="*/ 933 h 1668"/>
                    <a:gd name="T14" fmla="*/ 2593 w 2879"/>
                    <a:gd name="T15" fmla="*/ 901 h 1668"/>
                    <a:gd name="T16" fmla="*/ 2562 w 2879"/>
                    <a:gd name="T17" fmla="*/ 877 h 1668"/>
                    <a:gd name="T18" fmla="*/ 2585 w 2879"/>
                    <a:gd name="T19" fmla="*/ 814 h 1668"/>
                    <a:gd name="T20" fmla="*/ 2641 w 2879"/>
                    <a:gd name="T21" fmla="*/ 790 h 1668"/>
                    <a:gd name="T22" fmla="*/ 2538 w 2879"/>
                    <a:gd name="T23" fmla="*/ 727 h 1668"/>
                    <a:gd name="T24" fmla="*/ 2514 w 2879"/>
                    <a:gd name="T25" fmla="*/ 680 h 1668"/>
                    <a:gd name="T26" fmla="*/ 2585 w 2879"/>
                    <a:gd name="T27" fmla="*/ 680 h 1668"/>
                    <a:gd name="T28" fmla="*/ 2609 w 2879"/>
                    <a:gd name="T29" fmla="*/ 593 h 1668"/>
                    <a:gd name="T30" fmla="*/ 2498 w 2879"/>
                    <a:gd name="T31" fmla="*/ 506 h 1668"/>
                    <a:gd name="T32" fmla="*/ 2411 w 2879"/>
                    <a:gd name="T33" fmla="*/ 490 h 1668"/>
                    <a:gd name="T34" fmla="*/ 2301 w 2879"/>
                    <a:gd name="T35" fmla="*/ 427 h 1668"/>
                    <a:gd name="T36" fmla="*/ 2158 w 2879"/>
                    <a:gd name="T37" fmla="*/ 427 h 1668"/>
                    <a:gd name="T38" fmla="*/ 2206 w 2879"/>
                    <a:gd name="T39" fmla="*/ 206 h 1668"/>
                    <a:gd name="T40" fmla="*/ 2024 w 2879"/>
                    <a:gd name="T41" fmla="*/ 119 h 1668"/>
                    <a:gd name="T42" fmla="*/ 1921 w 2879"/>
                    <a:gd name="T43" fmla="*/ 24 h 1668"/>
                    <a:gd name="T44" fmla="*/ 1716 w 2879"/>
                    <a:gd name="T45" fmla="*/ 16 h 1668"/>
                    <a:gd name="T46" fmla="*/ 1668 w 2879"/>
                    <a:gd name="T47" fmla="*/ 229 h 1668"/>
                    <a:gd name="T48" fmla="*/ 1581 w 2879"/>
                    <a:gd name="T49" fmla="*/ 356 h 1668"/>
                    <a:gd name="T50" fmla="*/ 1502 w 2879"/>
                    <a:gd name="T51" fmla="*/ 427 h 1668"/>
                    <a:gd name="T52" fmla="*/ 1439 w 2879"/>
                    <a:gd name="T53" fmla="*/ 498 h 1668"/>
                    <a:gd name="T54" fmla="*/ 1360 w 2879"/>
                    <a:gd name="T55" fmla="*/ 506 h 1668"/>
                    <a:gd name="T56" fmla="*/ 1257 w 2879"/>
                    <a:gd name="T57" fmla="*/ 656 h 1668"/>
                    <a:gd name="T58" fmla="*/ 1186 w 2879"/>
                    <a:gd name="T59" fmla="*/ 822 h 1668"/>
                    <a:gd name="T60" fmla="*/ 1170 w 2879"/>
                    <a:gd name="T61" fmla="*/ 972 h 1668"/>
                    <a:gd name="T62" fmla="*/ 1099 w 2879"/>
                    <a:gd name="T63" fmla="*/ 1083 h 1668"/>
                    <a:gd name="T64" fmla="*/ 941 w 2879"/>
                    <a:gd name="T65" fmla="*/ 1137 h 1668"/>
                    <a:gd name="T66" fmla="*/ 775 w 2879"/>
                    <a:gd name="T67" fmla="*/ 1216 h 1668"/>
                    <a:gd name="T68" fmla="*/ 593 w 2879"/>
                    <a:gd name="T69" fmla="*/ 1224 h 1668"/>
                    <a:gd name="T70" fmla="*/ 530 w 2879"/>
                    <a:gd name="T71" fmla="*/ 1145 h 1668"/>
                    <a:gd name="T72" fmla="*/ 364 w 2879"/>
                    <a:gd name="T73" fmla="*/ 1319 h 1668"/>
                    <a:gd name="T74" fmla="*/ 269 w 2879"/>
                    <a:gd name="T75" fmla="*/ 1430 h 1668"/>
                    <a:gd name="T76" fmla="*/ 229 w 2879"/>
                    <a:gd name="T77" fmla="*/ 1493 h 1668"/>
                    <a:gd name="T78" fmla="*/ 142 w 2879"/>
                    <a:gd name="T79" fmla="*/ 1588 h 1668"/>
                    <a:gd name="T80" fmla="*/ 0 w 2879"/>
                    <a:gd name="T81" fmla="*/ 1667 h 1668"/>
                    <a:gd name="T82" fmla="*/ 728 w 2879"/>
                    <a:gd name="T83" fmla="*/ 1564 h 1668"/>
                    <a:gd name="T84" fmla="*/ 2878 w 2879"/>
                    <a:gd name="T85" fmla="*/ 1169 h 16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879" h="1668">
                      <a:moveTo>
                        <a:pt x="2846" y="1122"/>
                      </a:moveTo>
                      <a:lnTo>
                        <a:pt x="2846" y="1122"/>
                      </a:lnTo>
                      <a:cubicBezTo>
                        <a:pt x="2822" y="1067"/>
                        <a:pt x="2838" y="1059"/>
                        <a:pt x="2807" y="1036"/>
                      </a:cubicBezTo>
                      <a:cubicBezTo>
                        <a:pt x="2775" y="1012"/>
                        <a:pt x="2767" y="1012"/>
                        <a:pt x="2744" y="1012"/>
                      </a:cubicBezTo>
                      <a:cubicBezTo>
                        <a:pt x="2720" y="1012"/>
                        <a:pt x="2680" y="1012"/>
                        <a:pt x="2672" y="1012"/>
                      </a:cubicBezTo>
                      <a:cubicBezTo>
                        <a:pt x="2672" y="1012"/>
                        <a:pt x="2680" y="1036"/>
                        <a:pt x="2664" y="1043"/>
                      </a:cubicBezTo>
                      <a:cubicBezTo>
                        <a:pt x="2649" y="1043"/>
                        <a:pt x="2633" y="1067"/>
                        <a:pt x="2617" y="1051"/>
                      </a:cubicBezTo>
                      <a:cubicBezTo>
                        <a:pt x="2593" y="1036"/>
                        <a:pt x="2601" y="1051"/>
                        <a:pt x="2562" y="1012"/>
                      </a:cubicBezTo>
                      <a:cubicBezTo>
                        <a:pt x="2530" y="972"/>
                        <a:pt x="2514" y="964"/>
                        <a:pt x="2506" y="957"/>
                      </a:cubicBezTo>
                      <a:cubicBezTo>
                        <a:pt x="2491" y="949"/>
                        <a:pt x="2498" y="933"/>
                        <a:pt x="2522" y="949"/>
                      </a:cubicBezTo>
                      <a:cubicBezTo>
                        <a:pt x="2546" y="964"/>
                        <a:pt x="2546" y="972"/>
                        <a:pt x="2585" y="988"/>
                      </a:cubicBezTo>
                      <a:cubicBezTo>
                        <a:pt x="2625" y="1012"/>
                        <a:pt x="2625" y="1028"/>
                        <a:pt x="2641" y="1012"/>
                      </a:cubicBezTo>
                      <a:cubicBezTo>
                        <a:pt x="2664" y="996"/>
                        <a:pt x="2657" y="988"/>
                        <a:pt x="2672" y="972"/>
                      </a:cubicBezTo>
                      <a:cubicBezTo>
                        <a:pt x="2680" y="964"/>
                        <a:pt x="2672" y="933"/>
                        <a:pt x="2657" y="933"/>
                      </a:cubicBezTo>
                      <a:cubicBezTo>
                        <a:pt x="2649" y="933"/>
                        <a:pt x="2649" y="949"/>
                        <a:pt x="2633" y="925"/>
                      </a:cubicBezTo>
                      <a:cubicBezTo>
                        <a:pt x="2617" y="909"/>
                        <a:pt x="2601" y="885"/>
                        <a:pt x="2593" y="901"/>
                      </a:cubicBezTo>
                      <a:cubicBezTo>
                        <a:pt x="2585" y="917"/>
                        <a:pt x="2577" y="917"/>
                        <a:pt x="2554" y="901"/>
                      </a:cubicBezTo>
                      <a:cubicBezTo>
                        <a:pt x="2538" y="885"/>
                        <a:pt x="2546" y="877"/>
                        <a:pt x="2562" y="877"/>
                      </a:cubicBezTo>
                      <a:cubicBezTo>
                        <a:pt x="2569" y="877"/>
                        <a:pt x="2601" y="870"/>
                        <a:pt x="2593" y="854"/>
                      </a:cubicBezTo>
                      <a:cubicBezTo>
                        <a:pt x="2593" y="830"/>
                        <a:pt x="2569" y="814"/>
                        <a:pt x="2585" y="814"/>
                      </a:cubicBezTo>
                      <a:cubicBezTo>
                        <a:pt x="2601" y="822"/>
                        <a:pt x="2601" y="846"/>
                        <a:pt x="2617" y="846"/>
                      </a:cubicBezTo>
                      <a:cubicBezTo>
                        <a:pt x="2641" y="846"/>
                        <a:pt x="2649" y="806"/>
                        <a:pt x="2641" y="790"/>
                      </a:cubicBezTo>
                      <a:cubicBezTo>
                        <a:pt x="2625" y="767"/>
                        <a:pt x="2625" y="759"/>
                        <a:pt x="2609" y="751"/>
                      </a:cubicBezTo>
                      <a:cubicBezTo>
                        <a:pt x="2593" y="743"/>
                        <a:pt x="2562" y="743"/>
                        <a:pt x="2538" y="727"/>
                      </a:cubicBezTo>
                      <a:cubicBezTo>
                        <a:pt x="2514" y="711"/>
                        <a:pt x="2522" y="719"/>
                        <a:pt x="2498" y="696"/>
                      </a:cubicBezTo>
                      <a:cubicBezTo>
                        <a:pt x="2482" y="672"/>
                        <a:pt x="2506" y="672"/>
                        <a:pt x="2514" y="680"/>
                      </a:cubicBezTo>
                      <a:cubicBezTo>
                        <a:pt x="2522" y="688"/>
                        <a:pt x="2530" y="704"/>
                        <a:pt x="2562" y="704"/>
                      </a:cubicBezTo>
                      <a:cubicBezTo>
                        <a:pt x="2585" y="704"/>
                        <a:pt x="2585" y="711"/>
                        <a:pt x="2585" y="680"/>
                      </a:cubicBezTo>
                      <a:cubicBezTo>
                        <a:pt x="2585" y="648"/>
                        <a:pt x="2562" y="624"/>
                        <a:pt x="2585" y="624"/>
                      </a:cubicBezTo>
                      <a:cubicBezTo>
                        <a:pt x="2601" y="624"/>
                        <a:pt x="2617" y="593"/>
                        <a:pt x="2609" y="593"/>
                      </a:cubicBezTo>
                      <a:cubicBezTo>
                        <a:pt x="2601" y="585"/>
                        <a:pt x="2585" y="569"/>
                        <a:pt x="2554" y="561"/>
                      </a:cubicBezTo>
                      <a:cubicBezTo>
                        <a:pt x="2530" y="546"/>
                        <a:pt x="2498" y="537"/>
                        <a:pt x="2498" y="506"/>
                      </a:cubicBezTo>
                      <a:cubicBezTo>
                        <a:pt x="2498" y="498"/>
                        <a:pt x="2498" y="490"/>
                        <a:pt x="2498" y="482"/>
                      </a:cubicBezTo>
                      <a:cubicBezTo>
                        <a:pt x="2482" y="482"/>
                        <a:pt x="2443" y="498"/>
                        <a:pt x="2411" y="490"/>
                      </a:cubicBezTo>
                      <a:cubicBezTo>
                        <a:pt x="2372" y="482"/>
                        <a:pt x="2332" y="466"/>
                        <a:pt x="2301" y="459"/>
                      </a:cubicBezTo>
                      <a:cubicBezTo>
                        <a:pt x="2277" y="443"/>
                        <a:pt x="2309" y="435"/>
                        <a:pt x="2301" y="427"/>
                      </a:cubicBezTo>
                      <a:cubicBezTo>
                        <a:pt x="2293" y="411"/>
                        <a:pt x="2253" y="403"/>
                        <a:pt x="2238" y="427"/>
                      </a:cubicBezTo>
                      <a:cubicBezTo>
                        <a:pt x="2214" y="443"/>
                        <a:pt x="2174" y="451"/>
                        <a:pt x="2158" y="427"/>
                      </a:cubicBezTo>
                      <a:cubicBezTo>
                        <a:pt x="2143" y="403"/>
                        <a:pt x="2166" y="348"/>
                        <a:pt x="2190" y="308"/>
                      </a:cubicBezTo>
                      <a:cubicBezTo>
                        <a:pt x="2214" y="269"/>
                        <a:pt x="2206" y="237"/>
                        <a:pt x="2206" y="206"/>
                      </a:cubicBezTo>
                      <a:cubicBezTo>
                        <a:pt x="2206" y="174"/>
                        <a:pt x="2127" y="142"/>
                        <a:pt x="2103" y="126"/>
                      </a:cubicBezTo>
                      <a:cubicBezTo>
                        <a:pt x="2079" y="111"/>
                        <a:pt x="2032" y="126"/>
                        <a:pt x="2024" y="119"/>
                      </a:cubicBezTo>
                      <a:cubicBezTo>
                        <a:pt x="2008" y="103"/>
                        <a:pt x="2008" y="55"/>
                        <a:pt x="2000" y="31"/>
                      </a:cubicBezTo>
                      <a:cubicBezTo>
                        <a:pt x="2000" y="16"/>
                        <a:pt x="1937" y="24"/>
                        <a:pt x="1921" y="24"/>
                      </a:cubicBezTo>
                      <a:cubicBezTo>
                        <a:pt x="1905" y="71"/>
                        <a:pt x="1882" y="103"/>
                        <a:pt x="1850" y="103"/>
                      </a:cubicBezTo>
                      <a:cubicBezTo>
                        <a:pt x="1811" y="95"/>
                        <a:pt x="1739" y="24"/>
                        <a:pt x="1716" y="16"/>
                      </a:cubicBezTo>
                      <a:cubicBezTo>
                        <a:pt x="1692" y="0"/>
                        <a:pt x="1676" y="47"/>
                        <a:pt x="1676" y="87"/>
                      </a:cubicBezTo>
                      <a:cubicBezTo>
                        <a:pt x="1684" y="126"/>
                        <a:pt x="1676" y="174"/>
                        <a:pt x="1668" y="229"/>
                      </a:cubicBezTo>
                      <a:cubicBezTo>
                        <a:pt x="1652" y="293"/>
                        <a:pt x="1645" y="269"/>
                        <a:pt x="1613" y="277"/>
                      </a:cubicBezTo>
                      <a:cubicBezTo>
                        <a:pt x="1581" y="284"/>
                        <a:pt x="1589" y="324"/>
                        <a:pt x="1581" y="356"/>
                      </a:cubicBezTo>
                      <a:cubicBezTo>
                        <a:pt x="1574" y="379"/>
                        <a:pt x="1534" y="364"/>
                        <a:pt x="1502" y="364"/>
                      </a:cubicBezTo>
                      <a:cubicBezTo>
                        <a:pt x="1471" y="364"/>
                        <a:pt x="1502" y="395"/>
                        <a:pt x="1502" y="427"/>
                      </a:cubicBezTo>
                      <a:cubicBezTo>
                        <a:pt x="1502" y="459"/>
                        <a:pt x="1494" y="459"/>
                        <a:pt x="1479" y="451"/>
                      </a:cubicBezTo>
                      <a:cubicBezTo>
                        <a:pt x="1455" y="435"/>
                        <a:pt x="1431" y="482"/>
                        <a:pt x="1439" y="498"/>
                      </a:cubicBezTo>
                      <a:cubicBezTo>
                        <a:pt x="1439" y="522"/>
                        <a:pt x="1439" y="537"/>
                        <a:pt x="1431" y="546"/>
                      </a:cubicBezTo>
                      <a:cubicBezTo>
                        <a:pt x="1415" y="561"/>
                        <a:pt x="1384" y="530"/>
                        <a:pt x="1360" y="506"/>
                      </a:cubicBezTo>
                      <a:cubicBezTo>
                        <a:pt x="1336" y="482"/>
                        <a:pt x="1328" y="506"/>
                        <a:pt x="1281" y="530"/>
                      </a:cubicBezTo>
                      <a:cubicBezTo>
                        <a:pt x="1241" y="553"/>
                        <a:pt x="1273" y="593"/>
                        <a:pt x="1257" y="656"/>
                      </a:cubicBezTo>
                      <a:cubicBezTo>
                        <a:pt x="1241" y="719"/>
                        <a:pt x="1234" y="696"/>
                        <a:pt x="1226" y="743"/>
                      </a:cubicBezTo>
                      <a:cubicBezTo>
                        <a:pt x="1218" y="783"/>
                        <a:pt x="1218" y="783"/>
                        <a:pt x="1186" y="822"/>
                      </a:cubicBezTo>
                      <a:cubicBezTo>
                        <a:pt x="1162" y="862"/>
                        <a:pt x="1162" y="877"/>
                        <a:pt x="1131" y="933"/>
                      </a:cubicBezTo>
                      <a:cubicBezTo>
                        <a:pt x="1099" y="980"/>
                        <a:pt x="1131" y="957"/>
                        <a:pt x="1170" y="972"/>
                      </a:cubicBezTo>
                      <a:cubicBezTo>
                        <a:pt x="1210" y="988"/>
                        <a:pt x="1178" y="1004"/>
                        <a:pt x="1162" y="1004"/>
                      </a:cubicBezTo>
                      <a:cubicBezTo>
                        <a:pt x="1139" y="1004"/>
                        <a:pt x="1131" y="1067"/>
                        <a:pt x="1099" y="1083"/>
                      </a:cubicBezTo>
                      <a:cubicBezTo>
                        <a:pt x="1068" y="1098"/>
                        <a:pt x="1052" y="1075"/>
                        <a:pt x="1059" y="1098"/>
                      </a:cubicBezTo>
                      <a:cubicBezTo>
                        <a:pt x="1059" y="1114"/>
                        <a:pt x="1012" y="1129"/>
                        <a:pt x="941" y="1137"/>
                      </a:cubicBezTo>
                      <a:cubicBezTo>
                        <a:pt x="870" y="1153"/>
                        <a:pt x="925" y="1169"/>
                        <a:pt x="917" y="1185"/>
                      </a:cubicBezTo>
                      <a:cubicBezTo>
                        <a:pt x="901" y="1193"/>
                        <a:pt x="838" y="1232"/>
                        <a:pt x="775" y="1216"/>
                      </a:cubicBezTo>
                      <a:cubicBezTo>
                        <a:pt x="712" y="1193"/>
                        <a:pt x="751" y="1216"/>
                        <a:pt x="720" y="1264"/>
                      </a:cubicBezTo>
                      <a:cubicBezTo>
                        <a:pt x="680" y="1311"/>
                        <a:pt x="688" y="1240"/>
                        <a:pt x="593" y="1224"/>
                      </a:cubicBezTo>
                      <a:cubicBezTo>
                        <a:pt x="498" y="1200"/>
                        <a:pt x="554" y="1185"/>
                        <a:pt x="530" y="1153"/>
                      </a:cubicBezTo>
                      <a:lnTo>
                        <a:pt x="530" y="1145"/>
                      </a:lnTo>
                      <a:cubicBezTo>
                        <a:pt x="506" y="1177"/>
                        <a:pt x="467" y="1216"/>
                        <a:pt x="459" y="1232"/>
                      </a:cubicBezTo>
                      <a:cubicBezTo>
                        <a:pt x="443" y="1248"/>
                        <a:pt x="380" y="1303"/>
                        <a:pt x="364" y="1319"/>
                      </a:cubicBezTo>
                      <a:cubicBezTo>
                        <a:pt x="340" y="1327"/>
                        <a:pt x="301" y="1351"/>
                        <a:pt x="301" y="1375"/>
                      </a:cubicBezTo>
                      <a:cubicBezTo>
                        <a:pt x="301" y="1398"/>
                        <a:pt x="277" y="1422"/>
                        <a:pt x="269" y="1430"/>
                      </a:cubicBezTo>
                      <a:cubicBezTo>
                        <a:pt x="261" y="1438"/>
                        <a:pt x="253" y="1422"/>
                        <a:pt x="253" y="1453"/>
                      </a:cubicBezTo>
                      <a:cubicBezTo>
                        <a:pt x="245" y="1485"/>
                        <a:pt x="253" y="1485"/>
                        <a:pt x="229" y="1493"/>
                      </a:cubicBezTo>
                      <a:cubicBezTo>
                        <a:pt x="214" y="1509"/>
                        <a:pt x="182" y="1493"/>
                        <a:pt x="174" y="1533"/>
                      </a:cubicBezTo>
                      <a:cubicBezTo>
                        <a:pt x="166" y="1572"/>
                        <a:pt x="158" y="1588"/>
                        <a:pt x="142" y="1588"/>
                      </a:cubicBezTo>
                      <a:cubicBezTo>
                        <a:pt x="119" y="1588"/>
                        <a:pt x="119" y="1564"/>
                        <a:pt x="95" y="1588"/>
                      </a:cubicBezTo>
                      <a:cubicBezTo>
                        <a:pt x="87" y="1604"/>
                        <a:pt x="40" y="1635"/>
                        <a:pt x="0" y="1667"/>
                      </a:cubicBezTo>
                      <a:cubicBezTo>
                        <a:pt x="293" y="1627"/>
                        <a:pt x="514" y="1588"/>
                        <a:pt x="546" y="1588"/>
                      </a:cubicBezTo>
                      <a:cubicBezTo>
                        <a:pt x="617" y="1572"/>
                        <a:pt x="704" y="1556"/>
                        <a:pt x="728" y="1564"/>
                      </a:cubicBezTo>
                      <a:cubicBezTo>
                        <a:pt x="751" y="1572"/>
                        <a:pt x="822" y="1556"/>
                        <a:pt x="822" y="1556"/>
                      </a:cubicBezTo>
                      <a:cubicBezTo>
                        <a:pt x="1700" y="1446"/>
                        <a:pt x="2704" y="1209"/>
                        <a:pt x="2878" y="1169"/>
                      </a:cubicBezTo>
                      <a:cubicBezTo>
                        <a:pt x="2862" y="1153"/>
                        <a:pt x="2862" y="1161"/>
                        <a:pt x="2846" y="1122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7" name="Freeform 780">
                  <a:extLst>
                    <a:ext uri="{FF2B5EF4-FFF2-40B4-BE49-F238E27FC236}">
                      <a16:creationId xmlns:a16="http://schemas.microsoft.com/office/drawing/2014/main" id="{E322F322-E176-114F-A8AA-024CCF9ADD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25244" y="5716089"/>
                  <a:ext cx="1523785" cy="872059"/>
                </a:xfrm>
                <a:custGeom>
                  <a:avLst/>
                  <a:gdLst>
                    <a:gd name="T0" fmla="*/ 143 w 2895"/>
                    <a:gd name="T1" fmla="*/ 1572 h 1660"/>
                    <a:gd name="T2" fmla="*/ 261 w 2895"/>
                    <a:gd name="T3" fmla="*/ 1469 h 1660"/>
                    <a:gd name="T4" fmla="*/ 380 w 2895"/>
                    <a:gd name="T5" fmla="*/ 1303 h 1660"/>
                    <a:gd name="T6" fmla="*/ 554 w 2895"/>
                    <a:gd name="T7" fmla="*/ 1177 h 1660"/>
                    <a:gd name="T8" fmla="*/ 744 w 2895"/>
                    <a:gd name="T9" fmla="*/ 1216 h 1660"/>
                    <a:gd name="T10" fmla="*/ 917 w 2895"/>
                    <a:gd name="T11" fmla="*/ 1145 h 1660"/>
                    <a:gd name="T12" fmla="*/ 1091 w 2895"/>
                    <a:gd name="T13" fmla="*/ 1075 h 1660"/>
                    <a:gd name="T14" fmla="*/ 1155 w 2895"/>
                    <a:gd name="T15" fmla="*/ 964 h 1660"/>
                    <a:gd name="T16" fmla="*/ 1242 w 2895"/>
                    <a:gd name="T17" fmla="*/ 735 h 1660"/>
                    <a:gd name="T18" fmla="*/ 1360 w 2895"/>
                    <a:gd name="T19" fmla="*/ 482 h 1660"/>
                    <a:gd name="T20" fmla="*/ 1447 w 2895"/>
                    <a:gd name="T21" fmla="*/ 490 h 1660"/>
                    <a:gd name="T22" fmla="*/ 1503 w 2895"/>
                    <a:gd name="T23" fmla="*/ 356 h 1660"/>
                    <a:gd name="T24" fmla="*/ 1629 w 2895"/>
                    <a:gd name="T25" fmla="*/ 269 h 1660"/>
                    <a:gd name="T26" fmla="*/ 1771 w 2895"/>
                    <a:gd name="T27" fmla="*/ 23 h 1660"/>
                    <a:gd name="T28" fmla="*/ 2024 w 2895"/>
                    <a:gd name="T29" fmla="*/ 23 h 1660"/>
                    <a:gd name="T30" fmla="*/ 2127 w 2895"/>
                    <a:gd name="T31" fmla="*/ 118 h 1660"/>
                    <a:gd name="T32" fmla="*/ 2206 w 2895"/>
                    <a:gd name="T33" fmla="*/ 427 h 1660"/>
                    <a:gd name="T34" fmla="*/ 2325 w 2895"/>
                    <a:gd name="T35" fmla="*/ 443 h 1660"/>
                    <a:gd name="T36" fmla="*/ 2514 w 2895"/>
                    <a:gd name="T37" fmla="*/ 482 h 1660"/>
                    <a:gd name="T38" fmla="*/ 2601 w 2895"/>
                    <a:gd name="T39" fmla="*/ 616 h 1660"/>
                    <a:gd name="T40" fmla="*/ 2593 w 2895"/>
                    <a:gd name="T41" fmla="*/ 703 h 1660"/>
                    <a:gd name="T42" fmla="*/ 2514 w 2895"/>
                    <a:gd name="T43" fmla="*/ 672 h 1660"/>
                    <a:gd name="T44" fmla="*/ 2649 w 2895"/>
                    <a:gd name="T45" fmla="*/ 759 h 1660"/>
                    <a:gd name="T46" fmla="*/ 2601 w 2895"/>
                    <a:gd name="T47" fmla="*/ 814 h 1660"/>
                    <a:gd name="T48" fmla="*/ 2578 w 2895"/>
                    <a:gd name="T49" fmla="*/ 893 h 1660"/>
                    <a:gd name="T50" fmla="*/ 2665 w 2895"/>
                    <a:gd name="T51" fmla="*/ 925 h 1660"/>
                    <a:gd name="T52" fmla="*/ 2649 w 2895"/>
                    <a:gd name="T53" fmla="*/ 1012 h 1660"/>
                    <a:gd name="T54" fmla="*/ 2522 w 2895"/>
                    <a:gd name="T55" fmla="*/ 941 h 1660"/>
                    <a:gd name="T56" fmla="*/ 2649 w 2895"/>
                    <a:gd name="T57" fmla="*/ 1043 h 1660"/>
                    <a:gd name="T58" fmla="*/ 2736 w 2895"/>
                    <a:gd name="T59" fmla="*/ 996 h 1660"/>
                    <a:gd name="T60" fmla="*/ 2894 w 2895"/>
                    <a:gd name="T61" fmla="*/ 1153 h 1660"/>
                    <a:gd name="T62" fmla="*/ 720 w 2895"/>
                    <a:gd name="T63" fmla="*/ 1556 h 1660"/>
                    <a:gd name="T64" fmla="*/ 119 w 2895"/>
                    <a:gd name="T65" fmla="*/ 1588 h 1660"/>
                    <a:gd name="T66" fmla="*/ 838 w 2895"/>
                    <a:gd name="T67" fmla="*/ 1548 h 1660"/>
                    <a:gd name="T68" fmla="*/ 2760 w 2895"/>
                    <a:gd name="T69" fmla="*/ 1004 h 1660"/>
                    <a:gd name="T70" fmla="*/ 2665 w 2895"/>
                    <a:gd name="T71" fmla="*/ 1043 h 1660"/>
                    <a:gd name="T72" fmla="*/ 2514 w 2895"/>
                    <a:gd name="T73" fmla="*/ 949 h 1660"/>
                    <a:gd name="T74" fmla="*/ 2649 w 2895"/>
                    <a:gd name="T75" fmla="*/ 1004 h 1660"/>
                    <a:gd name="T76" fmla="*/ 2665 w 2895"/>
                    <a:gd name="T77" fmla="*/ 933 h 1660"/>
                    <a:gd name="T78" fmla="*/ 2570 w 2895"/>
                    <a:gd name="T79" fmla="*/ 893 h 1660"/>
                    <a:gd name="T80" fmla="*/ 2593 w 2895"/>
                    <a:gd name="T81" fmla="*/ 806 h 1660"/>
                    <a:gd name="T82" fmla="*/ 2641 w 2895"/>
                    <a:gd name="T83" fmla="*/ 767 h 1660"/>
                    <a:gd name="T84" fmla="*/ 2507 w 2895"/>
                    <a:gd name="T85" fmla="*/ 664 h 1660"/>
                    <a:gd name="T86" fmla="*/ 2593 w 2895"/>
                    <a:gd name="T87" fmla="*/ 696 h 1660"/>
                    <a:gd name="T88" fmla="*/ 2601 w 2895"/>
                    <a:gd name="T89" fmla="*/ 616 h 1660"/>
                    <a:gd name="T90" fmla="*/ 2507 w 2895"/>
                    <a:gd name="T91" fmla="*/ 482 h 1660"/>
                    <a:gd name="T92" fmla="*/ 2309 w 2895"/>
                    <a:gd name="T93" fmla="*/ 427 h 1660"/>
                    <a:gd name="T94" fmla="*/ 2206 w 2895"/>
                    <a:gd name="T95" fmla="*/ 300 h 1660"/>
                    <a:gd name="T96" fmla="*/ 2072 w 2895"/>
                    <a:gd name="T97" fmla="*/ 111 h 1660"/>
                    <a:gd name="T98" fmla="*/ 1937 w 2895"/>
                    <a:gd name="T99" fmla="*/ 16 h 1660"/>
                    <a:gd name="T100" fmla="*/ 1684 w 2895"/>
                    <a:gd name="T101" fmla="*/ 221 h 1660"/>
                    <a:gd name="T102" fmla="*/ 1550 w 2895"/>
                    <a:gd name="T103" fmla="*/ 363 h 1660"/>
                    <a:gd name="T104" fmla="*/ 1487 w 2895"/>
                    <a:gd name="T105" fmla="*/ 443 h 1660"/>
                    <a:gd name="T106" fmla="*/ 1376 w 2895"/>
                    <a:gd name="T107" fmla="*/ 506 h 1660"/>
                    <a:gd name="T108" fmla="*/ 1257 w 2895"/>
                    <a:gd name="T109" fmla="*/ 703 h 1660"/>
                    <a:gd name="T110" fmla="*/ 1139 w 2895"/>
                    <a:gd name="T111" fmla="*/ 956 h 1660"/>
                    <a:gd name="T112" fmla="*/ 1115 w 2895"/>
                    <a:gd name="T113" fmla="*/ 1075 h 1660"/>
                    <a:gd name="T114" fmla="*/ 957 w 2895"/>
                    <a:gd name="T115" fmla="*/ 1137 h 1660"/>
                    <a:gd name="T116" fmla="*/ 759 w 2895"/>
                    <a:gd name="T117" fmla="*/ 1201 h 1660"/>
                    <a:gd name="T118" fmla="*/ 554 w 2895"/>
                    <a:gd name="T119" fmla="*/ 1192 h 1660"/>
                    <a:gd name="T120" fmla="*/ 293 w 2895"/>
                    <a:gd name="T121" fmla="*/ 1422 h 1660"/>
                    <a:gd name="T122" fmla="*/ 230 w 2895"/>
                    <a:gd name="T123" fmla="*/ 1493 h 16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95" h="1660">
                      <a:moveTo>
                        <a:pt x="0" y="1659"/>
                      </a:moveTo>
                      <a:lnTo>
                        <a:pt x="0" y="1659"/>
                      </a:lnTo>
                      <a:cubicBezTo>
                        <a:pt x="8" y="1651"/>
                        <a:pt x="8" y="1651"/>
                        <a:pt x="8" y="1651"/>
                      </a:cubicBezTo>
                      <a:cubicBezTo>
                        <a:pt x="64" y="1619"/>
                        <a:pt x="103" y="1588"/>
                        <a:pt x="111" y="1580"/>
                      </a:cubicBezTo>
                      <a:cubicBezTo>
                        <a:pt x="119" y="1572"/>
                        <a:pt x="127" y="1564"/>
                        <a:pt x="135" y="1564"/>
                      </a:cubicBezTo>
                      <a:lnTo>
                        <a:pt x="143" y="1572"/>
                      </a:lnTo>
                      <a:cubicBezTo>
                        <a:pt x="151" y="1572"/>
                        <a:pt x="151" y="1572"/>
                        <a:pt x="158" y="1572"/>
                      </a:cubicBezTo>
                      <a:cubicBezTo>
                        <a:pt x="174" y="1572"/>
                        <a:pt x="174" y="1564"/>
                        <a:pt x="182" y="1532"/>
                      </a:cubicBezTo>
                      <a:lnTo>
                        <a:pt x="182" y="1525"/>
                      </a:lnTo>
                      <a:cubicBezTo>
                        <a:pt x="190" y="1493"/>
                        <a:pt x="214" y="1493"/>
                        <a:pt x="230" y="1493"/>
                      </a:cubicBezTo>
                      <a:cubicBezTo>
                        <a:pt x="238" y="1485"/>
                        <a:pt x="245" y="1485"/>
                        <a:pt x="245" y="1485"/>
                      </a:cubicBezTo>
                      <a:cubicBezTo>
                        <a:pt x="261" y="1477"/>
                        <a:pt x="261" y="1477"/>
                        <a:pt x="261" y="1469"/>
                      </a:cubicBezTo>
                      <a:cubicBezTo>
                        <a:pt x="261" y="1461"/>
                        <a:pt x="261" y="1454"/>
                        <a:pt x="261" y="1445"/>
                      </a:cubicBezTo>
                      <a:cubicBezTo>
                        <a:pt x="261" y="1430"/>
                        <a:pt x="269" y="1422"/>
                        <a:pt x="277" y="1422"/>
                      </a:cubicBezTo>
                      <a:cubicBezTo>
                        <a:pt x="277" y="1422"/>
                        <a:pt x="277" y="1422"/>
                        <a:pt x="285" y="1422"/>
                      </a:cubicBezTo>
                      <a:lnTo>
                        <a:pt x="285" y="1414"/>
                      </a:lnTo>
                      <a:cubicBezTo>
                        <a:pt x="293" y="1406"/>
                        <a:pt x="317" y="1382"/>
                        <a:pt x="317" y="1367"/>
                      </a:cubicBezTo>
                      <a:cubicBezTo>
                        <a:pt x="317" y="1343"/>
                        <a:pt x="356" y="1319"/>
                        <a:pt x="380" y="1303"/>
                      </a:cubicBezTo>
                      <a:cubicBezTo>
                        <a:pt x="396" y="1295"/>
                        <a:pt x="459" y="1240"/>
                        <a:pt x="467" y="1224"/>
                      </a:cubicBezTo>
                      <a:cubicBezTo>
                        <a:pt x="475" y="1208"/>
                        <a:pt x="522" y="1161"/>
                        <a:pt x="538" y="1137"/>
                      </a:cubicBezTo>
                      <a:cubicBezTo>
                        <a:pt x="546" y="1137"/>
                        <a:pt x="546" y="1137"/>
                        <a:pt x="546" y="1137"/>
                      </a:cubicBezTo>
                      <a:lnTo>
                        <a:pt x="546" y="1137"/>
                      </a:lnTo>
                      <a:cubicBezTo>
                        <a:pt x="546" y="1137"/>
                        <a:pt x="546" y="1137"/>
                        <a:pt x="554" y="1145"/>
                      </a:cubicBezTo>
                      <a:cubicBezTo>
                        <a:pt x="562" y="1153"/>
                        <a:pt x="554" y="1169"/>
                        <a:pt x="554" y="1177"/>
                      </a:cubicBezTo>
                      <a:cubicBezTo>
                        <a:pt x="554" y="1185"/>
                        <a:pt x="554" y="1185"/>
                        <a:pt x="554" y="1192"/>
                      </a:cubicBezTo>
                      <a:cubicBezTo>
                        <a:pt x="562" y="1201"/>
                        <a:pt x="578" y="1201"/>
                        <a:pt x="609" y="1208"/>
                      </a:cubicBezTo>
                      <a:cubicBezTo>
                        <a:pt x="657" y="1224"/>
                        <a:pt x="680" y="1240"/>
                        <a:pt x="696" y="1256"/>
                      </a:cubicBezTo>
                      <a:cubicBezTo>
                        <a:pt x="704" y="1264"/>
                        <a:pt x="712" y="1272"/>
                        <a:pt x="712" y="1272"/>
                      </a:cubicBezTo>
                      <a:cubicBezTo>
                        <a:pt x="720" y="1272"/>
                        <a:pt x="720" y="1264"/>
                        <a:pt x="728" y="1256"/>
                      </a:cubicBezTo>
                      <a:cubicBezTo>
                        <a:pt x="744" y="1240"/>
                        <a:pt x="744" y="1224"/>
                        <a:pt x="744" y="1216"/>
                      </a:cubicBezTo>
                      <a:cubicBezTo>
                        <a:pt x="744" y="1201"/>
                        <a:pt x="751" y="1192"/>
                        <a:pt x="759" y="1192"/>
                      </a:cubicBezTo>
                      <a:cubicBezTo>
                        <a:pt x="767" y="1192"/>
                        <a:pt x="775" y="1201"/>
                        <a:pt x="791" y="1201"/>
                      </a:cubicBezTo>
                      <a:cubicBezTo>
                        <a:pt x="799" y="1201"/>
                        <a:pt x="815" y="1208"/>
                        <a:pt x="822" y="1208"/>
                      </a:cubicBezTo>
                      <a:cubicBezTo>
                        <a:pt x="870" y="1208"/>
                        <a:pt x="917" y="1185"/>
                        <a:pt x="925" y="1169"/>
                      </a:cubicBezTo>
                      <a:cubicBezTo>
                        <a:pt x="933" y="1169"/>
                        <a:pt x="933" y="1169"/>
                        <a:pt x="925" y="1161"/>
                      </a:cubicBezTo>
                      <a:cubicBezTo>
                        <a:pt x="917" y="1153"/>
                        <a:pt x="917" y="1153"/>
                        <a:pt x="917" y="1145"/>
                      </a:cubicBezTo>
                      <a:cubicBezTo>
                        <a:pt x="925" y="1137"/>
                        <a:pt x="933" y="1137"/>
                        <a:pt x="957" y="1129"/>
                      </a:cubicBezTo>
                      <a:cubicBezTo>
                        <a:pt x="965" y="1129"/>
                        <a:pt x="965" y="1129"/>
                        <a:pt x="965" y="1129"/>
                      </a:cubicBezTo>
                      <a:cubicBezTo>
                        <a:pt x="1020" y="1114"/>
                        <a:pt x="1075" y="1106"/>
                        <a:pt x="1068" y="1090"/>
                      </a:cubicBezTo>
                      <a:cubicBezTo>
                        <a:pt x="1068" y="1082"/>
                        <a:pt x="1068" y="1082"/>
                        <a:pt x="1068" y="1075"/>
                      </a:cubicBezTo>
                      <a:cubicBezTo>
                        <a:pt x="1075" y="1075"/>
                        <a:pt x="1075" y="1075"/>
                        <a:pt x="1084" y="1075"/>
                      </a:cubicBezTo>
                      <a:lnTo>
                        <a:pt x="1091" y="1075"/>
                      </a:lnTo>
                      <a:cubicBezTo>
                        <a:pt x="1099" y="1075"/>
                        <a:pt x="1107" y="1075"/>
                        <a:pt x="1115" y="1075"/>
                      </a:cubicBezTo>
                      <a:cubicBezTo>
                        <a:pt x="1131" y="1067"/>
                        <a:pt x="1139" y="1043"/>
                        <a:pt x="1147" y="1028"/>
                      </a:cubicBezTo>
                      <a:cubicBezTo>
                        <a:pt x="1155" y="1012"/>
                        <a:pt x="1163" y="996"/>
                        <a:pt x="1178" y="996"/>
                      </a:cubicBezTo>
                      <a:cubicBezTo>
                        <a:pt x="1186" y="996"/>
                        <a:pt x="1202" y="988"/>
                        <a:pt x="1202" y="980"/>
                      </a:cubicBezTo>
                      <a:cubicBezTo>
                        <a:pt x="1202" y="980"/>
                        <a:pt x="1202" y="972"/>
                        <a:pt x="1186" y="972"/>
                      </a:cubicBezTo>
                      <a:cubicBezTo>
                        <a:pt x="1170" y="964"/>
                        <a:pt x="1163" y="964"/>
                        <a:pt x="1155" y="964"/>
                      </a:cubicBezTo>
                      <a:cubicBezTo>
                        <a:pt x="1139" y="964"/>
                        <a:pt x="1131" y="964"/>
                        <a:pt x="1131" y="956"/>
                      </a:cubicBezTo>
                      <a:cubicBezTo>
                        <a:pt x="1131" y="949"/>
                        <a:pt x="1131" y="941"/>
                        <a:pt x="1147" y="925"/>
                      </a:cubicBezTo>
                      <a:cubicBezTo>
                        <a:pt x="1163" y="901"/>
                        <a:pt x="1163" y="877"/>
                        <a:pt x="1170" y="862"/>
                      </a:cubicBezTo>
                      <a:cubicBezTo>
                        <a:pt x="1178" y="846"/>
                        <a:pt x="1186" y="830"/>
                        <a:pt x="1202" y="806"/>
                      </a:cubicBezTo>
                      <a:cubicBezTo>
                        <a:pt x="1210" y="806"/>
                        <a:pt x="1210" y="798"/>
                        <a:pt x="1218" y="790"/>
                      </a:cubicBezTo>
                      <a:cubicBezTo>
                        <a:pt x="1234" y="767"/>
                        <a:pt x="1234" y="767"/>
                        <a:pt x="1242" y="735"/>
                      </a:cubicBezTo>
                      <a:cubicBezTo>
                        <a:pt x="1242" y="711"/>
                        <a:pt x="1242" y="703"/>
                        <a:pt x="1250" y="696"/>
                      </a:cubicBezTo>
                      <a:cubicBezTo>
                        <a:pt x="1257" y="688"/>
                        <a:pt x="1257" y="680"/>
                        <a:pt x="1265" y="648"/>
                      </a:cubicBezTo>
                      <a:cubicBezTo>
                        <a:pt x="1273" y="624"/>
                        <a:pt x="1273" y="601"/>
                        <a:pt x="1273" y="585"/>
                      </a:cubicBezTo>
                      <a:cubicBezTo>
                        <a:pt x="1273" y="553"/>
                        <a:pt x="1273" y="529"/>
                        <a:pt x="1297" y="514"/>
                      </a:cubicBezTo>
                      <a:cubicBezTo>
                        <a:pt x="1313" y="514"/>
                        <a:pt x="1321" y="506"/>
                        <a:pt x="1328" y="498"/>
                      </a:cubicBezTo>
                      <a:cubicBezTo>
                        <a:pt x="1337" y="490"/>
                        <a:pt x="1344" y="482"/>
                        <a:pt x="1360" y="482"/>
                      </a:cubicBezTo>
                      <a:cubicBezTo>
                        <a:pt x="1368" y="482"/>
                        <a:pt x="1368" y="490"/>
                        <a:pt x="1376" y="498"/>
                      </a:cubicBezTo>
                      <a:cubicBezTo>
                        <a:pt x="1384" y="498"/>
                        <a:pt x="1384" y="498"/>
                        <a:pt x="1384" y="498"/>
                      </a:cubicBezTo>
                      <a:cubicBezTo>
                        <a:pt x="1400" y="514"/>
                        <a:pt x="1423" y="538"/>
                        <a:pt x="1439" y="538"/>
                      </a:cubicBezTo>
                      <a:lnTo>
                        <a:pt x="1439" y="538"/>
                      </a:lnTo>
                      <a:cubicBezTo>
                        <a:pt x="1455" y="522"/>
                        <a:pt x="1447" y="514"/>
                        <a:pt x="1447" y="498"/>
                      </a:cubicBezTo>
                      <a:cubicBezTo>
                        <a:pt x="1447" y="490"/>
                        <a:pt x="1447" y="490"/>
                        <a:pt x="1447" y="490"/>
                      </a:cubicBezTo>
                      <a:cubicBezTo>
                        <a:pt x="1447" y="482"/>
                        <a:pt x="1455" y="458"/>
                        <a:pt x="1463" y="443"/>
                      </a:cubicBezTo>
                      <a:cubicBezTo>
                        <a:pt x="1479" y="435"/>
                        <a:pt x="1487" y="427"/>
                        <a:pt x="1495" y="435"/>
                      </a:cubicBezTo>
                      <a:cubicBezTo>
                        <a:pt x="1503" y="443"/>
                        <a:pt x="1503" y="443"/>
                        <a:pt x="1510" y="443"/>
                      </a:cubicBezTo>
                      <a:cubicBezTo>
                        <a:pt x="1510" y="443"/>
                        <a:pt x="1510" y="443"/>
                        <a:pt x="1510" y="419"/>
                      </a:cubicBezTo>
                      <a:cubicBezTo>
                        <a:pt x="1510" y="403"/>
                        <a:pt x="1510" y="395"/>
                        <a:pt x="1503" y="387"/>
                      </a:cubicBezTo>
                      <a:cubicBezTo>
                        <a:pt x="1503" y="371"/>
                        <a:pt x="1503" y="363"/>
                        <a:pt x="1503" y="356"/>
                      </a:cubicBezTo>
                      <a:cubicBezTo>
                        <a:pt x="1503" y="356"/>
                        <a:pt x="1510" y="356"/>
                        <a:pt x="1518" y="356"/>
                      </a:cubicBezTo>
                      <a:cubicBezTo>
                        <a:pt x="1526" y="356"/>
                        <a:pt x="1542" y="356"/>
                        <a:pt x="1550" y="356"/>
                      </a:cubicBezTo>
                      <a:cubicBezTo>
                        <a:pt x="1558" y="356"/>
                        <a:pt x="1566" y="356"/>
                        <a:pt x="1574" y="356"/>
                      </a:cubicBezTo>
                      <a:cubicBezTo>
                        <a:pt x="1581" y="356"/>
                        <a:pt x="1590" y="356"/>
                        <a:pt x="1590" y="348"/>
                      </a:cubicBezTo>
                      <a:cubicBezTo>
                        <a:pt x="1597" y="340"/>
                        <a:pt x="1597" y="324"/>
                        <a:pt x="1597" y="316"/>
                      </a:cubicBezTo>
                      <a:cubicBezTo>
                        <a:pt x="1597" y="300"/>
                        <a:pt x="1597" y="276"/>
                        <a:pt x="1629" y="269"/>
                      </a:cubicBezTo>
                      <a:cubicBezTo>
                        <a:pt x="1637" y="269"/>
                        <a:pt x="1645" y="269"/>
                        <a:pt x="1645" y="269"/>
                      </a:cubicBezTo>
                      <a:cubicBezTo>
                        <a:pt x="1661" y="261"/>
                        <a:pt x="1668" y="261"/>
                        <a:pt x="1676" y="221"/>
                      </a:cubicBezTo>
                      <a:cubicBezTo>
                        <a:pt x="1692" y="158"/>
                        <a:pt x="1692" y="111"/>
                        <a:pt x="1692" y="79"/>
                      </a:cubicBezTo>
                      <a:cubicBezTo>
                        <a:pt x="1692" y="55"/>
                        <a:pt x="1692" y="16"/>
                        <a:pt x="1708" y="8"/>
                      </a:cubicBezTo>
                      <a:cubicBezTo>
                        <a:pt x="1716" y="0"/>
                        <a:pt x="1724" y="0"/>
                        <a:pt x="1732" y="0"/>
                      </a:cubicBezTo>
                      <a:cubicBezTo>
                        <a:pt x="1740" y="8"/>
                        <a:pt x="1755" y="16"/>
                        <a:pt x="1771" y="23"/>
                      </a:cubicBezTo>
                      <a:cubicBezTo>
                        <a:pt x="1803" y="47"/>
                        <a:pt x="1843" y="87"/>
                        <a:pt x="1866" y="87"/>
                      </a:cubicBezTo>
                      <a:cubicBezTo>
                        <a:pt x="1890" y="95"/>
                        <a:pt x="1914" y="63"/>
                        <a:pt x="1937" y="16"/>
                      </a:cubicBezTo>
                      <a:lnTo>
                        <a:pt x="1937" y="16"/>
                      </a:lnTo>
                      <a:lnTo>
                        <a:pt x="1937" y="16"/>
                      </a:lnTo>
                      <a:cubicBezTo>
                        <a:pt x="1945" y="8"/>
                        <a:pt x="1961" y="8"/>
                        <a:pt x="1977" y="8"/>
                      </a:cubicBezTo>
                      <a:cubicBezTo>
                        <a:pt x="2008" y="8"/>
                        <a:pt x="2024" y="16"/>
                        <a:pt x="2024" y="23"/>
                      </a:cubicBezTo>
                      <a:cubicBezTo>
                        <a:pt x="2024" y="32"/>
                        <a:pt x="2024" y="39"/>
                        <a:pt x="2024" y="47"/>
                      </a:cubicBezTo>
                      <a:cubicBezTo>
                        <a:pt x="2032" y="71"/>
                        <a:pt x="2032" y="95"/>
                        <a:pt x="2040" y="103"/>
                      </a:cubicBezTo>
                      <a:cubicBezTo>
                        <a:pt x="2040" y="103"/>
                        <a:pt x="2048" y="111"/>
                        <a:pt x="2056" y="111"/>
                      </a:cubicBezTo>
                      <a:cubicBezTo>
                        <a:pt x="2056" y="111"/>
                        <a:pt x="2064" y="103"/>
                        <a:pt x="2072" y="103"/>
                      </a:cubicBezTo>
                      <a:cubicBezTo>
                        <a:pt x="2072" y="103"/>
                        <a:pt x="2080" y="103"/>
                        <a:pt x="2087" y="103"/>
                      </a:cubicBezTo>
                      <a:cubicBezTo>
                        <a:pt x="2095" y="103"/>
                        <a:pt x="2111" y="111"/>
                        <a:pt x="2127" y="118"/>
                      </a:cubicBezTo>
                      <a:cubicBezTo>
                        <a:pt x="2127" y="118"/>
                        <a:pt x="2135" y="126"/>
                        <a:pt x="2151" y="126"/>
                      </a:cubicBezTo>
                      <a:cubicBezTo>
                        <a:pt x="2182" y="150"/>
                        <a:pt x="2222" y="174"/>
                        <a:pt x="2230" y="198"/>
                      </a:cubicBezTo>
                      <a:cubicBezTo>
                        <a:pt x="2230" y="205"/>
                        <a:pt x="2230" y="205"/>
                        <a:pt x="2230" y="213"/>
                      </a:cubicBezTo>
                      <a:cubicBezTo>
                        <a:pt x="2230" y="245"/>
                        <a:pt x="2230" y="269"/>
                        <a:pt x="2214" y="300"/>
                      </a:cubicBezTo>
                      <a:cubicBezTo>
                        <a:pt x="2182" y="356"/>
                        <a:pt x="2167" y="403"/>
                        <a:pt x="2182" y="419"/>
                      </a:cubicBezTo>
                      <a:cubicBezTo>
                        <a:pt x="2182" y="427"/>
                        <a:pt x="2198" y="427"/>
                        <a:pt x="2206" y="427"/>
                      </a:cubicBezTo>
                      <a:cubicBezTo>
                        <a:pt x="2222" y="427"/>
                        <a:pt x="2238" y="427"/>
                        <a:pt x="2245" y="411"/>
                      </a:cubicBezTo>
                      <a:cubicBezTo>
                        <a:pt x="2254" y="403"/>
                        <a:pt x="2269" y="403"/>
                        <a:pt x="2285" y="403"/>
                      </a:cubicBezTo>
                      <a:cubicBezTo>
                        <a:pt x="2293" y="403"/>
                        <a:pt x="2309" y="403"/>
                        <a:pt x="2317" y="419"/>
                      </a:cubicBezTo>
                      <a:cubicBezTo>
                        <a:pt x="2325" y="427"/>
                        <a:pt x="2317" y="427"/>
                        <a:pt x="2317" y="435"/>
                      </a:cubicBezTo>
                      <a:cubicBezTo>
                        <a:pt x="2317" y="435"/>
                        <a:pt x="2309" y="435"/>
                        <a:pt x="2309" y="443"/>
                      </a:cubicBezTo>
                      <a:cubicBezTo>
                        <a:pt x="2309" y="443"/>
                        <a:pt x="2317" y="443"/>
                        <a:pt x="2325" y="443"/>
                      </a:cubicBezTo>
                      <a:cubicBezTo>
                        <a:pt x="2348" y="458"/>
                        <a:pt x="2396" y="474"/>
                        <a:pt x="2427" y="482"/>
                      </a:cubicBezTo>
                      <a:cubicBezTo>
                        <a:pt x="2427" y="482"/>
                        <a:pt x="2435" y="482"/>
                        <a:pt x="2443" y="482"/>
                      </a:cubicBezTo>
                      <a:cubicBezTo>
                        <a:pt x="2451" y="482"/>
                        <a:pt x="2467" y="482"/>
                        <a:pt x="2475" y="474"/>
                      </a:cubicBezTo>
                      <a:cubicBezTo>
                        <a:pt x="2491" y="474"/>
                        <a:pt x="2507" y="474"/>
                        <a:pt x="2514" y="474"/>
                      </a:cubicBezTo>
                      <a:lnTo>
                        <a:pt x="2514" y="474"/>
                      </a:lnTo>
                      <a:cubicBezTo>
                        <a:pt x="2514" y="482"/>
                        <a:pt x="2514" y="482"/>
                        <a:pt x="2514" y="482"/>
                      </a:cubicBezTo>
                      <a:cubicBezTo>
                        <a:pt x="2514" y="482"/>
                        <a:pt x="2514" y="490"/>
                        <a:pt x="2514" y="498"/>
                      </a:cubicBezTo>
                      <a:cubicBezTo>
                        <a:pt x="2514" y="522"/>
                        <a:pt x="2546" y="538"/>
                        <a:pt x="2570" y="545"/>
                      </a:cubicBezTo>
                      <a:lnTo>
                        <a:pt x="2570" y="545"/>
                      </a:lnTo>
                      <a:cubicBezTo>
                        <a:pt x="2593" y="553"/>
                        <a:pt x="2625" y="569"/>
                        <a:pt x="2625" y="577"/>
                      </a:cubicBezTo>
                      <a:cubicBezTo>
                        <a:pt x="2633" y="585"/>
                        <a:pt x="2625" y="593"/>
                        <a:pt x="2625" y="601"/>
                      </a:cubicBezTo>
                      <a:cubicBezTo>
                        <a:pt x="2617" y="609"/>
                        <a:pt x="2609" y="616"/>
                        <a:pt x="2601" y="616"/>
                      </a:cubicBezTo>
                      <a:cubicBezTo>
                        <a:pt x="2593" y="624"/>
                        <a:pt x="2593" y="624"/>
                        <a:pt x="2593" y="624"/>
                      </a:cubicBezTo>
                      <a:cubicBezTo>
                        <a:pt x="2593" y="624"/>
                        <a:pt x="2593" y="632"/>
                        <a:pt x="2593" y="640"/>
                      </a:cubicBezTo>
                      <a:cubicBezTo>
                        <a:pt x="2601" y="648"/>
                        <a:pt x="2601" y="664"/>
                        <a:pt x="2601" y="672"/>
                      </a:cubicBezTo>
                      <a:lnTo>
                        <a:pt x="2601" y="672"/>
                      </a:lnTo>
                      <a:cubicBezTo>
                        <a:pt x="2609" y="688"/>
                        <a:pt x="2609" y="696"/>
                        <a:pt x="2601" y="696"/>
                      </a:cubicBezTo>
                      <a:cubicBezTo>
                        <a:pt x="2601" y="703"/>
                        <a:pt x="2601" y="703"/>
                        <a:pt x="2593" y="703"/>
                      </a:cubicBezTo>
                      <a:cubicBezTo>
                        <a:pt x="2593" y="703"/>
                        <a:pt x="2593" y="703"/>
                        <a:pt x="2585" y="703"/>
                      </a:cubicBezTo>
                      <a:lnTo>
                        <a:pt x="2578" y="703"/>
                      </a:lnTo>
                      <a:cubicBezTo>
                        <a:pt x="2546" y="703"/>
                        <a:pt x="2538" y="688"/>
                        <a:pt x="2530" y="680"/>
                      </a:cubicBezTo>
                      <a:lnTo>
                        <a:pt x="2530" y="672"/>
                      </a:lnTo>
                      <a:cubicBezTo>
                        <a:pt x="2522" y="672"/>
                        <a:pt x="2522" y="672"/>
                        <a:pt x="2514" y="672"/>
                      </a:cubicBezTo>
                      <a:lnTo>
                        <a:pt x="2514" y="672"/>
                      </a:lnTo>
                      <a:cubicBezTo>
                        <a:pt x="2514" y="672"/>
                        <a:pt x="2514" y="672"/>
                        <a:pt x="2522" y="688"/>
                      </a:cubicBezTo>
                      <a:cubicBezTo>
                        <a:pt x="2530" y="703"/>
                        <a:pt x="2530" y="703"/>
                        <a:pt x="2538" y="703"/>
                      </a:cubicBezTo>
                      <a:cubicBezTo>
                        <a:pt x="2546" y="703"/>
                        <a:pt x="2546" y="711"/>
                        <a:pt x="2554" y="711"/>
                      </a:cubicBezTo>
                      <a:cubicBezTo>
                        <a:pt x="2570" y="719"/>
                        <a:pt x="2585" y="727"/>
                        <a:pt x="2601" y="727"/>
                      </a:cubicBezTo>
                      <a:cubicBezTo>
                        <a:pt x="2609" y="727"/>
                        <a:pt x="2617" y="735"/>
                        <a:pt x="2625" y="735"/>
                      </a:cubicBezTo>
                      <a:cubicBezTo>
                        <a:pt x="2641" y="743"/>
                        <a:pt x="2641" y="751"/>
                        <a:pt x="2649" y="759"/>
                      </a:cubicBezTo>
                      <a:cubicBezTo>
                        <a:pt x="2649" y="767"/>
                        <a:pt x="2657" y="775"/>
                        <a:pt x="2657" y="775"/>
                      </a:cubicBezTo>
                      <a:cubicBezTo>
                        <a:pt x="2665" y="790"/>
                        <a:pt x="2665" y="806"/>
                        <a:pt x="2657" y="822"/>
                      </a:cubicBezTo>
                      <a:cubicBezTo>
                        <a:pt x="2657" y="830"/>
                        <a:pt x="2641" y="838"/>
                        <a:pt x="2633" y="838"/>
                      </a:cubicBezTo>
                      <a:cubicBezTo>
                        <a:pt x="2625" y="846"/>
                        <a:pt x="2617" y="830"/>
                        <a:pt x="2617" y="822"/>
                      </a:cubicBezTo>
                      <a:cubicBezTo>
                        <a:pt x="2609" y="822"/>
                        <a:pt x="2609" y="814"/>
                        <a:pt x="2601" y="814"/>
                      </a:cubicBezTo>
                      <a:lnTo>
                        <a:pt x="2601" y="814"/>
                      </a:lnTo>
                      <a:cubicBezTo>
                        <a:pt x="2601" y="814"/>
                        <a:pt x="2601" y="814"/>
                        <a:pt x="2601" y="822"/>
                      </a:cubicBezTo>
                      <a:cubicBezTo>
                        <a:pt x="2609" y="822"/>
                        <a:pt x="2609" y="838"/>
                        <a:pt x="2617" y="846"/>
                      </a:cubicBezTo>
                      <a:cubicBezTo>
                        <a:pt x="2617" y="846"/>
                        <a:pt x="2617" y="854"/>
                        <a:pt x="2609" y="862"/>
                      </a:cubicBezTo>
                      <a:cubicBezTo>
                        <a:pt x="2601" y="869"/>
                        <a:pt x="2578" y="869"/>
                        <a:pt x="2578" y="869"/>
                      </a:cubicBezTo>
                      <a:cubicBezTo>
                        <a:pt x="2570" y="869"/>
                        <a:pt x="2562" y="869"/>
                        <a:pt x="2562" y="877"/>
                      </a:cubicBezTo>
                      <a:cubicBezTo>
                        <a:pt x="2562" y="877"/>
                        <a:pt x="2562" y="885"/>
                        <a:pt x="2578" y="893"/>
                      </a:cubicBezTo>
                      <a:cubicBezTo>
                        <a:pt x="2585" y="901"/>
                        <a:pt x="2593" y="901"/>
                        <a:pt x="2593" y="901"/>
                      </a:cubicBezTo>
                      <a:cubicBezTo>
                        <a:pt x="2601" y="901"/>
                        <a:pt x="2601" y="901"/>
                        <a:pt x="2601" y="893"/>
                      </a:cubicBezTo>
                      <a:cubicBezTo>
                        <a:pt x="2609" y="885"/>
                        <a:pt x="2609" y="885"/>
                        <a:pt x="2617" y="885"/>
                      </a:cubicBezTo>
                      <a:cubicBezTo>
                        <a:pt x="2617" y="885"/>
                        <a:pt x="2625" y="885"/>
                        <a:pt x="2649" y="917"/>
                      </a:cubicBezTo>
                      <a:cubicBezTo>
                        <a:pt x="2657" y="925"/>
                        <a:pt x="2665" y="925"/>
                        <a:pt x="2665" y="925"/>
                      </a:cubicBezTo>
                      <a:lnTo>
                        <a:pt x="2665" y="925"/>
                      </a:lnTo>
                      <a:lnTo>
                        <a:pt x="2673" y="925"/>
                      </a:lnTo>
                      <a:cubicBezTo>
                        <a:pt x="2680" y="925"/>
                        <a:pt x="2688" y="933"/>
                        <a:pt x="2688" y="941"/>
                      </a:cubicBezTo>
                      <a:cubicBezTo>
                        <a:pt x="2696" y="949"/>
                        <a:pt x="2696" y="964"/>
                        <a:pt x="2688" y="972"/>
                      </a:cubicBezTo>
                      <a:cubicBezTo>
                        <a:pt x="2680" y="972"/>
                        <a:pt x="2680" y="980"/>
                        <a:pt x="2680" y="980"/>
                      </a:cubicBezTo>
                      <a:cubicBezTo>
                        <a:pt x="2673" y="988"/>
                        <a:pt x="2673" y="996"/>
                        <a:pt x="2665" y="1004"/>
                      </a:cubicBezTo>
                      <a:cubicBezTo>
                        <a:pt x="2657" y="1012"/>
                        <a:pt x="2649" y="1012"/>
                        <a:pt x="2649" y="1012"/>
                      </a:cubicBezTo>
                      <a:cubicBezTo>
                        <a:pt x="2641" y="1012"/>
                        <a:pt x="2633" y="1012"/>
                        <a:pt x="2625" y="1004"/>
                      </a:cubicBezTo>
                      <a:cubicBezTo>
                        <a:pt x="2617" y="996"/>
                        <a:pt x="2609" y="996"/>
                        <a:pt x="2601" y="988"/>
                      </a:cubicBezTo>
                      <a:cubicBezTo>
                        <a:pt x="2578" y="972"/>
                        <a:pt x="2570" y="964"/>
                        <a:pt x="2562" y="964"/>
                      </a:cubicBezTo>
                      <a:cubicBezTo>
                        <a:pt x="2554" y="956"/>
                        <a:pt x="2546" y="949"/>
                        <a:pt x="2538" y="949"/>
                      </a:cubicBezTo>
                      <a:cubicBezTo>
                        <a:pt x="2530" y="941"/>
                        <a:pt x="2522" y="941"/>
                        <a:pt x="2522" y="941"/>
                      </a:cubicBezTo>
                      <a:lnTo>
                        <a:pt x="2522" y="941"/>
                      </a:lnTo>
                      <a:lnTo>
                        <a:pt x="2522" y="941"/>
                      </a:lnTo>
                      <a:lnTo>
                        <a:pt x="2522" y="949"/>
                      </a:lnTo>
                      <a:cubicBezTo>
                        <a:pt x="2538" y="956"/>
                        <a:pt x="2554" y="964"/>
                        <a:pt x="2585" y="1004"/>
                      </a:cubicBezTo>
                      <a:cubicBezTo>
                        <a:pt x="2601" y="1028"/>
                        <a:pt x="2609" y="1028"/>
                        <a:pt x="2617" y="1028"/>
                      </a:cubicBezTo>
                      <a:cubicBezTo>
                        <a:pt x="2625" y="1028"/>
                        <a:pt x="2625" y="1035"/>
                        <a:pt x="2633" y="1035"/>
                      </a:cubicBezTo>
                      <a:cubicBezTo>
                        <a:pt x="2641" y="1043"/>
                        <a:pt x="2641" y="1043"/>
                        <a:pt x="2649" y="1043"/>
                      </a:cubicBezTo>
                      <a:cubicBezTo>
                        <a:pt x="2657" y="1043"/>
                        <a:pt x="2657" y="1043"/>
                        <a:pt x="2665" y="1035"/>
                      </a:cubicBezTo>
                      <a:lnTo>
                        <a:pt x="2673" y="1028"/>
                      </a:lnTo>
                      <a:cubicBezTo>
                        <a:pt x="2680" y="1028"/>
                        <a:pt x="2680" y="1020"/>
                        <a:pt x="2688" y="1012"/>
                      </a:cubicBezTo>
                      <a:lnTo>
                        <a:pt x="2688" y="1004"/>
                      </a:lnTo>
                      <a:cubicBezTo>
                        <a:pt x="2696" y="996"/>
                        <a:pt x="2696" y="996"/>
                        <a:pt x="2704" y="996"/>
                      </a:cubicBezTo>
                      <a:cubicBezTo>
                        <a:pt x="2712" y="996"/>
                        <a:pt x="2728" y="996"/>
                        <a:pt x="2736" y="996"/>
                      </a:cubicBezTo>
                      <a:cubicBezTo>
                        <a:pt x="2744" y="996"/>
                        <a:pt x="2751" y="1004"/>
                        <a:pt x="2760" y="1004"/>
                      </a:cubicBezTo>
                      <a:cubicBezTo>
                        <a:pt x="2783" y="1004"/>
                        <a:pt x="2799" y="1004"/>
                        <a:pt x="2823" y="1028"/>
                      </a:cubicBezTo>
                      <a:cubicBezTo>
                        <a:pt x="2838" y="1043"/>
                        <a:pt x="2846" y="1051"/>
                        <a:pt x="2846" y="1067"/>
                      </a:cubicBezTo>
                      <a:cubicBezTo>
                        <a:pt x="2846" y="1075"/>
                        <a:pt x="2854" y="1090"/>
                        <a:pt x="2862" y="1114"/>
                      </a:cubicBezTo>
                      <a:cubicBezTo>
                        <a:pt x="2878" y="1137"/>
                        <a:pt x="2878" y="1145"/>
                        <a:pt x="2886" y="1145"/>
                      </a:cubicBezTo>
                      <a:cubicBezTo>
                        <a:pt x="2886" y="1153"/>
                        <a:pt x="2886" y="1153"/>
                        <a:pt x="2894" y="1153"/>
                      </a:cubicBezTo>
                      <a:cubicBezTo>
                        <a:pt x="2894" y="1161"/>
                        <a:pt x="2894" y="1161"/>
                        <a:pt x="2894" y="1161"/>
                      </a:cubicBezTo>
                      <a:lnTo>
                        <a:pt x="2894" y="1161"/>
                      </a:lnTo>
                      <a:cubicBezTo>
                        <a:pt x="2704" y="1208"/>
                        <a:pt x="1708" y="1438"/>
                        <a:pt x="838" y="1556"/>
                      </a:cubicBezTo>
                      <a:cubicBezTo>
                        <a:pt x="838" y="1556"/>
                        <a:pt x="791" y="1564"/>
                        <a:pt x="759" y="1564"/>
                      </a:cubicBezTo>
                      <a:cubicBezTo>
                        <a:pt x="751" y="1564"/>
                        <a:pt x="744" y="1564"/>
                        <a:pt x="744" y="1564"/>
                      </a:cubicBezTo>
                      <a:cubicBezTo>
                        <a:pt x="736" y="1556"/>
                        <a:pt x="736" y="1556"/>
                        <a:pt x="720" y="1556"/>
                      </a:cubicBezTo>
                      <a:cubicBezTo>
                        <a:pt x="680" y="1556"/>
                        <a:pt x="609" y="1572"/>
                        <a:pt x="562" y="1580"/>
                      </a:cubicBezTo>
                      <a:cubicBezTo>
                        <a:pt x="530" y="1588"/>
                        <a:pt x="309" y="1619"/>
                        <a:pt x="16" y="1659"/>
                      </a:cubicBezTo>
                      <a:lnTo>
                        <a:pt x="0" y="1659"/>
                      </a:lnTo>
                      <a:close/>
                      <a:moveTo>
                        <a:pt x="135" y="1572"/>
                      </a:moveTo>
                      <a:lnTo>
                        <a:pt x="135" y="1572"/>
                      </a:lnTo>
                      <a:cubicBezTo>
                        <a:pt x="127" y="1572"/>
                        <a:pt x="127" y="1572"/>
                        <a:pt x="119" y="1588"/>
                      </a:cubicBezTo>
                      <a:cubicBezTo>
                        <a:pt x="103" y="1596"/>
                        <a:pt x="64" y="1627"/>
                        <a:pt x="32" y="1651"/>
                      </a:cubicBezTo>
                      <a:cubicBezTo>
                        <a:pt x="317" y="1612"/>
                        <a:pt x="530" y="1580"/>
                        <a:pt x="562" y="1572"/>
                      </a:cubicBezTo>
                      <a:cubicBezTo>
                        <a:pt x="641" y="1556"/>
                        <a:pt x="696" y="1548"/>
                        <a:pt x="720" y="1548"/>
                      </a:cubicBezTo>
                      <a:cubicBezTo>
                        <a:pt x="736" y="1548"/>
                        <a:pt x="744" y="1556"/>
                        <a:pt x="744" y="1556"/>
                      </a:cubicBezTo>
                      <a:cubicBezTo>
                        <a:pt x="751" y="1556"/>
                        <a:pt x="751" y="1556"/>
                        <a:pt x="759" y="1556"/>
                      </a:cubicBezTo>
                      <a:cubicBezTo>
                        <a:pt x="791" y="1556"/>
                        <a:pt x="838" y="1548"/>
                        <a:pt x="838" y="1548"/>
                      </a:cubicBezTo>
                      <a:cubicBezTo>
                        <a:pt x="1700" y="1438"/>
                        <a:pt x="2680" y="1201"/>
                        <a:pt x="2886" y="1153"/>
                      </a:cubicBezTo>
                      <a:cubicBezTo>
                        <a:pt x="2878" y="1153"/>
                        <a:pt x="2878" y="1153"/>
                        <a:pt x="2878" y="1153"/>
                      </a:cubicBezTo>
                      <a:cubicBezTo>
                        <a:pt x="2878" y="1145"/>
                        <a:pt x="2870" y="1145"/>
                        <a:pt x="2854" y="1114"/>
                      </a:cubicBezTo>
                      <a:cubicBezTo>
                        <a:pt x="2846" y="1090"/>
                        <a:pt x="2838" y="1082"/>
                        <a:pt x="2838" y="1067"/>
                      </a:cubicBezTo>
                      <a:cubicBezTo>
                        <a:pt x="2838" y="1051"/>
                        <a:pt x="2838" y="1043"/>
                        <a:pt x="2823" y="1035"/>
                      </a:cubicBezTo>
                      <a:cubicBezTo>
                        <a:pt x="2791" y="1004"/>
                        <a:pt x="2783" y="1004"/>
                        <a:pt x="2760" y="1004"/>
                      </a:cubicBezTo>
                      <a:cubicBezTo>
                        <a:pt x="2751" y="1004"/>
                        <a:pt x="2744" y="1004"/>
                        <a:pt x="2736" y="1004"/>
                      </a:cubicBezTo>
                      <a:cubicBezTo>
                        <a:pt x="2728" y="1004"/>
                        <a:pt x="2712" y="1004"/>
                        <a:pt x="2704" y="1004"/>
                      </a:cubicBezTo>
                      <a:cubicBezTo>
                        <a:pt x="2696" y="1004"/>
                        <a:pt x="2696" y="1004"/>
                        <a:pt x="2696" y="1004"/>
                      </a:cubicBezTo>
                      <a:lnTo>
                        <a:pt x="2688" y="1012"/>
                      </a:lnTo>
                      <a:cubicBezTo>
                        <a:pt x="2688" y="1020"/>
                        <a:pt x="2688" y="1028"/>
                        <a:pt x="2680" y="1035"/>
                      </a:cubicBezTo>
                      <a:cubicBezTo>
                        <a:pt x="2673" y="1035"/>
                        <a:pt x="2673" y="1043"/>
                        <a:pt x="2665" y="1043"/>
                      </a:cubicBezTo>
                      <a:cubicBezTo>
                        <a:pt x="2665" y="1043"/>
                        <a:pt x="2657" y="1051"/>
                        <a:pt x="2649" y="1051"/>
                      </a:cubicBezTo>
                      <a:cubicBezTo>
                        <a:pt x="2641" y="1051"/>
                        <a:pt x="2633" y="1051"/>
                        <a:pt x="2633" y="1043"/>
                      </a:cubicBezTo>
                      <a:cubicBezTo>
                        <a:pt x="2625" y="1043"/>
                        <a:pt x="2617" y="1035"/>
                        <a:pt x="2617" y="1035"/>
                      </a:cubicBezTo>
                      <a:cubicBezTo>
                        <a:pt x="2609" y="1035"/>
                        <a:pt x="2601" y="1035"/>
                        <a:pt x="2578" y="1004"/>
                      </a:cubicBezTo>
                      <a:cubicBezTo>
                        <a:pt x="2546" y="972"/>
                        <a:pt x="2530" y="956"/>
                        <a:pt x="2522" y="949"/>
                      </a:cubicBezTo>
                      <a:lnTo>
                        <a:pt x="2514" y="949"/>
                      </a:lnTo>
                      <a:lnTo>
                        <a:pt x="2514" y="941"/>
                      </a:lnTo>
                      <a:cubicBezTo>
                        <a:pt x="2514" y="933"/>
                        <a:pt x="2530" y="933"/>
                        <a:pt x="2546" y="941"/>
                      </a:cubicBezTo>
                      <a:cubicBezTo>
                        <a:pt x="2554" y="949"/>
                        <a:pt x="2562" y="949"/>
                        <a:pt x="2562" y="956"/>
                      </a:cubicBezTo>
                      <a:cubicBezTo>
                        <a:pt x="2570" y="964"/>
                        <a:pt x="2578" y="972"/>
                        <a:pt x="2601" y="980"/>
                      </a:cubicBezTo>
                      <a:cubicBezTo>
                        <a:pt x="2617" y="988"/>
                        <a:pt x="2625" y="996"/>
                        <a:pt x="2625" y="996"/>
                      </a:cubicBezTo>
                      <a:cubicBezTo>
                        <a:pt x="2633" y="1004"/>
                        <a:pt x="2641" y="1004"/>
                        <a:pt x="2649" y="1004"/>
                      </a:cubicBezTo>
                      <a:cubicBezTo>
                        <a:pt x="2649" y="1004"/>
                        <a:pt x="2649" y="1004"/>
                        <a:pt x="2657" y="1004"/>
                      </a:cubicBezTo>
                      <a:cubicBezTo>
                        <a:pt x="2665" y="996"/>
                        <a:pt x="2673" y="988"/>
                        <a:pt x="2673" y="980"/>
                      </a:cubicBezTo>
                      <a:cubicBezTo>
                        <a:pt x="2673" y="972"/>
                        <a:pt x="2680" y="972"/>
                        <a:pt x="2680" y="964"/>
                      </a:cubicBezTo>
                      <a:cubicBezTo>
                        <a:pt x="2688" y="964"/>
                        <a:pt x="2688" y="949"/>
                        <a:pt x="2688" y="941"/>
                      </a:cubicBezTo>
                      <a:cubicBezTo>
                        <a:pt x="2680" y="933"/>
                        <a:pt x="2680" y="933"/>
                        <a:pt x="2673" y="933"/>
                      </a:cubicBezTo>
                      <a:cubicBezTo>
                        <a:pt x="2673" y="933"/>
                        <a:pt x="2673" y="933"/>
                        <a:pt x="2665" y="933"/>
                      </a:cubicBezTo>
                      <a:lnTo>
                        <a:pt x="2665" y="933"/>
                      </a:lnTo>
                      <a:cubicBezTo>
                        <a:pt x="2657" y="933"/>
                        <a:pt x="2657" y="933"/>
                        <a:pt x="2649" y="925"/>
                      </a:cubicBezTo>
                      <a:cubicBezTo>
                        <a:pt x="2625" y="901"/>
                        <a:pt x="2617" y="893"/>
                        <a:pt x="2617" y="893"/>
                      </a:cubicBezTo>
                      <a:lnTo>
                        <a:pt x="2609" y="893"/>
                      </a:lnTo>
                      <a:cubicBezTo>
                        <a:pt x="2609" y="901"/>
                        <a:pt x="2601" y="909"/>
                        <a:pt x="2593" y="909"/>
                      </a:cubicBezTo>
                      <a:cubicBezTo>
                        <a:pt x="2585" y="909"/>
                        <a:pt x="2578" y="901"/>
                        <a:pt x="2570" y="893"/>
                      </a:cubicBezTo>
                      <a:cubicBezTo>
                        <a:pt x="2562" y="885"/>
                        <a:pt x="2554" y="877"/>
                        <a:pt x="2554" y="869"/>
                      </a:cubicBezTo>
                      <a:cubicBezTo>
                        <a:pt x="2562" y="869"/>
                        <a:pt x="2562" y="862"/>
                        <a:pt x="2578" y="862"/>
                      </a:cubicBezTo>
                      <a:cubicBezTo>
                        <a:pt x="2585" y="862"/>
                        <a:pt x="2601" y="862"/>
                        <a:pt x="2609" y="854"/>
                      </a:cubicBezTo>
                      <a:lnTo>
                        <a:pt x="2609" y="846"/>
                      </a:lnTo>
                      <a:cubicBezTo>
                        <a:pt x="2609" y="838"/>
                        <a:pt x="2601" y="830"/>
                        <a:pt x="2593" y="822"/>
                      </a:cubicBezTo>
                      <a:cubicBezTo>
                        <a:pt x="2593" y="814"/>
                        <a:pt x="2593" y="806"/>
                        <a:pt x="2593" y="806"/>
                      </a:cubicBezTo>
                      <a:cubicBezTo>
                        <a:pt x="2593" y="806"/>
                        <a:pt x="2593" y="798"/>
                        <a:pt x="2601" y="806"/>
                      </a:cubicBezTo>
                      <a:cubicBezTo>
                        <a:pt x="2609" y="806"/>
                        <a:pt x="2617" y="814"/>
                        <a:pt x="2617" y="822"/>
                      </a:cubicBezTo>
                      <a:cubicBezTo>
                        <a:pt x="2625" y="830"/>
                        <a:pt x="2625" y="838"/>
                        <a:pt x="2633" y="830"/>
                      </a:cubicBezTo>
                      <a:cubicBezTo>
                        <a:pt x="2641" y="830"/>
                        <a:pt x="2649" y="830"/>
                        <a:pt x="2649" y="814"/>
                      </a:cubicBezTo>
                      <a:cubicBezTo>
                        <a:pt x="2657" y="806"/>
                        <a:pt x="2657" y="790"/>
                        <a:pt x="2649" y="782"/>
                      </a:cubicBezTo>
                      <a:cubicBezTo>
                        <a:pt x="2649" y="775"/>
                        <a:pt x="2641" y="767"/>
                        <a:pt x="2641" y="767"/>
                      </a:cubicBezTo>
                      <a:cubicBezTo>
                        <a:pt x="2641" y="751"/>
                        <a:pt x="2633" y="751"/>
                        <a:pt x="2625" y="743"/>
                      </a:cubicBezTo>
                      <a:cubicBezTo>
                        <a:pt x="2617" y="743"/>
                        <a:pt x="2609" y="735"/>
                        <a:pt x="2601" y="735"/>
                      </a:cubicBezTo>
                      <a:cubicBezTo>
                        <a:pt x="2585" y="735"/>
                        <a:pt x="2570" y="727"/>
                        <a:pt x="2554" y="719"/>
                      </a:cubicBezTo>
                      <a:cubicBezTo>
                        <a:pt x="2546" y="711"/>
                        <a:pt x="2538" y="711"/>
                        <a:pt x="2538" y="711"/>
                      </a:cubicBezTo>
                      <a:cubicBezTo>
                        <a:pt x="2530" y="703"/>
                        <a:pt x="2530" y="703"/>
                        <a:pt x="2514" y="688"/>
                      </a:cubicBezTo>
                      <a:cubicBezTo>
                        <a:pt x="2507" y="680"/>
                        <a:pt x="2507" y="672"/>
                        <a:pt x="2507" y="664"/>
                      </a:cubicBezTo>
                      <a:lnTo>
                        <a:pt x="2514" y="664"/>
                      </a:lnTo>
                      <a:cubicBezTo>
                        <a:pt x="2522" y="664"/>
                        <a:pt x="2530" y="664"/>
                        <a:pt x="2530" y="672"/>
                      </a:cubicBezTo>
                      <a:lnTo>
                        <a:pt x="2538" y="672"/>
                      </a:lnTo>
                      <a:cubicBezTo>
                        <a:pt x="2546" y="680"/>
                        <a:pt x="2554" y="696"/>
                        <a:pt x="2578" y="696"/>
                      </a:cubicBezTo>
                      <a:lnTo>
                        <a:pt x="2585" y="696"/>
                      </a:lnTo>
                      <a:cubicBezTo>
                        <a:pt x="2593" y="696"/>
                        <a:pt x="2593" y="696"/>
                        <a:pt x="2593" y="696"/>
                      </a:cubicBezTo>
                      <a:lnTo>
                        <a:pt x="2601" y="696"/>
                      </a:lnTo>
                      <a:cubicBezTo>
                        <a:pt x="2601" y="696"/>
                        <a:pt x="2601" y="688"/>
                        <a:pt x="2601" y="672"/>
                      </a:cubicBezTo>
                      <a:lnTo>
                        <a:pt x="2601" y="672"/>
                      </a:lnTo>
                      <a:cubicBezTo>
                        <a:pt x="2593" y="664"/>
                        <a:pt x="2593" y="656"/>
                        <a:pt x="2593" y="640"/>
                      </a:cubicBezTo>
                      <a:cubicBezTo>
                        <a:pt x="2585" y="632"/>
                        <a:pt x="2585" y="624"/>
                        <a:pt x="2585" y="616"/>
                      </a:cubicBezTo>
                      <a:cubicBezTo>
                        <a:pt x="2593" y="616"/>
                        <a:pt x="2593" y="616"/>
                        <a:pt x="2601" y="616"/>
                      </a:cubicBezTo>
                      <a:cubicBezTo>
                        <a:pt x="2609" y="609"/>
                        <a:pt x="2617" y="601"/>
                        <a:pt x="2617" y="601"/>
                      </a:cubicBezTo>
                      <a:cubicBezTo>
                        <a:pt x="2625" y="593"/>
                        <a:pt x="2625" y="585"/>
                        <a:pt x="2625" y="585"/>
                      </a:cubicBezTo>
                      <a:cubicBezTo>
                        <a:pt x="2617" y="577"/>
                        <a:pt x="2601" y="569"/>
                        <a:pt x="2570" y="553"/>
                      </a:cubicBezTo>
                      <a:lnTo>
                        <a:pt x="2570" y="553"/>
                      </a:lnTo>
                      <a:cubicBezTo>
                        <a:pt x="2538" y="538"/>
                        <a:pt x="2507" y="529"/>
                        <a:pt x="2507" y="498"/>
                      </a:cubicBezTo>
                      <a:cubicBezTo>
                        <a:pt x="2507" y="490"/>
                        <a:pt x="2507" y="482"/>
                        <a:pt x="2507" y="482"/>
                      </a:cubicBezTo>
                      <a:cubicBezTo>
                        <a:pt x="2507" y="482"/>
                        <a:pt x="2491" y="482"/>
                        <a:pt x="2483" y="482"/>
                      </a:cubicBezTo>
                      <a:cubicBezTo>
                        <a:pt x="2467" y="482"/>
                        <a:pt x="2451" y="490"/>
                        <a:pt x="2443" y="490"/>
                      </a:cubicBezTo>
                      <a:cubicBezTo>
                        <a:pt x="2435" y="490"/>
                        <a:pt x="2427" y="490"/>
                        <a:pt x="2427" y="490"/>
                      </a:cubicBezTo>
                      <a:cubicBezTo>
                        <a:pt x="2388" y="482"/>
                        <a:pt x="2348" y="466"/>
                        <a:pt x="2317" y="451"/>
                      </a:cubicBezTo>
                      <a:cubicBezTo>
                        <a:pt x="2309" y="451"/>
                        <a:pt x="2309" y="443"/>
                        <a:pt x="2309" y="443"/>
                      </a:cubicBezTo>
                      <a:cubicBezTo>
                        <a:pt x="2301" y="435"/>
                        <a:pt x="2309" y="435"/>
                        <a:pt x="2309" y="427"/>
                      </a:cubicBezTo>
                      <a:cubicBezTo>
                        <a:pt x="2309" y="427"/>
                        <a:pt x="2317" y="419"/>
                        <a:pt x="2309" y="419"/>
                      </a:cubicBezTo>
                      <a:cubicBezTo>
                        <a:pt x="2309" y="411"/>
                        <a:pt x="2293" y="411"/>
                        <a:pt x="2285" y="411"/>
                      </a:cubicBezTo>
                      <a:cubicBezTo>
                        <a:pt x="2277" y="411"/>
                        <a:pt x="2261" y="411"/>
                        <a:pt x="2254" y="419"/>
                      </a:cubicBezTo>
                      <a:cubicBezTo>
                        <a:pt x="2245" y="427"/>
                        <a:pt x="2222" y="435"/>
                        <a:pt x="2206" y="435"/>
                      </a:cubicBezTo>
                      <a:cubicBezTo>
                        <a:pt x="2190" y="435"/>
                        <a:pt x="2182" y="427"/>
                        <a:pt x="2174" y="419"/>
                      </a:cubicBezTo>
                      <a:cubicBezTo>
                        <a:pt x="2159" y="395"/>
                        <a:pt x="2190" y="324"/>
                        <a:pt x="2206" y="300"/>
                      </a:cubicBezTo>
                      <a:cubicBezTo>
                        <a:pt x="2230" y="269"/>
                        <a:pt x="2222" y="245"/>
                        <a:pt x="2222" y="213"/>
                      </a:cubicBezTo>
                      <a:cubicBezTo>
                        <a:pt x="2222" y="213"/>
                        <a:pt x="2222" y="205"/>
                        <a:pt x="2222" y="198"/>
                      </a:cubicBezTo>
                      <a:cubicBezTo>
                        <a:pt x="2214" y="174"/>
                        <a:pt x="2174" y="150"/>
                        <a:pt x="2143" y="134"/>
                      </a:cubicBezTo>
                      <a:cubicBezTo>
                        <a:pt x="2135" y="134"/>
                        <a:pt x="2127" y="126"/>
                        <a:pt x="2119" y="118"/>
                      </a:cubicBezTo>
                      <a:cubicBezTo>
                        <a:pt x="2111" y="111"/>
                        <a:pt x="2095" y="111"/>
                        <a:pt x="2087" y="111"/>
                      </a:cubicBezTo>
                      <a:cubicBezTo>
                        <a:pt x="2080" y="111"/>
                        <a:pt x="2072" y="111"/>
                        <a:pt x="2072" y="111"/>
                      </a:cubicBezTo>
                      <a:cubicBezTo>
                        <a:pt x="2064" y="111"/>
                        <a:pt x="2056" y="111"/>
                        <a:pt x="2056" y="111"/>
                      </a:cubicBezTo>
                      <a:cubicBezTo>
                        <a:pt x="2048" y="111"/>
                        <a:pt x="2040" y="111"/>
                        <a:pt x="2032" y="111"/>
                      </a:cubicBezTo>
                      <a:cubicBezTo>
                        <a:pt x="2024" y="103"/>
                        <a:pt x="2024" y="79"/>
                        <a:pt x="2016" y="47"/>
                      </a:cubicBezTo>
                      <a:cubicBezTo>
                        <a:pt x="2016" y="39"/>
                        <a:pt x="2016" y="32"/>
                        <a:pt x="2016" y="23"/>
                      </a:cubicBezTo>
                      <a:cubicBezTo>
                        <a:pt x="2016" y="23"/>
                        <a:pt x="2008" y="16"/>
                        <a:pt x="1977" y="16"/>
                      </a:cubicBezTo>
                      <a:cubicBezTo>
                        <a:pt x="1969" y="16"/>
                        <a:pt x="1953" y="16"/>
                        <a:pt x="1937" y="16"/>
                      </a:cubicBezTo>
                      <a:cubicBezTo>
                        <a:pt x="1921" y="71"/>
                        <a:pt x="1890" y="103"/>
                        <a:pt x="1866" y="95"/>
                      </a:cubicBezTo>
                      <a:cubicBezTo>
                        <a:pt x="1843" y="87"/>
                        <a:pt x="1795" y="55"/>
                        <a:pt x="1763" y="32"/>
                      </a:cubicBezTo>
                      <a:cubicBezTo>
                        <a:pt x="1748" y="23"/>
                        <a:pt x="1732" y="8"/>
                        <a:pt x="1732" y="8"/>
                      </a:cubicBezTo>
                      <a:cubicBezTo>
                        <a:pt x="1724" y="8"/>
                        <a:pt x="1716" y="8"/>
                        <a:pt x="1716" y="8"/>
                      </a:cubicBezTo>
                      <a:cubicBezTo>
                        <a:pt x="1708" y="23"/>
                        <a:pt x="1700" y="47"/>
                        <a:pt x="1700" y="79"/>
                      </a:cubicBezTo>
                      <a:cubicBezTo>
                        <a:pt x="1700" y="126"/>
                        <a:pt x="1700" y="174"/>
                        <a:pt x="1684" y="221"/>
                      </a:cubicBezTo>
                      <a:cubicBezTo>
                        <a:pt x="1676" y="269"/>
                        <a:pt x="1668" y="269"/>
                        <a:pt x="1645" y="269"/>
                      </a:cubicBezTo>
                      <a:cubicBezTo>
                        <a:pt x="1645" y="269"/>
                        <a:pt x="1637" y="276"/>
                        <a:pt x="1629" y="276"/>
                      </a:cubicBezTo>
                      <a:cubicBezTo>
                        <a:pt x="1605" y="276"/>
                        <a:pt x="1605" y="300"/>
                        <a:pt x="1605" y="316"/>
                      </a:cubicBezTo>
                      <a:cubicBezTo>
                        <a:pt x="1605" y="332"/>
                        <a:pt x="1605" y="340"/>
                        <a:pt x="1597" y="348"/>
                      </a:cubicBezTo>
                      <a:cubicBezTo>
                        <a:pt x="1597" y="363"/>
                        <a:pt x="1581" y="363"/>
                        <a:pt x="1574" y="363"/>
                      </a:cubicBezTo>
                      <a:cubicBezTo>
                        <a:pt x="1566" y="363"/>
                        <a:pt x="1558" y="363"/>
                        <a:pt x="1550" y="363"/>
                      </a:cubicBezTo>
                      <a:cubicBezTo>
                        <a:pt x="1542" y="363"/>
                        <a:pt x="1526" y="356"/>
                        <a:pt x="1518" y="363"/>
                      </a:cubicBezTo>
                      <a:cubicBezTo>
                        <a:pt x="1510" y="363"/>
                        <a:pt x="1510" y="363"/>
                        <a:pt x="1510" y="363"/>
                      </a:cubicBezTo>
                      <a:cubicBezTo>
                        <a:pt x="1510" y="363"/>
                        <a:pt x="1510" y="371"/>
                        <a:pt x="1510" y="379"/>
                      </a:cubicBezTo>
                      <a:cubicBezTo>
                        <a:pt x="1518" y="387"/>
                        <a:pt x="1518" y="403"/>
                        <a:pt x="1518" y="419"/>
                      </a:cubicBezTo>
                      <a:cubicBezTo>
                        <a:pt x="1518" y="435"/>
                        <a:pt x="1518" y="451"/>
                        <a:pt x="1510" y="451"/>
                      </a:cubicBezTo>
                      <a:cubicBezTo>
                        <a:pt x="1503" y="451"/>
                        <a:pt x="1495" y="451"/>
                        <a:pt x="1487" y="443"/>
                      </a:cubicBezTo>
                      <a:cubicBezTo>
                        <a:pt x="1487" y="435"/>
                        <a:pt x="1479" y="443"/>
                        <a:pt x="1471" y="451"/>
                      </a:cubicBezTo>
                      <a:cubicBezTo>
                        <a:pt x="1463" y="458"/>
                        <a:pt x="1455" y="482"/>
                        <a:pt x="1455" y="490"/>
                      </a:cubicBezTo>
                      <a:lnTo>
                        <a:pt x="1455" y="490"/>
                      </a:lnTo>
                      <a:cubicBezTo>
                        <a:pt x="1455" y="514"/>
                        <a:pt x="1455" y="529"/>
                        <a:pt x="1447" y="538"/>
                      </a:cubicBezTo>
                      <a:cubicBezTo>
                        <a:pt x="1447" y="545"/>
                        <a:pt x="1439" y="545"/>
                        <a:pt x="1439" y="545"/>
                      </a:cubicBezTo>
                      <a:cubicBezTo>
                        <a:pt x="1423" y="545"/>
                        <a:pt x="1400" y="522"/>
                        <a:pt x="1376" y="506"/>
                      </a:cubicBezTo>
                      <a:cubicBezTo>
                        <a:pt x="1376" y="498"/>
                        <a:pt x="1376" y="498"/>
                        <a:pt x="1376" y="498"/>
                      </a:cubicBezTo>
                      <a:cubicBezTo>
                        <a:pt x="1360" y="490"/>
                        <a:pt x="1352" y="490"/>
                        <a:pt x="1328" y="506"/>
                      </a:cubicBezTo>
                      <a:cubicBezTo>
                        <a:pt x="1321" y="514"/>
                        <a:pt x="1313" y="514"/>
                        <a:pt x="1305" y="522"/>
                      </a:cubicBezTo>
                      <a:cubicBezTo>
                        <a:pt x="1281" y="538"/>
                        <a:pt x="1281" y="553"/>
                        <a:pt x="1281" y="585"/>
                      </a:cubicBezTo>
                      <a:cubicBezTo>
                        <a:pt x="1281" y="601"/>
                        <a:pt x="1281" y="624"/>
                        <a:pt x="1273" y="648"/>
                      </a:cubicBezTo>
                      <a:cubicBezTo>
                        <a:pt x="1265" y="680"/>
                        <a:pt x="1257" y="696"/>
                        <a:pt x="1257" y="703"/>
                      </a:cubicBezTo>
                      <a:cubicBezTo>
                        <a:pt x="1250" y="711"/>
                        <a:pt x="1250" y="711"/>
                        <a:pt x="1250" y="735"/>
                      </a:cubicBezTo>
                      <a:cubicBezTo>
                        <a:pt x="1242" y="767"/>
                        <a:pt x="1242" y="775"/>
                        <a:pt x="1218" y="798"/>
                      </a:cubicBezTo>
                      <a:cubicBezTo>
                        <a:pt x="1218" y="798"/>
                        <a:pt x="1210" y="806"/>
                        <a:pt x="1210" y="814"/>
                      </a:cubicBezTo>
                      <a:cubicBezTo>
                        <a:pt x="1194" y="838"/>
                        <a:pt x="1186" y="846"/>
                        <a:pt x="1178" y="869"/>
                      </a:cubicBezTo>
                      <a:cubicBezTo>
                        <a:pt x="1170" y="885"/>
                        <a:pt x="1163" y="901"/>
                        <a:pt x="1147" y="925"/>
                      </a:cubicBezTo>
                      <a:cubicBezTo>
                        <a:pt x="1139" y="941"/>
                        <a:pt x="1139" y="949"/>
                        <a:pt x="1139" y="956"/>
                      </a:cubicBezTo>
                      <a:cubicBezTo>
                        <a:pt x="1139" y="956"/>
                        <a:pt x="1147" y="956"/>
                        <a:pt x="1155" y="956"/>
                      </a:cubicBezTo>
                      <a:cubicBezTo>
                        <a:pt x="1163" y="956"/>
                        <a:pt x="1178" y="956"/>
                        <a:pt x="1186" y="964"/>
                      </a:cubicBezTo>
                      <a:cubicBezTo>
                        <a:pt x="1202" y="972"/>
                        <a:pt x="1210" y="980"/>
                        <a:pt x="1210" y="988"/>
                      </a:cubicBezTo>
                      <a:cubicBezTo>
                        <a:pt x="1210" y="996"/>
                        <a:pt x="1186" y="996"/>
                        <a:pt x="1178" y="996"/>
                      </a:cubicBezTo>
                      <a:cubicBezTo>
                        <a:pt x="1170" y="996"/>
                        <a:pt x="1163" y="1012"/>
                        <a:pt x="1155" y="1028"/>
                      </a:cubicBezTo>
                      <a:cubicBezTo>
                        <a:pt x="1147" y="1051"/>
                        <a:pt x="1139" y="1067"/>
                        <a:pt x="1115" y="1075"/>
                      </a:cubicBezTo>
                      <a:cubicBezTo>
                        <a:pt x="1107" y="1082"/>
                        <a:pt x="1099" y="1082"/>
                        <a:pt x="1091" y="1082"/>
                      </a:cubicBezTo>
                      <a:lnTo>
                        <a:pt x="1084" y="1082"/>
                      </a:lnTo>
                      <a:cubicBezTo>
                        <a:pt x="1075" y="1082"/>
                        <a:pt x="1075" y="1082"/>
                        <a:pt x="1075" y="1082"/>
                      </a:cubicBezTo>
                      <a:lnTo>
                        <a:pt x="1075" y="1082"/>
                      </a:lnTo>
                      <a:cubicBezTo>
                        <a:pt x="1084" y="1114"/>
                        <a:pt x="1036" y="1121"/>
                        <a:pt x="965" y="1137"/>
                      </a:cubicBezTo>
                      <a:cubicBezTo>
                        <a:pt x="957" y="1137"/>
                        <a:pt x="957" y="1137"/>
                        <a:pt x="957" y="1137"/>
                      </a:cubicBezTo>
                      <a:cubicBezTo>
                        <a:pt x="933" y="1145"/>
                        <a:pt x="925" y="1145"/>
                        <a:pt x="925" y="1145"/>
                      </a:cubicBezTo>
                      <a:cubicBezTo>
                        <a:pt x="925" y="1153"/>
                        <a:pt x="925" y="1153"/>
                        <a:pt x="933" y="1153"/>
                      </a:cubicBezTo>
                      <a:cubicBezTo>
                        <a:pt x="933" y="1161"/>
                        <a:pt x="941" y="1169"/>
                        <a:pt x="933" y="1177"/>
                      </a:cubicBezTo>
                      <a:cubicBezTo>
                        <a:pt x="917" y="1185"/>
                        <a:pt x="878" y="1216"/>
                        <a:pt x="822" y="1216"/>
                      </a:cubicBezTo>
                      <a:cubicBezTo>
                        <a:pt x="815" y="1216"/>
                        <a:pt x="799" y="1208"/>
                        <a:pt x="791" y="1208"/>
                      </a:cubicBezTo>
                      <a:cubicBezTo>
                        <a:pt x="775" y="1208"/>
                        <a:pt x="767" y="1201"/>
                        <a:pt x="759" y="1201"/>
                      </a:cubicBezTo>
                      <a:cubicBezTo>
                        <a:pt x="751" y="1201"/>
                        <a:pt x="751" y="1208"/>
                        <a:pt x="751" y="1216"/>
                      </a:cubicBezTo>
                      <a:cubicBezTo>
                        <a:pt x="751" y="1224"/>
                        <a:pt x="751" y="1240"/>
                        <a:pt x="736" y="1264"/>
                      </a:cubicBezTo>
                      <a:cubicBezTo>
                        <a:pt x="728" y="1272"/>
                        <a:pt x="720" y="1279"/>
                        <a:pt x="712" y="1279"/>
                      </a:cubicBezTo>
                      <a:cubicBezTo>
                        <a:pt x="704" y="1279"/>
                        <a:pt x="696" y="1272"/>
                        <a:pt x="688" y="1264"/>
                      </a:cubicBezTo>
                      <a:cubicBezTo>
                        <a:pt x="680" y="1248"/>
                        <a:pt x="657" y="1224"/>
                        <a:pt x="609" y="1216"/>
                      </a:cubicBezTo>
                      <a:cubicBezTo>
                        <a:pt x="578" y="1208"/>
                        <a:pt x="562" y="1201"/>
                        <a:pt x="554" y="1192"/>
                      </a:cubicBezTo>
                      <a:cubicBezTo>
                        <a:pt x="546" y="1185"/>
                        <a:pt x="546" y="1177"/>
                        <a:pt x="546" y="1169"/>
                      </a:cubicBezTo>
                      <a:cubicBezTo>
                        <a:pt x="546" y="1161"/>
                        <a:pt x="554" y="1153"/>
                        <a:pt x="546" y="1145"/>
                      </a:cubicBezTo>
                      <a:cubicBezTo>
                        <a:pt x="522" y="1169"/>
                        <a:pt x="483" y="1216"/>
                        <a:pt x="475" y="1224"/>
                      </a:cubicBezTo>
                      <a:cubicBezTo>
                        <a:pt x="459" y="1248"/>
                        <a:pt x="404" y="1303"/>
                        <a:pt x="380" y="1311"/>
                      </a:cubicBezTo>
                      <a:cubicBezTo>
                        <a:pt x="364" y="1319"/>
                        <a:pt x="325" y="1343"/>
                        <a:pt x="325" y="1367"/>
                      </a:cubicBezTo>
                      <a:cubicBezTo>
                        <a:pt x="325" y="1390"/>
                        <a:pt x="301" y="1406"/>
                        <a:pt x="293" y="1422"/>
                      </a:cubicBezTo>
                      <a:cubicBezTo>
                        <a:pt x="293" y="1422"/>
                        <a:pt x="293" y="1422"/>
                        <a:pt x="285" y="1422"/>
                      </a:cubicBezTo>
                      <a:cubicBezTo>
                        <a:pt x="285" y="1430"/>
                        <a:pt x="285" y="1430"/>
                        <a:pt x="277" y="1430"/>
                      </a:cubicBezTo>
                      <a:cubicBezTo>
                        <a:pt x="277" y="1430"/>
                        <a:pt x="269" y="1430"/>
                        <a:pt x="269" y="1445"/>
                      </a:cubicBezTo>
                      <a:cubicBezTo>
                        <a:pt x="269" y="1454"/>
                        <a:pt x="269" y="1461"/>
                        <a:pt x="269" y="1469"/>
                      </a:cubicBezTo>
                      <a:cubicBezTo>
                        <a:pt x="269" y="1485"/>
                        <a:pt x="269" y="1485"/>
                        <a:pt x="253" y="1493"/>
                      </a:cubicBezTo>
                      <a:cubicBezTo>
                        <a:pt x="245" y="1493"/>
                        <a:pt x="238" y="1493"/>
                        <a:pt x="230" y="1493"/>
                      </a:cubicBezTo>
                      <a:cubicBezTo>
                        <a:pt x="214" y="1501"/>
                        <a:pt x="198" y="1501"/>
                        <a:pt x="190" y="1525"/>
                      </a:cubicBezTo>
                      <a:cubicBezTo>
                        <a:pt x="190" y="1532"/>
                        <a:pt x="190" y="1532"/>
                        <a:pt x="190" y="1540"/>
                      </a:cubicBezTo>
                      <a:cubicBezTo>
                        <a:pt x="182" y="1564"/>
                        <a:pt x="174" y="1580"/>
                        <a:pt x="158" y="1580"/>
                      </a:cubicBezTo>
                      <a:cubicBezTo>
                        <a:pt x="151" y="1580"/>
                        <a:pt x="143" y="1580"/>
                        <a:pt x="143" y="1580"/>
                      </a:cubicBezTo>
                      <a:cubicBezTo>
                        <a:pt x="135" y="1572"/>
                        <a:pt x="135" y="1572"/>
                        <a:pt x="135" y="1572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8" name="Freeform 781">
                  <a:extLst>
                    <a:ext uri="{FF2B5EF4-FFF2-40B4-BE49-F238E27FC236}">
                      <a16:creationId xmlns:a16="http://schemas.microsoft.com/office/drawing/2014/main" id="{70A2A3D8-2B52-8B4F-8C6D-004B7929A4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8784" y="5980489"/>
                  <a:ext cx="1421735" cy="756094"/>
                </a:xfrm>
                <a:custGeom>
                  <a:avLst/>
                  <a:gdLst>
                    <a:gd name="T0" fmla="*/ 2396 w 2705"/>
                    <a:gd name="T1" fmla="*/ 229 h 1439"/>
                    <a:gd name="T2" fmla="*/ 2325 w 2705"/>
                    <a:gd name="T3" fmla="*/ 182 h 1439"/>
                    <a:gd name="T4" fmla="*/ 2285 w 2705"/>
                    <a:gd name="T5" fmla="*/ 134 h 1439"/>
                    <a:gd name="T6" fmla="*/ 2269 w 2705"/>
                    <a:gd name="T7" fmla="*/ 110 h 1439"/>
                    <a:gd name="T8" fmla="*/ 2222 w 2705"/>
                    <a:gd name="T9" fmla="*/ 142 h 1439"/>
                    <a:gd name="T10" fmla="*/ 2174 w 2705"/>
                    <a:gd name="T11" fmla="*/ 174 h 1439"/>
                    <a:gd name="T12" fmla="*/ 2079 w 2705"/>
                    <a:gd name="T13" fmla="*/ 166 h 1439"/>
                    <a:gd name="T14" fmla="*/ 1945 w 2705"/>
                    <a:gd name="T15" fmla="*/ 158 h 1439"/>
                    <a:gd name="T16" fmla="*/ 1779 w 2705"/>
                    <a:gd name="T17" fmla="*/ 103 h 1439"/>
                    <a:gd name="T18" fmla="*/ 1668 w 2705"/>
                    <a:gd name="T19" fmla="*/ 23 h 1439"/>
                    <a:gd name="T20" fmla="*/ 1550 w 2705"/>
                    <a:gd name="T21" fmla="*/ 79 h 1439"/>
                    <a:gd name="T22" fmla="*/ 1573 w 2705"/>
                    <a:gd name="T23" fmla="*/ 182 h 1439"/>
                    <a:gd name="T24" fmla="*/ 1463 w 2705"/>
                    <a:gd name="T25" fmla="*/ 253 h 1439"/>
                    <a:gd name="T26" fmla="*/ 1368 w 2705"/>
                    <a:gd name="T27" fmla="*/ 261 h 1439"/>
                    <a:gd name="T28" fmla="*/ 1352 w 2705"/>
                    <a:gd name="T29" fmla="*/ 356 h 1439"/>
                    <a:gd name="T30" fmla="*/ 1305 w 2705"/>
                    <a:gd name="T31" fmla="*/ 419 h 1439"/>
                    <a:gd name="T32" fmla="*/ 1218 w 2705"/>
                    <a:gd name="T33" fmla="*/ 584 h 1439"/>
                    <a:gd name="T34" fmla="*/ 1146 w 2705"/>
                    <a:gd name="T35" fmla="*/ 600 h 1439"/>
                    <a:gd name="T36" fmla="*/ 1067 w 2705"/>
                    <a:gd name="T37" fmla="*/ 545 h 1439"/>
                    <a:gd name="T38" fmla="*/ 1004 w 2705"/>
                    <a:gd name="T39" fmla="*/ 615 h 1439"/>
                    <a:gd name="T40" fmla="*/ 973 w 2705"/>
                    <a:gd name="T41" fmla="*/ 663 h 1439"/>
                    <a:gd name="T42" fmla="*/ 949 w 2705"/>
                    <a:gd name="T43" fmla="*/ 702 h 1439"/>
                    <a:gd name="T44" fmla="*/ 909 w 2705"/>
                    <a:gd name="T45" fmla="*/ 655 h 1439"/>
                    <a:gd name="T46" fmla="*/ 870 w 2705"/>
                    <a:gd name="T47" fmla="*/ 663 h 1439"/>
                    <a:gd name="T48" fmla="*/ 815 w 2705"/>
                    <a:gd name="T49" fmla="*/ 695 h 1439"/>
                    <a:gd name="T50" fmla="*/ 791 w 2705"/>
                    <a:gd name="T51" fmla="*/ 750 h 1439"/>
                    <a:gd name="T52" fmla="*/ 727 w 2705"/>
                    <a:gd name="T53" fmla="*/ 718 h 1439"/>
                    <a:gd name="T54" fmla="*/ 633 w 2705"/>
                    <a:gd name="T55" fmla="*/ 718 h 1439"/>
                    <a:gd name="T56" fmla="*/ 554 w 2705"/>
                    <a:gd name="T57" fmla="*/ 742 h 1439"/>
                    <a:gd name="T58" fmla="*/ 490 w 2705"/>
                    <a:gd name="T59" fmla="*/ 789 h 1439"/>
                    <a:gd name="T60" fmla="*/ 451 w 2705"/>
                    <a:gd name="T61" fmla="*/ 821 h 1439"/>
                    <a:gd name="T62" fmla="*/ 459 w 2705"/>
                    <a:gd name="T63" fmla="*/ 932 h 1439"/>
                    <a:gd name="T64" fmla="*/ 340 w 2705"/>
                    <a:gd name="T65" fmla="*/ 1098 h 1439"/>
                    <a:gd name="T66" fmla="*/ 87 w 2705"/>
                    <a:gd name="T67" fmla="*/ 1200 h 1439"/>
                    <a:gd name="T68" fmla="*/ 63 w 2705"/>
                    <a:gd name="T69" fmla="*/ 1366 h 1439"/>
                    <a:gd name="T70" fmla="*/ 0 w 2705"/>
                    <a:gd name="T71" fmla="*/ 1414 h 1439"/>
                    <a:gd name="T72" fmla="*/ 498 w 2705"/>
                    <a:gd name="T73" fmla="*/ 1406 h 1439"/>
                    <a:gd name="T74" fmla="*/ 577 w 2705"/>
                    <a:gd name="T75" fmla="*/ 1311 h 1439"/>
                    <a:gd name="T76" fmla="*/ 680 w 2705"/>
                    <a:gd name="T77" fmla="*/ 1303 h 1439"/>
                    <a:gd name="T78" fmla="*/ 2269 w 2705"/>
                    <a:gd name="T79" fmla="*/ 1074 h 1439"/>
                    <a:gd name="T80" fmla="*/ 2348 w 2705"/>
                    <a:gd name="T81" fmla="*/ 1019 h 1439"/>
                    <a:gd name="T82" fmla="*/ 2427 w 2705"/>
                    <a:gd name="T83" fmla="*/ 939 h 1439"/>
                    <a:gd name="T84" fmla="*/ 2475 w 2705"/>
                    <a:gd name="T85" fmla="*/ 861 h 1439"/>
                    <a:gd name="T86" fmla="*/ 2633 w 2705"/>
                    <a:gd name="T87" fmla="*/ 718 h 1439"/>
                    <a:gd name="T88" fmla="*/ 2601 w 2705"/>
                    <a:gd name="T89" fmla="*/ 592 h 1439"/>
                    <a:gd name="T90" fmla="*/ 2451 w 2705"/>
                    <a:gd name="T91" fmla="*/ 395 h 1439"/>
                    <a:gd name="T92" fmla="*/ 2427 w 2705"/>
                    <a:gd name="T93" fmla="*/ 261 h 1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705" h="1439">
                      <a:moveTo>
                        <a:pt x="2396" y="229"/>
                      </a:moveTo>
                      <a:lnTo>
                        <a:pt x="2396" y="229"/>
                      </a:lnTo>
                      <a:cubicBezTo>
                        <a:pt x="2396" y="221"/>
                        <a:pt x="2396" y="205"/>
                        <a:pt x="2380" y="205"/>
                      </a:cubicBezTo>
                      <a:cubicBezTo>
                        <a:pt x="2364" y="197"/>
                        <a:pt x="2340" y="190"/>
                        <a:pt x="2325" y="182"/>
                      </a:cubicBezTo>
                      <a:cubicBezTo>
                        <a:pt x="2316" y="166"/>
                        <a:pt x="2325" y="166"/>
                        <a:pt x="2309" y="158"/>
                      </a:cubicBezTo>
                      <a:cubicBezTo>
                        <a:pt x="2301" y="158"/>
                        <a:pt x="2293" y="150"/>
                        <a:pt x="2285" y="134"/>
                      </a:cubicBezTo>
                      <a:cubicBezTo>
                        <a:pt x="2285" y="126"/>
                        <a:pt x="2285" y="126"/>
                        <a:pt x="2285" y="126"/>
                      </a:cubicBezTo>
                      <a:cubicBezTo>
                        <a:pt x="2269" y="110"/>
                        <a:pt x="2269" y="110"/>
                        <a:pt x="2269" y="110"/>
                      </a:cubicBezTo>
                      <a:cubicBezTo>
                        <a:pt x="2245" y="134"/>
                        <a:pt x="2245" y="134"/>
                        <a:pt x="2245" y="134"/>
                      </a:cubicBezTo>
                      <a:lnTo>
                        <a:pt x="2222" y="142"/>
                      </a:lnTo>
                      <a:cubicBezTo>
                        <a:pt x="2214" y="150"/>
                        <a:pt x="2206" y="166"/>
                        <a:pt x="2198" y="166"/>
                      </a:cubicBezTo>
                      <a:cubicBezTo>
                        <a:pt x="2190" y="158"/>
                        <a:pt x="2174" y="158"/>
                        <a:pt x="2174" y="174"/>
                      </a:cubicBezTo>
                      <a:cubicBezTo>
                        <a:pt x="2166" y="182"/>
                        <a:pt x="2158" y="190"/>
                        <a:pt x="2143" y="190"/>
                      </a:cubicBezTo>
                      <a:cubicBezTo>
                        <a:pt x="2119" y="190"/>
                        <a:pt x="2111" y="174"/>
                        <a:pt x="2079" y="166"/>
                      </a:cubicBezTo>
                      <a:cubicBezTo>
                        <a:pt x="2048" y="158"/>
                        <a:pt x="2056" y="205"/>
                        <a:pt x="2032" y="213"/>
                      </a:cubicBezTo>
                      <a:cubicBezTo>
                        <a:pt x="2008" y="221"/>
                        <a:pt x="1961" y="182"/>
                        <a:pt x="1945" y="158"/>
                      </a:cubicBezTo>
                      <a:cubicBezTo>
                        <a:pt x="1929" y="142"/>
                        <a:pt x="1882" y="166"/>
                        <a:pt x="1834" y="158"/>
                      </a:cubicBezTo>
                      <a:cubicBezTo>
                        <a:pt x="1787" y="158"/>
                        <a:pt x="1803" y="118"/>
                        <a:pt x="1779" y="103"/>
                      </a:cubicBezTo>
                      <a:cubicBezTo>
                        <a:pt x="1755" y="87"/>
                        <a:pt x="1755" y="71"/>
                        <a:pt x="1732" y="32"/>
                      </a:cubicBezTo>
                      <a:cubicBezTo>
                        <a:pt x="1708" y="0"/>
                        <a:pt x="1700" y="32"/>
                        <a:pt x="1668" y="23"/>
                      </a:cubicBezTo>
                      <a:cubicBezTo>
                        <a:pt x="1637" y="16"/>
                        <a:pt x="1613" y="16"/>
                        <a:pt x="1581" y="16"/>
                      </a:cubicBezTo>
                      <a:cubicBezTo>
                        <a:pt x="1558" y="16"/>
                        <a:pt x="1558" y="55"/>
                        <a:pt x="1550" y="79"/>
                      </a:cubicBezTo>
                      <a:cubicBezTo>
                        <a:pt x="1542" y="103"/>
                        <a:pt x="1550" y="110"/>
                        <a:pt x="1566" y="126"/>
                      </a:cubicBezTo>
                      <a:cubicBezTo>
                        <a:pt x="1581" y="150"/>
                        <a:pt x="1573" y="174"/>
                        <a:pt x="1573" y="182"/>
                      </a:cubicBezTo>
                      <a:cubicBezTo>
                        <a:pt x="1573" y="197"/>
                        <a:pt x="1542" y="190"/>
                        <a:pt x="1494" y="197"/>
                      </a:cubicBezTo>
                      <a:cubicBezTo>
                        <a:pt x="1455" y="205"/>
                        <a:pt x="1486" y="229"/>
                        <a:pt x="1463" y="253"/>
                      </a:cubicBezTo>
                      <a:cubicBezTo>
                        <a:pt x="1447" y="269"/>
                        <a:pt x="1423" y="229"/>
                        <a:pt x="1407" y="221"/>
                      </a:cubicBezTo>
                      <a:cubicBezTo>
                        <a:pt x="1399" y="205"/>
                        <a:pt x="1368" y="221"/>
                        <a:pt x="1368" y="261"/>
                      </a:cubicBezTo>
                      <a:cubicBezTo>
                        <a:pt x="1360" y="292"/>
                        <a:pt x="1368" y="284"/>
                        <a:pt x="1384" y="316"/>
                      </a:cubicBezTo>
                      <a:cubicBezTo>
                        <a:pt x="1392" y="348"/>
                        <a:pt x="1360" y="340"/>
                        <a:pt x="1352" y="356"/>
                      </a:cubicBezTo>
                      <a:cubicBezTo>
                        <a:pt x="1336" y="379"/>
                        <a:pt x="1336" y="371"/>
                        <a:pt x="1320" y="371"/>
                      </a:cubicBezTo>
                      <a:cubicBezTo>
                        <a:pt x="1305" y="379"/>
                        <a:pt x="1305" y="395"/>
                        <a:pt x="1305" y="419"/>
                      </a:cubicBezTo>
                      <a:cubicBezTo>
                        <a:pt x="1305" y="435"/>
                        <a:pt x="1281" y="466"/>
                        <a:pt x="1265" y="458"/>
                      </a:cubicBezTo>
                      <a:cubicBezTo>
                        <a:pt x="1249" y="458"/>
                        <a:pt x="1210" y="561"/>
                        <a:pt x="1218" y="584"/>
                      </a:cubicBezTo>
                      <a:cubicBezTo>
                        <a:pt x="1218" y="608"/>
                        <a:pt x="1202" y="600"/>
                        <a:pt x="1178" y="608"/>
                      </a:cubicBezTo>
                      <a:cubicBezTo>
                        <a:pt x="1155" y="615"/>
                        <a:pt x="1155" y="600"/>
                        <a:pt x="1146" y="600"/>
                      </a:cubicBezTo>
                      <a:cubicBezTo>
                        <a:pt x="1131" y="592"/>
                        <a:pt x="1115" y="592"/>
                        <a:pt x="1099" y="576"/>
                      </a:cubicBezTo>
                      <a:cubicBezTo>
                        <a:pt x="1083" y="569"/>
                        <a:pt x="1075" y="545"/>
                        <a:pt x="1067" y="545"/>
                      </a:cubicBezTo>
                      <a:cubicBezTo>
                        <a:pt x="1060" y="545"/>
                        <a:pt x="1052" y="569"/>
                        <a:pt x="1036" y="584"/>
                      </a:cubicBezTo>
                      <a:cubicBezTo>
                        <a:pt x="1028" y="592"/>
                        <a:pt x="1012" y="592"/>
                        <a:pt x="1004" y="615"/>
                      </a:cubicBezTo>
                      <a:cubicBezTo>
                        <a:pt x="1004" y="631"/>
                        <a:pt x="1004" y="631"/>
                        <a:pt x="988" y="639"/>
                      </a:cubicBezTo>
                      <a:cubicBezTo>
                        <a:pt x="973" y="647"/>
                        <a:pt x="973" y="655"/>
                        <a:pt x="973" y="663"/>
                      </a:cubicBezTo>
                      <a:cubicBezTo>
                        <a:pt x="973" y="671"/>
                        <a:pt x="980" y="695"/>
                        <a:pt x="973" y="702"/>
                      </a:cubicBezTo>
                      <a:cubicBezTo>
                        <a:pt x="973" y="710"/>
                        <a:pt x="949" y="702"/>
                        <a:pt x="949" y="702"/>
                      </a:cubicBezTo>
                      <a:cubicBezTo>
                        <a:pt x="941" y="679"/>
                        <a:pt x="941" y="679"/>
                        <a:pt x="941" y="679"/>
                      </a:cubicBezTo>
                      <a:cubicBezTo>
                        <a:pt x="941" y="679"/>
                        <a:pt x="909" y="663"/>
                        <a:pt x="909" y="655"/>
                      </a:cubicBezTo>
                      <a:cubicBezTo>
                        <a:pt x="902" y="647"/>
                        <a:pt x="902" y="639"/>
                        <a:pt x="893" y="639"/>
                      </a:cubicBezTo>
                      <a:cubicBezTo>
                        <a:pt x="886" y="647"/>
                        <a:pt x="878" y="663"/>
                        <a:pt x="870" y="663"/>
                      </a:cubicBezTo>
                      <a:cubicBezTo>
                        <a:pt x="862" y="663"/>
                        <a:pt x="846" y="671"/>
                        <a:pt x="838" y="679"/>
                      </a:cubicBezTo>
                      <a:cubicBezTo>
                        <a:pt x="838" y="686"/>
                        <a:pt x="830" y="695"/>
                        <a:pt x="815" y="695"/>
                      </a:cubicBezTo>
                      <a:cubicBezTo>
                        <a:pt x="807" y="686"/>
                        <a:pt x="799" y="702"/>
                        <a:pt x="799" y="718"/>
                      </a:cubicBezTo>
                      <a:cubicBezTo>
                        <a:pt x="807" y="734"/>
                        <a:pt x="799" y="750"/>
                        <a:pt x="791" y="750"/>
                      </a:cubicBezTo>
                      <a:cubicBezTo>
                        <a:pt x="783" y="758"/>
                        <a:pt x="775" y="750"/>
                        <a:pt x="759" y="734"/>
                      </a:cubicBezTo>
                      <a:cubicBezTo>
                        <a:pt x="743" y="718"/>
                        <a:pt x="743" y="726"/>
                        <a:pt x="727" y="718"/>
                      </a:cubicBezTo>
                      <a:cubicBezTo>
                        <a:pt x="704" y="718"/>
                        <a:pt x="704" y="702"/>
                        <a:pt x="688" y="695"/>
                      </a:cubicBezTo>
                      <a:cubicBezTo>
                        <a:pt x="672" y="695"/>
                        <a:pt x="649" y="702"/>
                        <a:pt x="633" y="718"/>
                      </a:cubicBezTo>
                      <a:cubicBezTo>
                        <a:pt x="617" y="726"/>
                        <a:pt x="609" y="734"/>
                        <a:pt x="617" y="750"/>
                      </a:cubicBezTo>
                      <a:cubicBezTo>
                        <a:pt x="617" y="766"/>
                        <a:pt x="569" y="742"/>
                        <a:pt x="554" y="742"/>
                      </a:cubicBezTo>
                      <a:cubicBezTo>
                        <a:pt x="538" y="742"/>
                        <a:pt x="522" y="758"/>
                        <a:pt x="522" y="766"/>
                      </a:cubicBezTo>
                      <a:cubicBezTo>
                        <a:pt x="522" y="781"/>
                        <a:pt x="514" y="789"/>
                        <a:pt x="490" y="789"/>
                      </a:cubicBezTo>
                      <a:cubicBezTo>
                        <a:pt x="482" y="789"/>
                        <a:pt x="467" y="789"/>
                        <a:pt x="459" y="789"/>
                      </a:cubicBezTo>
                      <a:cubicBezTo>
                        <a:pt x="459" y="805"/>
                        <a:pt x="459" y="813"/>
                        <a:pt x="451" y="821"/>
                      </a:cubicBezTo>
                      <a:cubicBezTo>
                        <a:pt x="435" y="845"/>
                        <a:pt x="411" y="861"/>
                        <a:pt x="435" y="884"/>
                      </a:cubicBezTo>
                      <a:cubicBezTo>
                        <a:pt x="451" y="900"/>
                        <a:pt x="475" y="924"/>
                        <a:pt x="459" y="932"/>
                      </a:cubicBezTo>
                      <a:cubicBezTo>
                        <a:pt x="435" y="939"/>
                        <a:pt x="293" y="939"/>
                        <a:pt x="309" y="1003"/>
                      </a:cubicBezTo>
                      <a:cubicBezTo>
                        <a:pt x="324" y="1066"/>
                        <a:pt x="348" y="1074"/>
                        <a:pt x="340" y="1098"/>
                      </a:cubicBezTo>
                      <a:cubicBezTo>
                        <a:pt x="332" y="1129"/>
                        <a:pt x="301" y="1169"/>
                        <a:pt x="261" y="1137"/>
                      </a:cubicBezTo>
                      <a:cubicBezTo>
                        <a:pt x="222" y="1106"/>
                        <a:pt x="79" y="1074"/>
                        <a:pt x="87" y="1200"/>
                      </a:cubicBezTo>
                      <a:cubicBezTo>
                        <a:pt x="95" y="1208"/>
                        <a:pt x="119" y="1295"/>
                        <a:pt x="79" y="1295"/>
                      </a:cubicBezTo>
                      <a:cubicBezTo>
                        <a:pt x="48" y="1295"/>
                        <a:pt x="79" y="1319"/>
                        <a:pt x="63" y="1366"/>
                      </a:cubicBezTo>
                      <a:cubicBezTo>
                        <a:pt x="48" y="1414"/>
                        <a:pt x="48" y="1398"/>
                        <a:pt x="40" y="1390"/>
                      </a:cubicBezTo>
                      <a:cubicBezTo>
                        <a:pt x="24" y="1390"/>
                        <a:pt x="0" y="1406"/>
                        <a:pt x="0" y="1414"/>
                      </a:cubicBez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95" y="1438"/>
                        <a:pt x="467" y="1406"/>
                        <a:pt x="498" y="1406"/>
                      </a:cubicBezTo>
                      <a:cubicBezTo>
                        <a:pt x="530" y="1398"/>
                        <a:pt x="498" y="1343"/>
                        <a:pt x="498" y="1319"/>
                      </a:cubicBezTo>
                      <a:cubicBezTo>
                        <a:pt x="498" y="1295"/>
                        <a:pt x="562" y="1303"/>
                        <a:pt x="577" y="1311"/>
                      </a:cubicBezTo>
                      <a:cubicBezTo>
                        <a:pt x="601" y="1327"/>
                        <a:pt x="625" y="1351"/>
                        <a:pt x="633" y="1335"/>
                      </a:cubicBezTo>
                      <a:cubicBezTo>
                        <a:pt x="640" y="1311"/>
                        <a:pt x="680" y="1303"/>
                        <a:pt x="680" y="1303"/>
                      </a:cubicBezTo>
                      <a:cubicBezTo>
                        <a:pt x="1099" y="1279"/>
                        <a:pt x="1724" y="1208"/>
                        <a:pt x="2174" y="1153"/>
                      </a:cubicBezTo>
                      <a:cubicBezTo>
                        <a:pt x="2214" y="1121"/>
                        <a:pt x="2261" y="1090"/>
                        <a:pt x="2269" y="1074"/>
                      </a:cubicBezTo>
                      <a:cubicBezTo>
                        <a:pt x="2293" y="1050"/>
                        <a:pt x="2293" y="1074"/>
                        <a:pt x="2316" y="1074"/>
                      </a:cubicBezTo>
                      <a:cubicBezTo>
                        <a:pt x="2332" y="1074"/>
                        <a:pt x="2340" y="1058"/>
                        <a:pt x="2348" y="1019"/>
                      </a:cubicBezTo>
                      <a:cubicBezTo>
                        <a:pt x="2356" y="979"/>
                        <a:pt x="2388" y="995"/>
                        <a:pt x="2403" y="979"/>
                      </a:cubicBezTo>
                      <a:cubicBezTo>
                        <a:pt x="2427" y="971"/>
                        <a:pt x="2419" y="971"/>
                        <a:pt x="2427" y="939"/>
                      </a:cubicBezTo>
                      <a:cubicBezTo>
                        <a:pt x="2427" y="908"/>
                        <a:pt x="2435" y="924"/>
                        <a:pt x="2443" y="916"/>
                      </a:cubicBezTo>
                      <a:cubicBezTo>
                        <a:pt x="2451" y="908"/>
                        <a:pt x="2475" y="884"/>
                        <a:pt x="2475" y="861"/>
                      </a:cubicBezTo>
                      <a:cubicBezTo>
                        <a:pt x="2475" y="837"/>
                        <a:pt x="2514" y="813"/>
                        <a:pt x="2538" y="805"/>
                      </a:cubicBezTo>
                      <a:cubicBezTo>
                        <a:pt x="2554" y="789"/>
                        <a:pt x="2617" y="734"/>
                        <a:pt x="2633" y="718"/>
                      </a:cubicBezTo>
                      <a:cubicBezTo>
                        <a:pt x="2641" y="702"/>
                        <a:pt x="2680" y="663"/>
                        <a:pt x="2704" y="631"/>
                      </a:cubicBezTo>
                      <a:cubicBezTo>
                        <a:pt x="2680" y="608"/>
                        <a:pt x="2656" y="623"/>
                        <a:pt x="2601" y="592"/>
                      </a:cubicBezTo>
                      <a:cubicBezTo>
                        <a:pt x="2538" y="561"/>
                        <a:pt x="2538" y="522"/>
                        <a:pt x="2514" y="482"/>
                      </a:cubicBezTo>
                      <a:cubicBezTo>
                        <a:pt x="2498" y="450"/>
                        <a:pt x="2483" y="419"/>
                        <a:pt x="2451" y="395"/>
                      </a:cubicBezTo>
                      <a:cubicBezTo>
                        <a:pt x="2427" y="371"/>
                        <a:pt x="2419" y="276"/>
                        <a:pt x="2419" y="269"/>
                      </a:cubicBezTo>
                      <a:cubicBezTo>
                        <a:pt x="2419" y="269"/>
                        <a:pt x="2419" y="261"/>
                        <a:pt x="2427" y="261"/>
                      </a:cubicBezTo>
                      <a:cubicBezTo>
                        <a:pt x="2419" y="253"/>
                        <a:pt x="2403" y="237"/>
                        <a:pt x="2396" y="229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9" name="Freeform 782">
                  <a:extLst>
                    <a:ext uri="{FF2B5EF4-FFF2-40B4-BE49-F238E27FC236}">
                      <a16:creationId xmlns:a16="http://schemas.microsoft.com/office/drawing/2014/main" id="{B7CFE177-66F8-D94B-BD74-0E16F6E656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4146" y="5985128"/>
                  <a:ext cx="1426374" cy="749135"/>
                </a:xfrm>
                <a:custGeom>
                  <a:avLst/>
                  <a:gdLst>
                    <a:gd name="T0" fmla="*/ 8 w 2713"/>
                    <a:gd name="T1" fmla="*/ 1406 h 1423"/>
                    <a:gd name="T2" fmla="*/ 71 w 2713"/>
                    <a:gd name="T3" fmla="*/ 1311 h 1423"/>
                    <a:gd name="T4" fmla="*/ 87 w 2713"/>
                    <a:gd name="T5" fmla="*/ 1192 h 1423"/>
                    <a:gd name="T6" fmla="*/ 332 w 2713"/>
                    <a:gd name="T7" fmla="*/ 1058 h 1423"/>
                    <a:gd name="T8" fmla="*/ 443 w 2713"/>
                    <a:gd name="T9" fmla="*/ 876 h 1423"/>
                    <a:gd name="T10" fmla="*/ 467 w 2713"/>
                    <a:gd name="T11" fmla="*/ 781 h 1423"/>
                    <a:gd name="T12" fmla="*/ 617 w 2713"/>
                    <a:gd name="T13" fmla="*/ 750 h 1423"/>
                    <a:gd name="T14" fmla="*/ 712 w 2713"/>
                    <a:gd name="T15" fmla="*/ 694 h 1423"/>
                    <a:gd name="T16" fmla="*/ 807 w 2713"/>
                    <a:gd name="T17" fmla="*/ 710 h 1423"/>
                    <a:gd name="T18" fmla="*/ 886 w 2713"/>
                    <a:gd name="T19" fmla="*/ 639 h 1423"/>
                    <a:gd name="T20" fmla="*/ 949 w 2713"/>
                    <a:gd name="T21" fmla="*/ 663 h 1423"/>
                    <a:gd name="T22" fmla="*/ 996 w 2713"/>
                    <a:gd name="T23" fmla="*/ 631 h 1423"/>
                    <a:gd name="T24" fmla="*/ 1060 w 2713"/>
                    <a:gd name="T25" fmla="*/ 553 h 1423"/>
                    <a:gd name="T26" fmla="*/ 1154 w 2713"/>
                    <a:gd name="T27" fmla="*/ 584 h 1423"/>
                    <a:gd name="T28" fmla="*/ 1218 w 2713"/>
                    <a:gd name="T29" fmla="*/ 576 h 1423"/>
                    <a:gd name="T30" fmla="*/ 1352 w 2713"/>
                    <a:gd name="T31" fmla="*/ 348 h 1423"/>
                    <a:gd name="T32" fmla="*/ 1423 w 2713"/>
                    <a:gd name="T33" fmla="*/ 205 h 1423"/>
                    <a:gd name="T34" fmla="*/ 1550 w 2713"/>
                    <a:gd name="T35" fmla="*/ 182 h 1423"/>
                    <a:gd name="T36" fmla="*/ 1589 w 2713"/>
                    <a:gd name="T37" fmla="*/ 0 h 1423"/>
                    <a:gd name="T38" fmla="*/ 1740 w 2713"/>
                    <a:gd name="T39" fmla="*/ 24 h 1423"/>
                    <a:gd name="T40" fmla="*/ 1898 w 2713"/>
                    <a:gd name="T41" fmla="*/ 142 h 1423"/>
                    <a:gd name="T42" fmla="*/ 2080 w 2713"/>
                    <a:gd name="T43" fmla="*/ 150 h 1423"/>
                    <a:gd name="T44" fmla="*/ 2206 w 2713"/>
                    <a:gd name="T45" fmla="*/ 150 h 1423"/>
                    <a:gd name="T46" fmla="*/ 2301 w 2713"/>
                    <a:gd name="T47" fmla="*/ 126 h 1423"/>
                    <a:gd name="T48" fmla="*/ 2411 w 2713"/>
                    <a:gd name="T49" fmla="*/ 221 h 1423"/>
                    <a:gd name="T50" fmla="*/ 2522 w 2713"/>
                    <a:gd name="T51" fmla="*/ 466 h 1423"/>
                    <a:gd name="T52" fmla="*/ 2712 w 2713"/>
                    <a:gd name="T53" fmla="*/ 623 h 1423"/>
                    <a:gd name="T54" fmla="*/ 2451 w 2713"/>
                    <a:gd name="T55" fmla="*/ 908 h 1423"/>
                    <a:gd name="T56" fmla="*/ 2356 w 2713"/>
                    <a:gd name="T57" fmla="*/ 1011 h 1423"/>
                    <a:gd name="T58" fmla="*/ 2182 w 2713"/>
                    <a:gd name="T59" fmla="*/ 1145 h 1423"/>
                    <a:gd name="T60" fmla="*/ 593 w 2713"/>
                    <a:gd name="T61" fmla="*/ 1311 h 1423"/>
                    <a:gd name="T62" fmla="*/ 506 w 2713"/>
                    <a:gd name="T63" fmla="*/ 1398 h 1423"/>
                    <a:gd name="T64" fmla="*/ 490 w 2713"/>
                    <a:gd name="T65" fmla="*/ 1390 h 1423"/>
                    <a:gd name="T66" fmla="*/ 593 w 2713"/>
                    <a:gd name="T67" fmla="*/ 1303 h 1423"/>
                    <a:gd name="T68" fmla="*/ 2174 w 2713"/>
                    <a:gd name="T69" fmla="*/ 1137 h 1423"/>
                    <a:gd name="T70" fmla="*/ 2348 w 2713"/>
                    <a:gd name="T71" fmla="*/ 1011 h 1423"/>
                    <a:gd name="T72" fmla="*/ 2451 w 2713"/>
                    <a:gd name="T73" fmla="*/ 908 h 1423"/>
                    <a:gd name="T74" fmla="*/ 2672 w 2713"/>
                    <a:gd name="T75" fmla="*/ 607 h 1423"/>
                    <a:gd name="T76" fmla="*/ 2419 w 2713"/>
                    <a:gd name="T77" fmla="*/ 261 h 1423"/>
                    <a:gd name="T78" fmla="*/ 2324 w 2713"/>
                    <a:gd name="T79" fmla="*/ 158 h 1423"/>
                    <a:gd name="T80" fmla="*/ 2230 w 2713"/>
                    <a:gd name="T81" fmla="*/ 142 h 1423"/>
                    <a:gd name="T82" fmla="*/ 2087 w 2713"/>
                    <a:gd name="T83" fmla="*/ 158 h 1423"/>
                    <a:gd name="T84" fmla="*/ 1929 w 2713"/>
                    <a:gd name="T85" fmla="*/ 150 h 1423"/>
                    <a:gd name="T86" fmla="*/ 1755 w 2713"/>
                    <a:gd name="T87" fmla="*/ 55 h 1423"/>
                    <a:gd name="T88" fmla="*/ 1589 w 2713"/>
                    <a:gd name="T89" fmla="*/ 8 h 1423"/>
                    <a:gd name="T90" fmla="*/ 1581 w 2713"/>
                    <a:gd name="T91" fmla="*/ 174 h 1423"/>
                    <a:gd name="T92" fmla="*/ 1423 w 2713"/>
                    <a:gd name="T93" fmla="*/ 221 h 1423"/>
                    <a:gd name="T94" fmla="*/ 1376 w 2713"/>
                    <a:gd name="T95" fmla="*/ 340 h 1423"/>
                    <a:gd name="T96" fmla="*/ 1265 w 2713"/>
                    <a:gd name="T97" fmla="*/ 466 h 1423"/>
                    <a:gd name="T98" fmla="*/ 1154 w 2713"/>
                    <a:gd name="T99" fmla="*/ 600 h 1423"/>
                    <a:gd name="T100" fmla="*/ 1075 w 2713"/>
                    <a:gd name="T101" fmla="*/ 545 h 1423"/>
                    <a:gd name="T102" fmla="*/ 1004 w 2713"/>
                    <a:gd name="T103" fmla="*/ 631 h 1423"/>
                    <a:gd name="T104" fmla="*/ 957 w 2713"/>
                    <a:gd name="T105" fmla="*/ 694 h 1423"/>
                    <a:gd name="T106" fmla="*/ 894 w 2713"/>
                    <a:gd name="T107" fmla="*/ 647 h 1423"/>
                    <a:gd name="T108" fmla="*/ 815 w 2713"/>
                    <a:gd name="T109" fmla="*/ 687 h 1423"/>
                    <a:gd name="T110" fmla="*/ 728 w 2713"/>
                    <a:gd name="T111" fmla="*/ 718 h 1423"/>
                    <a:gd name="T112" fmla="*/ 625 w 2713"/>
                    <a:gd name="T113" fmla="*/ 750 h 1423"/>
                    <a:gd name="T114" fmla="*/ 498 w 2713"/>
                    <a:gd name="T115" fmla="*/ 781 h 1423"/>
                    <a:gd name="T116" fmla="*/ 475 w 2713"/>
                    <a:gd name="T117" fmla="*/ 916 h 1423"/>
                    <a:gd name="T118" fmla="*/ 348 w 2713"/>
                    <a:gd name="T119" fmla="*/ 1098 h 1423"/>
                    <a:gd name="T120" fmla="*/ 111 w 2713"/>
                    <a:gd name="T121" fmla="*/ 1279 h 1423"/>
                    <a:gd name="T122" fmla="*/ 48 w 2713"/>
                    <a:gd name="T123" fmla="*/ 1390 h 1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13" h="1423">
                      <a:moveTo>
                        <a:pt x="71" y="1422"/>
                      </a:moveTo>
                      <a:lnTo>
                        <a:pt x="71" y="1422"/>
                      </a:lnTo>
                      <a:cubicBezTo>
                        <a:pt x="40" y="1422"/>
                        <a:pt x="24" y="1422"/>
                        <a:pt x="8" y="1422"/>
                      </a:cubicBezTo>
                      <a:cubicBezTo>
                        <a:pt x="0" y="1422"/>
                        <a:pt x="0" y="1422"/>
                        <a:pt x="0" y="1422"/>
                      </a:cubicBezTo>
                      <a:cubicBezTo>
                        <a:pt x="8" y="1414"/>
                        <a:pt x="8" y="1414"/>
                        <a:pt x="8" y="1414"/>
                      </a:cubicBezTo>
                      <a:cubicBezTo>
                        <a:pt x="8" y="1414"/>
                        <a:pt x="8" y="1414"/>
                        <a:pt x="8" y="1406"/>
                      </a:cubicBezTo>
                      <a:cubicBezTo>
                        <a:pt x="8" y="1398"/>
                        <a:pt x="24" y="1382"/>
                        <a:pt x="40" y="1382"/>
                      </a:cubicBezTo>
                      <a:cubicBezTo>
                        <a:pt x="40" y="1382"/>
                        <a:pt x="40" y="1382"/>
                        <a:pt x="48" y="1382"/>
                      </a:cubicBezTo>
                      <a:lnTo>
                        <a:pt x="56" y="1382"/>
                      </a:lnTo>
                      <a:cubicBezTo>
                        <a:pt x="56" y="1390"/>
                        <a:pt x="56" y="1390"/>
                        <a:pt x="56" y="1390"/>
                      </a:cubicBezTo>
                      <a:cubicBezTo>
                        <a:pt x="56" y="1382"/>
                        <a:pt x="64" y="1366"/>
                        <a:pt x="71" y="1358"/>
                      </a:cubicBezTo>
                      <a:cubicBezTo>
                        <a:pt x="71" y="1335"/>
                        <a:pt x="71" y="1319"/>
                        <a:pt x="71" y="1311"/>
                      </a:cubicBezTo>
                      <a:cubicBezTo>
                        <a:pt x="71" y="1303"/>
                        <a:pt x="71" y="1295"/>
                        <a:pt x="71" y="1287"/>
                      </a:cubicBezTo>
                      <a:cubicBezTo>
                        <a:pt x="71" y="1287"/>
                        <a:pt x="79" y="1287"/>
                        <a:pt x="87" y="1287"/>
                      </a:cubicBezTo>
                      <a:cubicBezTo>
                        <a:pt x="95" y="1287"/>
                        <a:pt x="103" y="1279"/>
                        <a:pt x="103" y="1271"/>
                      </a:cubicBezTo>
                      <a:cubicBezTo>
                        <a:pt x="111" y="1248"/>
                        <a:pt x="95" y="1200"/>
                        <a:pt x="87" y="1192"/>
                      </a:cubicBezTo>
                      <a:lnTo>
                        <a:pt x="87" y="1192"/>
                      </a:lnTo>
                      <a:lnTo>
                        <a:pt x="87" y="1192"/>
                      </a:lnTo>
                      <a:cubicBezTo>
                        <a:pt x="87" y="1161"/>
                        <a:pt x="95" y="1137"/>
                        <a:pt x="111" y="1121"/>
                      </a:cubicBezTo>
                      <a:cubicBezTo>
                        <a:pt x="127" y="1105"/>
                        <a:pt x="151" y="1098"/>
                        <a:pt x="174" y="1098"/>
                      </a:cubicBezTo>
                      <a:cubicBezTo>
                        <a:pt x="214" y="1098"/>
                        <a:pt x="253" y="1113"/>
                        <a:pt x="269" y="1129"/>
                      </a:cubicBezTo>
                      <a:cubicBezTo>
                        <a:pt x="277" y="1137"/>
                        <a:pt x="293" y="1137"/>
                        <a:pt x="301" y="1137"/>
                      </a:cubicBezTo>
                      <a:cubicBezTo>
                        <a:pt x="324" y="1137"/>
                        <a:pt x="340" y="1113"/>
                        <a:pt x="340" y="1090"/>
                      </a:cubicBezTo>
                      <a:cubicBezTo>
                        <a:pt x="348" y="1082"/>
                        <a:pt x="340" y="1074"/>
                        <a:pt x="332" y="1058"/>
                      </a:cubicBezTo>
                      <a:cubicBezTo>
                        <a:pt x="324" y="1042"/>
                        <a:pt x="317" y="1026"/>
                        <a:pt x="309" y="995"/>
                      </a:cubicBezTo>
                      <a:cubicBezTo>
                        <a:pt x="309" y="987"/>
                        <a:pt x="309" y="979"/>
                        <a:pt x="317" y="971"/>
                      </a:cubicBezTo>
                      <a:cubicBezTo>
                        <a:pt x="332" y="940"/>
                        <a:pt x="395" y="931"/>
                        <a:pt x="435" y="924"/>
                      </a:cubicBezTo>
                      <a:cubicBezTo>
                        <a:pt x="451" y="924"/>
                        <a:pt x="459" y="924"/>
                        <a:pt x="467" y="924"/>
                      </a:cubicBezTo>
                      <a:cubicBezTo>
                        <a:pt x="467" y="916"/>
                        <a:pt x="467" y="916"/>
                        <a:pt x="467" y="916"/>
                      </a:cubicBezTo>
                      <a:cubicBezTo>
                        <a:pt x="467" y="908"/>
                        <a:pt x="459" y="892"/>
                        <a:pt x="443" y="876"/>
                      </a:cubicBezTo>
                      <a:cubicBezTo>
                        <a:pt x="435" y="876"/>
                        <a:pt x="435" y="876"/>
                        <a:pt x="435" y="876"/>
                      </a:cubicBezTo>
                      <a:cubicBezTo>
                        <a:pt x="419" y="860"/>
                        <a:pt x="435" y="845"/>
                        <a:pt x="443" y="829"/>
                      </a:cubicBezTo>
                      <a:cubicBezTo>
                        <a:pt x="451" y="821"/>
                        <a:pt x="451" y="821"/>
                        <a:pt x="459" y="813"/>
                      </a:cubicBezTo>
                      <a:cubicBezTo>
                        <a:pt x="467" y="805"/>
                        <a:pt x="467" y="797"/>
                        <a:pt x="459" y="781"/>
                      </a:cubicBezTo>
                      <a:lnTo>
                        <a:pt x="459" y="781"/>
                      </a:lnTo>
                      <a:cubicBezTo>
                        <a:pt x="467" y="781"/>
                        <a:pt x="467" y="781"/>
                        <a:pt x="467" y="781"/>
                      </a:cubicBezTo>
                      <a:cubicBezTo>
                        <a:pt x="475" y="773"/>
                        <a:pt x="490" y="773"/>
                        <a:pt x="498" y="781"/>
                      </a:cubicBezTo>
                      <a:lnTo>
                        <a:pt x="506" y="781"/>
                      </a:lnTo>
                      <a:cubicBezTo>
                        <a:pt x="522" y="781"/>
                        <a:pt x="522" y="773"/>
                        <a:pt x="522" y="758"/>
                      </a:cubicBezTo>
                      <a:cubicBezTo>
                        <a:pt x="522" y="742"/>
                        <a:pt x="538" y="726"/>
                        <a:pt x="562" y="726"/>
                      </a:cubicBezTo>
                      <a:cubicBezTo>
                        <a:pt x="570" y="734"/>
                        <a:pt x="577" y="734"/>
                        <a:pt x="585" y="734"/>
                      </a:cubicBezTo>
                      <a:cubicBezTo>
                        <a:pt x="593" y="742"/>
                        <a:pt x="609" y="750"/>
                        <a:pt x="617" y="750"/>
                      </a:cubicBezTo>
                      <a:lnTo>
                        <a:pt x="617" y="750"/>
                      </a:lnTo>
                      <a:cubicBezTo>
                        <a:pt x="617" y="742"/>
                        <a:pt x="617" y="742"/>
                        <a:pt x="617" y="742"/>
                      </a:cubicBezTo>
                      <a:cubicBezTo>
                        <a:pt x="617" y="726"/>
                        <a:pt x="617" y="718"/>
                        <a:pt x="641" y="702"/>
                      </a:cubicBezTo>
                      <a:cubicBezTo>
                        <a:pt x="657" y="694"/>
                        <a:pt x="672" y="687"/>
                        <a:pt x="688" y="687"/>
                      </a:cubicBezTo>
                      <a:cubicBezTo>
                        <a:pt x="696" y="687"/>
                        <a:pt x="696" y="687"/>
                        <a:pt x="696" y="687"/>
                      </a:cubicBezTo>
                      <a:cubicBezTo>
                        <a:pt x="704" y="687"/>
                        <a:pt x="712" y="694"/>
                        <a:pt x="712" y="694"/>
                      </a:cubicBezTo>
                      <a:cubicBezTo>
                        <a:pt x="720" y="702"/>
                        <a:pt x="720" y="710"/>
                        <a:pt x="735" y="710"/>
                      </a:cubicBezTo>
                      <a:lnTo>
                        <a:pt x="743" y="710"/>
                      </a:lnTo>
                      <a:lnTo>
                        <a:pt x="743" y="710"/>
                      </a:lnTo>
                      <a:cubicBezTo>
                        <a:pt x="751" y="710"/>
                        <a:pt x="759" y="710"/>
                        <a:pt x="767" y="726"/>
                      </a:cubicBezTo>
                      <a:cubicBezTo>
                        <a:pt x="783" y="734"/>
                        <a:pt x="791" y="742"/>
                        <a:pt x="799" y="742"/>
                      </a:cubicBezTo>
                      <a:cubicBezTo>
                        <a:pt x="807" y="742"/>
                        <a:pt x="807" y="726"/>
                        <a:pt x="807" y="710"/>
                      </a:cubicBezTo>
                      <a:cubicBezTo>
                        <a:pt x="807" y="702"/>
                        <a:pt x="807" y="687"/>
                        <a:pt x="807" y="687"/>
                      </a:cubicBezTo>
                      <a:cubicBezTo>
                        <a:pt x="815" y="678"/>
                        <a:pt x="823" y="678"/>
                        <a:pt x="830" y="678"/>
                      </a:cubicBezTo>
                      <a:cubicBezTo>
                        <a:pt x="838" y="678"/>
                        <a:pt x="838" y="678"/>
                        <a:pt x="846" y="671"/>
                      </a:cubicBezTo>
                      <a:lnTo>
                        <a:pt x="846" y="671"/>
                      </a:lnTo>
                      <a:cubicBezTo>
                        <a:pt x="854" y="655"/>
                        <a:pt x="870" y="655"/>
                        <a:pt x="878" y="647"/>
                      </a:cubicBezTo>
                      <a:cubicBezTo>
                        <a:pt x="878" y="647"/>
                        <a:pt x="886" y="647"/>
                        <a:pt x="886" y="639"/>
                      </a:cubicBezTo>
                      <a:cubicBezTo>
                        <a:pt x="886" y="639"/>
                        <a:pt x="894" y="631"/>
                        <a:pt x="901" y="631"/>
                      </a:cubicBezTo>
                      <a:lnTo>
                        <a:pt x="901" y="631"/>
                      </a:lnTo>
                      <a:cubicBezTo>
                        <a:pt x="910" y="631"/>
                        <a:pt x="910" y="639"/>
                        <a:pt x="917" y="639"/>
                      </a:cubicBezTo>
                      <a:lnTo>
                        <a:pt x="917" y="647"/>
                      </a:lnTo>
                      <a:cubicBezTo>
                        <a:pt x="917" y="647"/>
                        <a:pt x="933" y="655"/>
                        <a:pt x="949" y="663"/>
                      </a:cubicBezTo>
                      <a:lnTo>
                        <a:pt x="949" y="663"/>
                      </a:lnTo>
                      <a:cubicBezTo>
                        <a:pt x="957" y="687"/>
                        <a:pt x="957" y="687"/>
                        <a:pt x="957" y="687"/>
                      </a:cubicBezTo>
                      <a:cubicBezTo>
                        <a:pt x="965" y="694"/>
                        <a:pt x="973" y="694"/>
                        <a:pt x="973" y="694"/>
                      </a:cubicBezTo>
                      <a:cubicBezTo>
                        <a:pt x="981" y="694"/>
                        <a:pt x="981" y="694"/>
                        <a:pt x="981" y="694"/>
                      </a:cubicBezTo>
                      <a:cubicBezTo>
                        <a:pt x="981" y="694"/>
                        <a:pt x="981" y="671"/>
                        <a:pt x="981" y="663"/>
                      </a:cubicBezTo>
                      <a:lnTo>
                        <a:pt x="981" y="655"/>
                      </a:lnTo>
                      <a:cubicBezTo>
                        <a:pt x="981" y="647"/>
                        <a:pt x="981" y="639"/>
                        <a:pt x="996" y="631"/>
                      </a:cubicBezTo>
                      <a:lnTo>
                        <a:pt x="996" y="631"/>
                      </a:lnTo>
                      <a:cubicBezTo>
                        <a:pt x="1004" y="623"/>
                        <a:pt x="1004" y="623"/>
                        <a:pt x="1012" y="607"/>
                      </a:cubicBezTo>
                      <a:lnTo>
                        <a:pt x="1012" y="607"/>
                      </a:lnTo>
                      <a:cubicBezTo>
                        <a:pt x="1020" y="584"/>
                        <a:pt x="1028" y="584"/>
                        <a:pt x="1036" y="576"/>
                      </a:cubicBezTo>
                      <a:cubicBezTo>
                        <a:pt x="1036" y="576"/>
                        <a:pt x="1044" y="576"/>
                        <a:pt x="1044" y="568"/>
                      </a:cubicBezTo>
                      <a:cubicBezTo>
                        <a:pt x="1052" y="568"/>
                        <a:pt x="1052" y="561"/>
                        <a:pt x="1060" y="553"/>
                      </a:cubicBezTo>
                      <a:cubicBezTo>
                        <a:pt x="1060" y="545"/>
                        <a:pt x="1068" y="537"/>
                        <a:pt x="1075" y="537"/>
                      </a:cubicBezTo>
                      <a:lnTo>
                        <a:pt x="1075" y="537"/>
                      </a:lnTo>
                      <a:cubicBezTo>
                        <a:pt x="1083" y="537"/>
                        <a:pt x="1091" y="545"/>
                        <a:pt x="1099" y="553"/>
                      </a:cubicBezTo>
                      <a:cubicBezTo>
                        <a:pt x="1099" y="561"/>
                        <a:pt x="1107" y="561"/>
                        <a:pt x="1107" y="568"/>
                      </a:cubicBezTo>
                      <a:cubicBezTo>
                        <a:pt x="1123" y="576"/>
                        <a:pt x="1131" y="584"/>
                        <a:pt x="1147" y="584"/>
                      </a:cubicBezTo>
                      <a:cubicBezTo>
                        <a:pt x="1147" y="584"/>
                        <a:pt x="1147" y="584"/>
                        <a:pt x="1154" y="584"/>
                      </a:cubicBezTo>
                      <a:lnTo>
                        <a:pt x="1163" y="592"/>
                      </a:lnTo>
                      <a:lnTo>
                        <a:pt x="1170" y="600"/>
                      </a:lnTo>
                      <a:cubicBezTo>
                        <a:pt x="1178" y="600"/>
                        <a:pt x="1178" y="600"/>
                        <a:pt x="1186" y="592"/>
                      </a:cubicBezTo>
                      <a:cubicBezTo>
                        <a:pt x="1194" y="592"/>
                        <a:pt x="1194" y="592"/>
                        <a:pt x="1202" y="592"/>
                      </a:cubicBezTo>
                      <a:cubicBezTo>
                        <a:pt x="1210" y="592"/>
                        <a:pt x="1218" y="592"/>
                        <a:pt x="1218" y="584"/>
                      </a:cubicBezTo>
                      <a:lnTo>
                        <a:pt x="1218" y="576"/>
                      </a:lnTo>
                      <a:cubicBezTo>
                        <a:pt x="1210" y="553"/>
                        <a:pt x="1241" y="482"/>
                        <a:pt x="1257" y="458"/>
                      </a:cubicBezTo>
                      <a:cubicBezTo>
                        <a:pt x="1265" y="450"/>
                        <a:pt x="1273" y="450"/>
                        <a:pt x="1273" y="450"/>
                      </a:cubicBezTo>
                      <a:cubicBezTo>
                        <a:pt x="1289" y="450"/>
                        <a:pt x="1305" y="427"/>
                        <a:pt x="1305" y="411"/>
                      </a:cubicBezTo>
                      <a:cubicBezTo>
                        <a:pt x="1305" y="379"/>
                        <a:pt x="1313" y="363"/>
                        <a:pt x="1328" y="363"/>
                      </a:cubicBezTo>
                      <a:cubicBezTo>
                        <a:pt x="1336" y="363"/>
                        <a:pt x="1336" y="363"/>
                        <a:pt x="1336" y="363"/>
                      </a:cubicBezTo>
                      <a:cubicBezTo>
                        <a:pt x="1344" y="363"/>
                        <a:pt x="1344" y="363"/>
                        <a:pt x="1352" y="348"/>
                      </a:cubicBezTo>
                      <a:cubicBezTo>
                        <a:pt x="1360" y="340"/>
                        <a:pt x="1368" y="340"/>
                        <a:pt x="1376" y="332"/>
                      </a:cubicBezTo>
                      <a:cubicBezTo>
                        <a:pt x="1384" y="332"/>
                        <a:pt x="1392" y="324"/>
                        <a:pt x="1384" y="308"/>
                      </a:cubicBezTo>
                      <a:cubicBezTo>
                        <a:pt x="1384" y="300"/>
                        <a:pt x="1376" y="292"/>
                        <a:pt x="1376" y="292"/>
                      </a:cubicBezTo>
                      <a:cubicBezTo>
                        <a:pt x="1368" y="276"/>
                        <a:pt x="1368" y="276"/>
                        <a:pt x="1368" y="245"/>
                      </a:cubicBezTo>
                      <a:cubicBezTo>
                        <a:pt x="1376" y="221"/>
                        <a:pt x="1392" y="205"/>
                        <a:pt x="1407" y="205"/>
                      </a:cubicBezTo>
                      <a:cubicBezTo>
                        <a:pt x="1415" y="205"/>
                        <a:pt x="1415" y="205"/>
                        <a:pt x="1423" y="205"/>
                      </a:cubicBezTo>
                      <a:cubicBezTo>
                        <a:pt x="1423" y="213"/>
                        <a:pt x="1423" y="213"/>
                        <a:pt x="1431" y="213"/>
                      </a:cubicBezTo>
                      <a:cubicBezTo>
                        <a:pt x="1439" y="229"/>
                        <a:pt x="1455" y="245"/>
                        <a:pt x="1463" y="245"/>
                      </a:cubicBezTo>
                      <a:cubicBezTo>
                        <a:pt x="1463" y="245"/>
                        <a:pt x="1471" y="245"/>
                        <a:pt x="1471" y="237"/>
                      </a:cubicBezTo>
                      <a:cubicBezTo>
                        <a:pt x="1479" y="229"/>
                        <a:pt x="1479" y="221"/>
                        <a:pt x="1479" y="213"/>
                      </a:cubicBezTo>
                      <a:cubicBezTo>
                        <a:pt x="1479" y="205"/>
                        <a:pt x="1471" y="189"/>
                        <a:pt x="1502" y="182"/>
                      </a:cubicBezTo>
                      <a:cubicBezTo>
                        <a:pt x="1518" y="182"/>
                        <a:pt x="1534" y="182"/>
                        <a:pt x="1550" y="182"/>
                      </a:cubicBezTo>
                      <a:cubicBezTo>
                        <a:pt x="1566" y="182"/>
                        <a:pt x="1574" y="182"/>
                        <a:pt x="1574" y="174"/>
                      </a:cubicBezTo>
                      <a:cubicBezTo>
                        <a:pt x="1581" y="166"/>
                        <a:pt x="1581" y="142"/>
                        <a:pt x="1574" y="118"/>
                      </a:cubicBezTo>
                      <a:cubicBezTo>
                        <a:pt x="1566" y="118"/>
                        <a:pt x="1566" y="110"/>
                        <a:pt x="1566" y="110"/>
                      </a:cubicBezTo>
                      <a:cubicBezTo>
                        <a:pt x="1550" y="102"/>
                        <a:pt x="1550" y="95"/>
                        <a:pt x="1550" y="71"/>
                      </a:cubicBezTo>
                      <a:cubicBezTo>
                        <a:pt x="1558" y="63"/>
                        <a:pt x="1558" y="55"/>
                        <a:pt x="1558" y="47"/>
                      </a:cubicBezTo>
                      <a:cubicBezTo>
                        <a:pt x="1566" y="31"/>
                        <a:pt x="1566" y="0"/>
                        <a:pt x="1589" y="0"/>
                      </a:cubicBezTo>
                      <a:lnTo>
                        <a:pt x="1589" y="0"/>
                      </a:lnTo>
                      <a:cubicBezTo>
                        <a:pt x="1621" y="0"/>
                        <a:pt x="1645" y="8"/>
                        <a:pt x="1676" y="15"/>
                      </a:cubicBezTo>
                      <a:lnTo>
                        <a:pt x="1684" y="15"/>
                      </a:lnTo>
                      <a:cubicBezTo>
                        <a:pt x="1692" y="15"/>
                        <a:pt x="1700" y="15"/>
                        <a:pt x="1700" y="8"/>
                      </a:cubicBezTo>
                      <a:cubicBezTo>
                        <a:pt x="1708" y="8"/>
                        <a:pt x="1708" y="8"/>
                        <a:pt x="1716" y="8"/>
                      </a:cubicBezTo>
                      <a:cubicBezTo>
                        <a:pt x="1724" y="8"/>
                        <a:pt x="1732" y="8"/>
                        <a:pt x="1740" y="24"/>
                      </a:cubicBezTo>
                      <a:cubicBezTo>
                        <a:pt x="1747" y="31"/>
                        <a:pt x="1755" y="47"/>
                        <a:pt x="1755" y="55"/>
                      </a:cubicBezTo>
                      <a:cubicBezTo>
                        <a:pt x="1771" y="71"/>
                        <a:pt x="1771" y="87"/>
                        <a:pt x="1787" y="95"/>
                      </a:cubicBezTo>
                      <a:cubicBezTo>
                        <a:pt x="1795" y="102"/>
                        <a:pt x="1803" y="110"/>
                        <a:pt x="1803" y="118"/>
                      </a:cubicBezTo>
                      <a:cubicBezTo>
                        <a:pt x="1811" y="134"/>
                        <a:pt x="1811" y="142"/>
                        <a:pt x="1842" y="150"/>
                      </a:cubicBezTo>
                      <a:cubicBezTo>
                        <a:pt x="1850" y="150"/>
                        <a:pt x="1850" y="150"/>
                        <a:pt x="1858" y="150"/>
                      </a:cubicBezTo>
                      <a:cubicBezTo>
                        <a:pt x="1874" y="150"/>
                        <a:pt x="1890" y="150"/>
                        <a:pt x="1898" y="142"/>
                      </a:cubicBezTo>
                      <a:cubicBezTo>
                        <a:pt x="1913" y="142"/>
                        <a:pt x="1921" y="142"/>
                        <a:pt x="1929" y="142"/>
                      </a:cubicBezTo>
                      <a:cubicBezTo>
                        <a:pt x="1945" y="142"/>
                        <a:pt x="1953" y="142"/>
                        <a:pt x="1953" y="150"/>
                      </a:cubicBezTo>
                      <a:cubicBezTo>
                        <a:pt x="1969" y="166"/>
                        <a:pt x="2008" y="197"/>
                        <a:pt x="2032" y="197"/>
                      </a:cubicBezTo>
                      <a:lnTo>
                        <a:pt x="2040" y="197"/>
                      </a:lnTo>
                      <a:cubicBezTo>
                        <a:pt x="2048" y="197"/>
                        <a:pt x="2056" y="189"/>
                        <a:pt x="2056" y="182"/>
                      </a:cubicBezTo>
                      <a:cubicBezTo>
                        <a:pt x="2064" y="166"/>
                        <a:pt x="2064" y="150"/>
                        <a:pt x="2080" y="150"/>
                      </a:cubicBezTo>
                      <a:cubicBezTo>
                        <a:pt x="2087" y="150"/>
                        <a:pt x="2087" y="150"/>
                        <a:pt x="2087" y="158"/>
                      </a:cubicBezTo>
                      <a:cubicBezTo>
                        <a:pt x="2103" y="158"/>
                        <a:pt x="2119" y="166"/>
                        <a:pt x="2127" y="166"/>
                      </a:cubicBezTo>
                      <a:cubicBezTo>
                        <a:pt x="2135" y="174"/>
                        <a:pt x="2135" y="182"/>
                        <a:pt x="2143" y="174"/>
                      </a:cubicBezTo>
                      <a:cubicBezTo>
                        <a:pt x="2166" y="174"/>
                        <a:pt x="2174" y="166"/>
                        <a:pt x="2174" y="158"/>
                      </a:cubicBezTo>
                      <a:cubicBezTo>
                        <a:pt x="2182" y="158"/>
                        <a:pt x="2182" y="150"/>
                        <a:pt x="2198" y="150"/>
                      </a:cubicBezTo>
                      <a:lnTo>
                        <a:pt x="2206" y="150"/>
                      </a:lnTo>
                      <a:cubicBezTo>
                        <a:pt x="2214" y="150"/>
                        <a:pt x="2214" y="150"/>
                        <a:pt x="2222" y="134"/>
                      </a:cubicBezTo>
                      <a:cubicBezTo>
                        <a:pt x="2230" y="134"/>
                        <a:pt x="2238" y="126"/>
                        <a:pt x="2246" y="118"/>
                      </a:cubicBezTo>
                      <a:cubicBezTo>
                        <a:pt x="2277" y="102"/>
                        <a:pt x="2277" y="102"/>
                        <a:pt x="2277" y="102"/>
                      </a:cubicBezTo>
                      <a:cubicBezTo>
                        <a:pt x="2293" y="110"/>
                        <a:pt x="2293" y="110"/>
                        <a:pt x="2293" y="110"/>
                      </a:cubicBezTo>
                      <a:cubicBezTo>
                        <a:pt x="2293" y="118"/>
                        <a:pt x="2293" y="118"/>
                        <a:pt x="2293" y="118"/>
                      </a:cubicBezTo>
                      <a:cubicBezTo>
                        <a:pt x="2293" y="118"/>
                        <a:pt x="2293" y="118"/>
                        <a:pt x="2301" y="126"/>
                      </a:cubicBezTo>
                      <a:cubicBezTo>
                        <a:pt x="2301" y="134"/>
                        <a:pt x="2309" y="142"/>
                        <a:pt x="2317" y="150"/>
                      </a:cubicBezTo>
                      <a:cubicBezTo>
                        <a:pt x="2324" y="150"/>
                        <a:pt x="2333" y="158"/>
                        <a:pt x="2333" y="158"/>
                      </a:cubicBezTo>
                      <a:cubicBezTo>
                        <a:pt x="2333" y="158"/>
                        <a:pt x="2333" y="166"/>
                        <a:pt x="2340" y="174"/>
                      </a:cubicBezTo>
                      <a:cubicBezTo>
                        <a:pt x="2340" y="182"/>
                        <a:pt x="2364" y="189"/>
                        <a:pt x="2388" y="189"/>
                      </a:cubicBezTo>
                      <a:cubicBezTo>
                        <a:pt x="2404" y="197"/>
                        <a:pt x="2404" y="205"/>
                        <a:pt x="2404" y="213"/>
                      </a:cubicBezTo>
                      <a:lnTo>
                        <a:pt x="2411" y="221"/>
                      </a:lnTo>
                      <a:cubicBezTo>
                        <a:pt x="2411" y="229"/>
                        <a:pt x="2419" y="229"/>
                        <a:pt x="2443" y="245"/>
                      </a:cubicBezTo>
                      <a:cubicBezTo>
                        <a:pt x="2443" y="253"/>
                        <a:pt x="2443" y="253"/>
                        <a:pt x="2443" y="253"/>
                      </a:cubicBezTo>
                      <a:cubicBezTo>
                        <a:pt x="2435" y="253"/>
                        <a:pt x="2435" y="253"/>
                        <a:pt x="2435" y="253"/>
                      </a:cubicBezTo>
                      <a:cubicBezTo>
                        <a:pt x="2427" y="261"/>
                        <a:pt x="2427" y="261"/>
                        <a:pt x="2427" y="261"/>
                      </a:cubicBezTo>
                      <a:cubicBezTo>
                        <a:pt x="2427" y="276"/>
                        <a:pt x="2435" y="363"/>
                        <a:pt x="2467" y="387"/>
                      </a:cubicBezTo>
                      <a:cubicBezTo>
                        <a:pt x="2491" y="403"/>
                        <a:pt x="2506" y="435"/>
                        <a:pt x="2522" y="466"/>
                      </a:cubicBezTo>
                      <a:cubicBezTo>
                        <a:pt x="2530" y="474"/>
                        <a:pt x="2530" y="474"/>
                        <a:pt x="2530" y="474"/>
                      </a:cubicBezTo>
                      <a:cubicBezTo>
                        <a:pt x="2530" y="482"/>
                        <a:pt x="2538" y="490"/>
                        <a:pt x="2538" y="498"/>
                      </a:cubicBezTo>
                      <a:cubicBezTo>
                        <a:pt x="2554" y="529"/>
                        <a:pt x="2562" y="561"/>
                        <a:pt x="2609" y="584"/>
                      </a:cubicBezTo>
                      <a:cubicBezTo>
                        <a:pt x="2633" y="600"/>
                        <a:pt x="2657" y="600"/>
                        <a:pt x="2672" y="600"/>
                      </a:cubicBezTo>
                      <a:cubicBezTo>
                        <a:pt x="2688" y="607"/>
                        <a:pt x="2704" y="607"/>
                        <a:pt x="2712" y="623"/>
                      </a:cubicBezTo>
                      <a:lnTo>
                        <a:pt x="2712" y="623"/>
                      </a:lnTo>
                      <a:cubicBezTo>
                        <a:pt x="2712" y="631"/>
                        <a:pt x="2712" y="631"/>
                        <a:pt x="2712" y="631"/>
                      </a:cubicBezTo>
                      <a:cubicBezTo>
                        <a:pt x="2688" y="655"/>
                        <a:pt x="2649" y="702"/>
                        <a:pt x="2641" y="710"/>
                      </a:cubicBezTo>
                      <a:cubicBezTo>
                        <a:pt x="2625" y="734"/>
                        <a:pt x="2570" y="789"/>
                        <a:pt x="2546" y="797"/>
                      </a:cubicBezTo>
                      <a:cubicBezTo>
                        <a:pt x="2530" y="805"/>
                        <a:pt x="2491" y="829"/>
                        <a:pt x="2491" y="853"/>
                      </a:cubicBezTo>
                      <a:cubicBezTo>
                        <a:pt x="2491" y="876"/>
                        <a:pt x="2467" y="892"/>
                        <a:pt x="2459" y="908"/>
                      </a:cubicBezTo>
                      <a:cubicBezTo>
                        <a:pt x="2459" y="908"/>
                        <a:pt x="2459" y="908"/>
                        <a:pt x="2451" y="908"/>
                      </a:cubicBezTo>
                      <a:cubicBezTo>
                        <a:pt x="2451" y="916"/>
                        <a:pt x="2451" y="916"/>
                        <a:pt x="2443" y="916"/>
                      </a:cubicBezTo>
                      <a:cubicBezTo>
                        <a:pt x="2443" y="916"/>
                        <a:pt x="2435" y="916"/>
                        <a:pt x="2435" y="931"/>
                      </a:cubicBezTo>
                      <a:cubicBezTo>
                        <a:pt x="2435" y="940"/>
                        <a:pt x="2435" y="947"/>
                        <a:pt x="2435" y="955"/>
                      </a:cubicBezTo>
                      <a:cubicBezTo>
                        <a:pt x="2435" y="971"/>
                        <a:pt x="2435" y="971"/>
                        <a:pt x="2419" y="979"/>
                      </a:cubicBezTo>
                      <a:cubicBezTo>
                        <a:pt x="2411" y="979"/>
                        <a:pt x="2404" y="979"/>
                        <a:pt x="2396" y="979"/>
                      </a:cubicBezTo>
                      <a:cubicBezTo>
                        <a:pt x="2380" y="987"/>
                        <a:pt x="2364" y="987"/>
                        <a:pt x="2356" y="1011"/>
                      </a:cubicBezTo>
                      <a:cubicBezTo>
                        <a:pt x="2356" y="1018"/>
                        <a:pt x="2356" y="1018"/>
                        <a:pt x="2356" y="1026"/>
                      </a:cubicBezTo>
                      <a:cubicBezTo>
                        <a:pt x="2348" y="1050"/>
                        <a:pt x="2340" y="1066"/>
                        <a:pt x="2324" y="1066"/>
                      </a:cubicBezTo>
                      <a:cubicBezTo>
                        <a:pt x="2317" y="1066"/>
                        <a:pt x="2309" y="1066"/>
                        <a:pt x="2309" y="1066"/>
                      </a:cubicBezTo>
                      <a:cubicBezTo>
                        <a:pt x="2301" y="1058"/>
                        <a:pt x="2301" y="1058"/>
                        <a:pt x="2301" y="1058"/>
                      </a:cubicBezTo>
                      <a:cubicBezTo>
                        <a:pt x="2293" y="1058"/>
                        <a:pt x="2293" y="1058"/>
                        <a:pt x="2285" y="1074"/>
                      </a:cubicBezTo>
                      <a:cubicBezTo>
                        <a:pt x="2269" y="1082"/>
                        <a:pt x="2222" y="1121"/>
                        <a:pt x="2182" y="1145"/>
                      </a:cubicBezTo>
                      <a:lnTo>
                        <a:pt x="2182" y="1145"/>
                      </a:lnTo>
                      <a:lnTo>
                        <a:pt x="2182" y="1145"/>
                      </a:lnTo>
                      <a:cubicBezTo>
                        <a:pt x="1818" y="1192"/>
                        <a:pt x="1139" y="1279"/>
                        <a:pt x="688" y="1295"/>
                      </a:cubicBezTo>
                      <a:cubicBezTo>
                        <a:pt x="680" y="1303"/>
                        <a:pt x="648" y="1311"/>
                        <a:pt x="641" y="1327"/>
                      </a:cubicBezTo>
                      <a:cubicBezTo>
                        <a:pt x="641" y="1335"/>
                        <a:pt x="633" y="1335"/>
                        <a:pt x="633" y="1335"/>
                      </a:cubicBezTo>
                      <a:cubicBezTo>
                        <a:pt x="617" y="1335"/>
                        <a:pt x="609" y="1327"/>
                        <a:pt x="593" y="1311"/>
                      </a:cubicBezTo>
                      <a:cubicBezTo>
                        <a:pt x="593" y="1311"/>
                        <a:pt x="593" y="1311"/>
                        <a:pt x="585" y="1311"/>
                      </a:cubicBezTo>
                      <a:cubicBezTo>
                        <a:pt x="577" y="1303"/>
                        <a:pt x="562" y="1303"/>
                        <a:pt x="538" y="1303"/>
                      </a:cubicBezTo>
                      <a:cubicBezTo>
                        <a:pt x="522" y="1303"/>
                        <a:pt x="506" y="1303"/>
                        <a:pt x="506" y="1311"/>
                      </a:cubicBezTo>
                      <a:cubicBezTo>
                        <a:pt x="506" y="1319"/>
                        <a:pt x="514" y="1327"/>
                        <a:pt x="514" y="1343"/>
                      </a:cubicBezTo>
                      <a:cubicBezTo>
                        <a:pt x="522" y="1358"/>
                        <a:pt x="530" y="1374"/>
                        <a:pt x="522" y="1390"/>
                      </a:cubicBezTo>
                      <a:cubicBezTo>
                        <a:pt x="514" y="1398"/>
                        <a:pt x="514" y="1398"/>
                        <a:pt x="506" y="1398"/>
                      </a:cubicBezTo>
                      <a:cubicBezTo>
                        <a:pt x="498" y="1398"/>
                        <a:pt x="498" y="1398"/>
                        <a:pt x="490" y="1398"/>
                      </a:cubicBezTo>
                      <a:cubicBezTo>
                        <a:pt x="293" y="1414"/>
                        <a:pt x="151" y="1422"/>
                        <a:pt x="71" y="1422"/>
                      </a:cubicBezTo>
                      <a:close/>
                      <a:moveTo>
                        <a:pt x="16" y="1414"/>
                      </a:moveTo>
                      <a:lnTo>
                        <a:pt x="16" y="1414"/>
                      </a:lnTo>
                      <a:cubicBezTo>
                        <a:pt x="24" y="1414"/>
                        <a:pt x="48" y="1414"/>
                        <a:pt x="71" y="1414"/>
                      </a:cubicBezTo>
                      <a:cubicBezTo>
                        <a:pt x="151" y="1414"/>
                        <a:pt x="293" y="1406"/>
                        <a:pt x="490" y="1390"/>
                      </a:cubicBezTo>
                      <a:cubicBezTo>
                        <a:pt x="498" y="1390"/>
                        <a:pt x="498" y="1390"/>
                        <a:pt x="506" y="1390"/>
                      </a:cubicBezTo>
                      <a:cubicBezTo>
                        <a:pt x="506" y="1390"/>
                        <a:pt x="514" y="1390"/>
                        <a:pt x="514" y="1382"/>
                      </a:cubicBezTo>
                      <a:cubicBezTo>
                        <a:pt x="522" y="1374"/>
                        <a:pt x="514" y="1358"/>
                        <a:pt x="506" y="1343"/>
                      </a:cubicBezTo>
                      <a:cubicBezTo>
                        <a:pt x="506" y="1327"/>
                        <a:pt x="498" y="1319"/>
                        <a:pt x="498" y="1311"/>
                      </a:cubicBezTo>
                      <a:cubicBezTo>
                        <a:pt x="498" y="1303"/>
                        <a:pt x="514" y="1295"/>
                        <a:pt x="538" y="1295"/>
                      </a:cubicBezTo>
                      <a:cubicBezTo>
                        <a:pt x="562" y="1295"/>
                        <a:pt x="577" y="1295"/>
                        <a:pt x="593" y="1303"/>
                      </a:cubicBezTo>
                      <a:cubicBezTo>
                        <a:pt x="593" y="1303"/>
                        <a:pt x="593" y="1311"/>
                        <a:pt x="601" y="1311"/>
                      </a:cubicBezTo>
                      <a:cubicBezTo>
                        <a:pt x="609" y="1319"/>
                        <a:pt x="625" y="1327"/>
                        <a:pt x="633" y="1327"/>
                      </a:cubicBezTo>
                      <a:cubicBezTo>
                        <a:pt x="633" y="1327"/>
                        <a:pt x="633" y="1327"/>
                        <a:pt x="641" y="1319"/>
                      </a:cubicBezTo>
                      <a:cubicBezTo>
                        <a:pt x="648" y="1303"/>
                        <a:pt x="688" y="1287"/>
                        <a:pt x="688" y="1287"/>
                      </a:cubicBezTo>
                      <a:lnTo>
                        <a:pt x="688" y="1287"/>
                      </a:lnTo>
                      <a:cubicBezTo>
                        <a:pt x="1131" y="1271"/>
                        <a:pt x="1811" y="1184"/>
                        <a:pt x="2174" y="1137"/>
                      </a:cubicBezTo>
                      <a:cubicBezTo>
                        <a:pt x="2230" y="1105"/>
                        <a:pt x="2269" y="1074"/>
                        <a:pt x="2277" y="1066"/>
                      </a:cubicBezTo>
                      <a:cubicBezTo>
                        <a:pt x="2285" y="1058"/>
                        <a:pt x="2293" y="1050"/>
                        <a:pt x="2301" y="1050"/>
                      </a:cubicBezTo>
                      <a:lnTo>
                        <a:pt x="2309" y="1058"/>
                      </a:lnTo>
                      <a:cubicBezTo>
                        <a:pt x="2317" y="1058"/>
                        <a:pt x="2317" y="1058"/>
                        <a:pt x="2324" y="1058"/>
                      </a:cubicBezTo>
                      <a:cubicBezTo>
                        <a:pt x="2340" y="1058"/>
                        <a:pt x="2340" y="1050"/>
                        <a:pt x="2348" y="1018"/>
                      </a:cubicBezTo>
                      <a:lnTo>
                        <a:pt x="2348" y="1011"/>
                      </a:lnTo>
                      <a:cubicBezTo>
                        <a:pt x="2356" y="979"/>
                        <a:pt x="2380" y="979"/>
                        <a:pt x="2396" y="979"/>
                      </a:cubicBezTo>
                      <a:cubicBezTo>
                        <a:pt x="2404" y="971"/>
                        <a:pt x="2411" y="971"/>
                        <a:pt x="2411" y="971"/>
                      </a:cubicBezTo>
                      <a:cubicBezTo>
                        <a:pt x="2427" y="963"/>
                        <a:pt x="2427" y="963"/>
                        <a:pt x="2427" y="955"/>
                      </a:cubicBezTo>
                      <a:cubicBezTo>
                        <a:pt x="2427" y="947"/>
                        <a:pt x="2427" y="940"/>
                        <a:pt x="2427" y="931"/>
                      </a:cubicBezTo>
                      <a:cubicBezTo>
                        <a:pt x="2427" y="916"/>
                        <a:pt x="2435" y="908"/>
                        <a:pt x="2443" y="908"/>
                      </a:cubicBezTo>
                      <a:cubicBezTo>
                        <a:pt x="2443" y="908"/>
                        <a:pt x="2443" y="908"/>
                        <a:pt x="2451" y="908"/>
                      </a:cubicBezTo>
                      <a:lnTo>
                        <a:pt x="2451" y="900"/>
                      </a:lnTo>
                      <a:cubicBezTo>
                        <a:pt x="2459" y="892"/>
                        <a:pt x="2483" y="868"/>
                        <a:pt x="2483" y="853"/>
                      </a:cubicBezTo>
                      <a:cubicBezTo>
                        <a:pt x="2483" y="829"/>
                        <a:pt x="2522" y="805"/>
                        <a:pt x="2546" y="789"/>
                      </a:cubicBezTo>
                      <a:cubicBezTo>
                        <a:pt x="2562" y="781"/>
                        <a:pt x="2625" y="726"/>
                        <a:pt x="2633" y="710"/>
                      </a:cubicBezTo>
                      <a:cubicBezTo>
                        <a:pt x="2641" y="694"/>
                        <a:pt x="2680" y="655"/>
                        <a:pt x="2704" y="623"/>
                      </a:cubicBezTo>
                      <a:cubicBezTo>
                        <a:pt x="2696" y="615"/>
                        <a:pt x="2688" y="615"/>
                        <a:pt x="2672" y="607"/>
                      </a:cubicBezTo>
                      <a:cubicBezTo>
                        <a:pt x="2657" y="607"/>
                        <a:pt x="2633" y="607"/>
                        <a:pt x="2601" y="592"/>
                      </a:cubicBezTo>
                      <a:cubicBezTo>
                        <a:pt x="2554" y="568"/>
                        <a:pt x="2546" y="529"/>
                        <a:pt x="2530" y="506"/>
                      </a:cubicBezTo>
                      <a:cubicBezTo>
                        <a:pt x="2530" y="498"/>
                        <a:pt x="2522" y="482"/>
                        <a:pt x="2522" y="474"/>
                      </a:cubicBezTo>
                      <a:cubicBezTo>
                        <a:pt x="2514" y="466"/>
                        <a:pt x="2514" y="466"/>
                        <a:pt x="2514" y="466"/>
                      </a:cubicBezTo>
                      <a:cubicBezTo>
                        <a:pt x="2498" y="435"/>
                        <a:pt x="2483" y="411"/>
                        <a:pt x="2459" y="387"/>
                      </a:cubicBezTo>
                      <a:cubicBezTo>
                        <a:pt x="2427" y="363"/>
                        <a:pt x="2419" y="268"/>
                        <a:pt x="2419" y="261"/>
                      </a:cubicBezTo>
                      <a:cubicBezTo>
                        <a:pt x="2419" y="261"/>
                        <a:pt x="2419" y="253"/>
                        <a:pt x="2427" y="253"/>
                      </a:cubicBezTo>
                      <a:cubicBezTo>
                        <a:pt x="2411" y="237"/>
                        <a:pt x="2404" y="229"/>
                        <a:pt x="2404" y="229"/>
                      </a:cubicBezTo>
                      <a:cubicBezTo>
                        <a:pt x="2404" y="221"/>
                        <a:pt x="2404" y="221"/>
                        <a:pt x="2396" y="213"/>
                      </a:cubicBezTo>
                      <a:cubicBezTo>
                        <a:pt x="2396" y="205"/>
                        <a:pt x="2396" y="197"/>
                        <a:pt x="2388" y="197"/>
                      </a:cubicBezTo>
                      <a:cubicBezTo>
                        <a:pt x="2356" y="189"/>
                        <a:pt x="2340" y="182"/>
                        <a:pt x="2333" y="174"/>
                      </a:cubicBezTo>
                      <a:cubicBezTo>
                        <a:pt x="2324" y="166"/>
                        <a:pt x="2324" y="166"/>
                        <a:pt x="2324" y="158"/>
                      </a:cubicBezTo>
                      <a:cubicBezTo>
                        <a:pt x="2324" y="158"/>
                        <a:pt x="2324" y="158"/>
                        <a:pt x="2317" y="158"/>
                      </a:cubicBezTo>
                      <a:cubicBezTo>
                        <a:pt x="2309" y="150"/>
                        <a:pt x="2293" y="142"/>
                        <a:pt x="2293" y="134"/>
                      </a:cubicBezTo>
                      <a:cubicBezTo>
                        <a:pt x="2285" y="126"/>
                        <a:pt x="2285" y="118"/>
                        <a:pt x="2285" y="118"/>
                      </a:cubicBezTo>
                      <a:cubicBezTo>
                        <a:pt x="2277" y="110"/>
                        <a:pt x="2277" y="110"/>
                        <a:pt x="2277" y="110"/>
                      </a:cubicBezTo>
                      <a:cubicBezTo>
                        <a:pt x="2253" y="126"/>
                        <a:pt x="2253" y="126"/>
                        <a:pt x="2253" y="126"/>
                      </a:cubicBezTo>
                      <a:cubicBezTo>
                        <a:pt x="2246" y="134"/>
                        <a:pt x="2230" y="134"/>
                        <a:pt x="2230" y="142"/>
                      </a:cubicBezTo>
                      <a:cubicBezTo>
                        <a:pt x="2222" y="158"/>
                        <a:pt x="2214" y="158"/>
                        <a:pt x="2206" y="158"/>
                      </a:cubicBezTo>
                      <a:lnTo>
                        <a:pt x="2198" y="158"/>
                      </a:lnTo>
                      <a:cubicBezTo>
                        <a:pt x="2190" y="158"/>
                        <a:pt x="2182" y="158"/>
                        <a:pt x="2182" y="166"/>
                      </a:cubicBezTo>
                      <a:cubicBezTo>
                        <a:pt x="2182" y="174"/>
                        <a:pt x="2166" y="182"/>
                        <a:pt x="2151" y="182"/>
                      </a:cubicBezTo>
                      <a:cubicBezTo>
                        <a:pt x="2135" y="182"/>
                        <a:pt x="2127" y="182"/>
                        <a:pt x="2119" y="174"/>
                      </a:cubicBezTo>
                      <a:cubicBezTo>
                        <a:pt x="2111" y="174"/>
                        <a:pt x="2103" y="166"/>
                        <a:pt x="2087" y="158"/>
                      </a:cubicBezTo>
                      <a:lnTo>
                        <a:pt x="2080" y="158"/>
                      </a:lnTo>
                      <a:cubicBezTo>
                        <a:pt x="2071" y="158"/>
                        <a:pt x="2071" y="166"/>
                        <a:pt x="2064" y="182"/>
                      </a:cubicBezTo>
                      <a:cubicBezTo>
                        <a:pt x="2056" y="189"/>
                        <a:pt x="2056" y="205"/>
                        <a:pt x="2040" y="205"/>
                      </a:cubicBezTo>
                      <a:cubicBezTo>
                        <a:pt x="2040" y="205"/>
                        <a:pt x="2040" y="205"/>
                        <a:pt x="2032" y="205"/>
                      </a:cubicBezTo>
                      <a:cubicBezTo>
                        <a:pt x="2008" y="205"/>
                        <a:pt x="1961" y="174"/>
                        <a:pt x="1953" y="150"/>
                      </a:cubicBezTo>
                      <a:cubicBezTo>
                        <a:pt x="1945" y="150"/>
                        <a:pt x="1937" y="150"/>
                        <a:pt x="1929" y="150"/>
                      </a:cubicBezTo>
                      <a:cubicBezTo>
                        <a:pt x="1921" y="150"/>
                        <a:pt x="1913" y="150"/>
                        <a:pt x="1906" y="150"/>
                      </a:cubicBezTo>
                      <a:cubicBezTo>
                        <a:pt x="1890" y="158"/>
                        <a:pt x="1874" y="158"/>
                        <a:pt x="1858" y="158"/>
                      </a:cubicBezTo>
                      <a:cubicBezTo>
                        <a:pt x="1850" y="158"/>
                        <a:pt x="1842" y="158"/>
                        <a:pt x="1842" y="158"/>
                      </a:cubicBezTo>
                      <a:cubicBezTo>
                        <a:pt x="1811" y="150"/>
                        <a:pt x="1803" y="134"/>
                        <a:pt x="1795" y="118"/>
                      </a:cubicBezTo>
                      <a:cubicBezTo>
                        <a:pt x="1795" y="110"/>
                        <a:pt x="1795" y="102"/>
                        <a:pt x="1787" y="95"/>
                      </a:cubicBezTo>
                      <a:cubicBezTo>
                        <a:pt x="1771" y="87"/>
                        <a:pt x="1763" y="79"/>
                        <a:pt x="1755" y="55"/>
                      </a:cubicBezTo>
                      <a:cubicBezTo>
                        <a:pt x="1747" y="47"/>
                        <a:pt x="1740" y="39"/>
                        <a:pt x="1732" y="24"/>
                      </a:cubicBezTo>
                      <a:cubicBezTo>
                        <a:pt x="1724" y="15"/>
                        <a:pt x="1716" y="15"/>
                        <a:pt x="1716" y="15"/>
                      </a:cubicBezTo>
                      <a:lnTo>
                        <a:pt x="1708" y="15"/>
                      </a:lnTo>
                      <a:cubicBezTo>
                        <a:pt x="1700" y="15"/>
                        <a:pt x="1692" y="24"/>
                        <a:pt x="1684" y="24"/>
                      </a:cubicBezTo>
                      <a:lnTo>
                        <a:pt x="1676" y="24"/>
                      </a:lnTo>
                      <a:cubicBezTo>
                        <a:pt x="1645" y="15"/>
                        <a:pt x="1621" y="8"/>
                        <a:pt x="1589" y="8"/>
                      </a:cubicBezTo>
                      <a:lnTo>
                        <a:pt x="1589" y="8"/>
                      </a:lnTo>
                      <a:cubicBezTo>
                        <a:pt x="1574" y="8"/>
                        <a:pt x="1566" y="31"/>
                        <a:pt x="1566" y="55"/>
                      </a:cubicBezTo>
                      <a:cubicBezTo>
                        <a:pt x="1566" y="55"/>
                        <a:pt x="1558" y="63"/>
                        <a:pt x="1558" y="71"/>
                      </a:cubicBezTo>
                      <a:cubicBezTo>
                        <a:pt x="1558" y="87"/>
                        <a:pt x="1558" y="95"/>
                        <a:pt x="1566" y="110"/>
                      </a:cubicBezTo>
                      <a:cubicBezTo>
                        <a:pt x="1574" y="110"/>
                        <a:pt x="1574" y="110"/>
                        <a:pt x="1574" y="118"/>
                      </a:cubicBezTo>
                      <a:cubicBezTo>
                        <a:pt x="1589" y="142"/>
                        <a:pt x="1589" y="166"/>
                        <a:pt x="1581" y="174"/>
                      </a:cubicBezTo>
                      <a:cubicBezTo>
                        <a:pt x="1581" y="189"/>
                        <a:pt x="1566" y="189"/>
                        <a:pt x="1550" y="189"/>
                      </a:cubicBezTo>
                      <a:cubicBezTo>
                        <a:pt x="1534" y="189"/>
                        <a:pt x="1518" y="189"/>
                        <a:pt x="1502" y="189"/>
                      </a:cubicBezTo>
                      <a:cubicBezTo>
                        <a:pt x="1479" y="197"/>
                        <a:pt x="1487" y="205"/>
                        <a:pt x="1487" y="213"/>
                      </a:cubicBezTo>
                      <a:cubicBezTo>
                        <a:pt x="1487" y="221"/>
                        <a:pt x="1487" y="237"/>
                        <a:pt x="1479" y="245"/>
                      </a:cubicBezTo>
                      <a:cubicBezTo>
                        <a:pt x="1471" y="245"/>
                        <a:pt x="1471" y="253"/>
                        <a:pt x="1463" y="253"/>
                      </a:cubicBezTo>
                      <a:cubicBezTo>
                        <a:pt x="1447" y="253"/>
                        <a:pt x="1431" y="237"/>
                        <a:pt x="1423" y="221"/>
                      </a:cubicBezTo>
                      <a:lnTo>
                        <a:pt x="1415" y="213"/>
                      </a:lnTo>
                      <a:lnTo>
                        <a:pt x="1407" y="213"/>
                      </a:lnTo>
                      <a:cubicBezTo>
                        <a:pt x="1392" y="213"/>
                        <a:pt x="1376" y="229"/>
                        <a:pt x="1376" y="253"/>
                      </a:cubicBezTo>
                      <a:cubicBezTo>
                        <a:pt x="1376" y="268"/>
                        <a:pt x="1376" y="276"/>
                        <a:pt x="1384" y="284"/>
                      </a:cubicBezTo>
                      <a:cubicBezTo>
                        <a:pt x="1384" y="292"/>
                        <a:pt x="1384" y="300"/>
                        <a:pt x="1392" y="308"/>
                      </a:cubicBezTo>
                      <a:cubicBezTo>
                        <a:pt x="1400" y="332"/>
                        <a:pt x="1392" y="332"/>
                        <a:pt x="1376" y="340"/>
                      </a:cubicBezTo>
                      <a:cubicBezTo>
                        <a:pt x="1368" y="340"/>
                        <a:pt x="1368" y="348"/>
                        <a:pt x="1360" y="355"/>
                      </a:cubicBezTo>
                      <a:cubicBezTo>
                        <a:pt x="1352" y="363"/>
                        <a:pt x="1352" y="371"/>
                        <a:pt x="1336" y="371"/>
                      </a:cubicBezTo>
                      <a:cubicBezTo>
                        <a:pt x="1336" y="371"/>
                        <a:pt x="1336" y="371"/>
                        <a:pt x="1328" y="371"/>
                      </a:cubicBezTo>
                      <a:cubicBezTo>
                        <a:pt x="1321" y="371"/>
                        <a:pt x="1313" y="387"/>
                        <a:pt x="1313" y="411"/>
                      </a:cubicBezTo>
                      <a:cubicBezTo>
                        <a:pt x="1313" y="427"/>
                        <a:pt x="1297" y="458"/>
                        <a:pt x="1273" y="458"/>
                      </a:cubicBezTo>
                      <a:cubicBezTo>
                        <a:pt x="1273" y="458"/>
                        <a:pt x="1273" y="458"/>
                        <a:pt x="1265" y="466"/>
                      </a:cubicBezTo>
                      <a:cubicBezTo>
                        <a:pt x="1241" y="490"/>
                        <a:pt x="1218" y="553"/>
                        <a:pt x="1226" y="576"/>
                      </a:cubicBezTo>
                      <a:cubicBezTo>
                        <a:pt x="1226" y="584"/>
                        <a:pt x="1226" y="584"/>
                        <a:pt x="1226" y="592"/>
                      </a:cubicBezTo>
                      <a:cubicBezTo>
                        <a:pt x="1218" y="592"/>
                        <a:pt x="1210" y="600"/>
                        <a:pt x="1202" y="600"/>
                      </a:cubicBezTo>
                      <a:cubicBezTo>
                        <a:pt x="1202" y="600"/>
                        <a:pt x="1194" y="600"/>
                        <a:pt x="1186" y="600"/>
                      </a:cubicBezTo>
                      <a:cubicBezTo>
                        <a:pt x="1178" y="607"/>
                        <a:pt x="1178" y="607"/>
                        <a:pt x="1170" y="607"/>
                      </a:cubicBezTo>
                      <a:cubicBezTo>
                        <a:pt x="1163" y="607"/>
                        <a:pt x="1163" y="600"/>
                        <a:pt x="1154" y="600"/>
                      </a:cubicBezTo>
                      <a:cubicBezTo>
                        <a:pt x="1154" y="592"/>
                        <a:pt x="1154" y="592"/>
                        <a:pt x="1147" y="592"/>
                      </a:cubicBezTo>
                      <a:cubicBezTo>
                        <a:pt x="1147" y="592"/>
                        <a:pt x="1147" y="592"/>
                        <a:pt x="1139" y="592"/>
                      </a:cubicBezTo>
                      <a:cubicBezTo>
                        <a:pt x="1131" y="584"/>
                        <a:pt x="1115" y="584"/>
                        <a:pt x="1107" y="576"/>
                      </a:cubicBezTo>
                      <a:cubicBezTo>
                        <a:pt x="1099" y="568"/>
                        <a:pt x="1091" y="561"/>
                        <a:pt x="1091" y="553"/>
                      </a:cubicBezTo>
                      <a:cubicBezTo>
                        <a:pt x="1083" y="553"/>
                        <a:pt x="1083" y="545"/>
                        <a:pt x="1075" y="545"/>
                      </a:cubicBezTo>
                      <a:lnTo>
                        <a:pt x="1075" y="545"/>
                      </a:lnTo>
                      <a:cubicBezTo>
                        <a:pt x="1068" y="545"/>
                        <a:pt x="1068" y="553"/>
                        <a:pt x="1068" y="553"/>
                      </a:cubicBezTo>
                      <a:cubicBezTo>
                        <a:pt x="1060" y="561"/>
                        <a:pt x="1052" y="568"/>
                        <a:pt x="1052" y="576"/>
                      </a:cubicBezTo>
                      <a:cubicBezTo>
                        <a:pt x="1044" y="576"/>
                        <a:pt x="1044" y="584"/>
                        <a:pt x="1036" y="584"/>
                      </a:cubicBezTo>
                      <a:cubicBezTo>
                        <a:pt x="1028" y="584"/>
                        <a:pt x="1020" y="592"/>
                        <a:pt x="1020" y="607"/>
                      </a:cubicBezTo>
                      <a:lnTo>
                        <a:pt x="1020" y="607"/>
                      </a:lnTo>
                      <a:cubicBezTo>
                        <a:pt x="1012" y="623"/>
                        <a:pt x="1012" y="631"/>
                        <a:pt x="1004" y="631"/>
                      </a:cubicBezTo>
                      <a:cubicBezTo>
                        <a:pt x="996" y="639"/>
                        <a:pt x="996" y="639"/>
                        <a:pt x="996" y="639"/>
                      </a:cubicBezTo>
                      <a:cubicBezTo>
                        <a:pt x="988" y="639"/>
                        <a:pt x="988" y="647"/>
                        <a:pt x="988" y="655"/>
                      </a:cubicBezTo>
                      <a:lnTo>
                        <a:pt x="988" y="663"/>
                      </a:lnTo>
                      <a:cubicBezTo>
                        <a:pt x="988" y="678"/>
                        <a:pt x="988" y="694"/>
                        <a:pt x="988" y="702"/>
                      </a:cubicBezTo>
                      <a:cubicBezTo>
                        <a:pt x="981" y="702"/>
                        <a:pt x="981" y="702"/>
                        <a:pt x="973" y="702"/>
                      </a:cubicBezTo>
                      <a:cubicBezTo>
                        <a:pt x="965" y="702"/>
                        <a:pt x="957" y="694"/>
                        <a:pt x="957" y="694"/>
                      </a:cubicBezTo>
                      <a:lnTo>
                        <a:pt x="957" y="694"/>
                      </a:lnTo>
                      <a:cubicBezTo>
                        <a:pt x="941" y="671"/>
                        <a:pt x="941" y="671"/>
                        <a:pt x="941" y="671"/>
                      </a:cubicBezTo>
                      <a:cubicBezTo>
                        <a:pt x="933" y="663"/>
                        <a:pt x="917" y="655"/>
                        <a:pt x="910" y="647"/>
                      </a:cubicBezTo>
                      <a:lnTo>
                        <a:pt x="910" y="647"/>
                      </a:lnTo>
                      <a:cubicBezTo>
                        <a:pt x="910" y="639"/>
                        <a:pt x="901" y="639"/>
                        <a:pt x="901" y="639"/>
                      </a:cubicBezTo>
                      <a:cubicBezTo>
                        <a:pt x="894" y="639"/>
                        <a:pt x="894" y="639"/>
                        <a:pt x="894" y="647"/>
                      </a:cubicBezTo>
                      <a:cubicBezTo>
                        <a:pt x="886" y="655"/>
                        <a:pt x="886" y="655"/>
                        <a:pt x="878" y="655"/>
                      </a:cubicBezTo>
                      <a:cubicBezTo>
                        <a:pt x="870" y="655"/>
                        <a:pt x="854" y="663"/>
                        <a:pt x="854" y="671"/>
                      </a:cubicBezTo>
                      <a:lnTo>
                        <a:pt x="854" y="671"/>
                      </a:lnTo>
                      <a:cubicBezTo>
                        <a:pt x="846" y="678"/>
                        <a:pt x="846" y="687"/>
                        <a:pt x="830" y="687"/>
                      </a:cubicBezTo>
                      <a:cubicBezTo>
                        <a:pt x="830" y="687"/>
                        <a:pt x="830" y="687"/>
                        <a:pt x="823" y="687"/>
                      </a:cubicBezTo>
                      <a:lnTo>
                        <a:pt x="815" y="687"/>
                      </a:lnTo>
                      <a:cubicBezTo>
                        <a:pt x="815" y="694"/>
                        <a:pt x="815" y="702"/>
                        <a:pt x="815" y="710"/>
                      </a:cubicBezTo>
                      <a:cubicBezTo>
                        <a:pt x="815" y="726"/>
                        <a:pt x="815" y="750"/>
                        <a:pt x="799" y="750"/>
                      </a:cubicBezTo>
                      <a:cubicBezTo>
                        <a:pt x="791" y="750"/>
                        <a:pt x="775" y="742"/>
                        <a:pt x="759" y="726"/>
                      </a:cubicBezTo>
                      <a:cubicBezTo>
                        <a:pt x="751" y="718"/>
                        <a:pt x="751" y="718"/>
                        <a:pt x="743" y="718"/>
                      </a:cubicBezTo>
                      <a:lnTo>
                        <a:pt x="743" y="718"/>
                      </a:lnTo>
                      <a:cubicBezTo>
                        <a:pt x="743" y="718"/>
                        <a:pt x="735" y="718"/>
                        <a:pt x="728" y="718"/>
                      </a:cubicBezTo>
                      <a:cubicBezTo>
                        <a:pt x="720" y="710"/>
                        <a:pt x="712" y="710"/>
                        <a:pt x="712" y="702"/>
                      </a:cubicBezTo>
                      <a:cubicBezTo>
                        <a:pt x="704" y="694"/>
                        <a:pt x="704" y="694"/>
                        <a:pt x="696" y="694"/>
                      </a:cubicBezTo>
                      <a:cubicBezTo>
                        <a:pt x="696" y="694"/>
                        <a:pt x="696" y="687"/>
                        <a:pt x="688" y="687"/>
                      </a:cubicBezTo>
                      <a:cubicBezTo>
                        <a:pt x="680" y="687"/>
                        <a:pt x="657" y="702"/>
                        <a:pt x="641" y="710"/>
                      </a:cubicBezTo>
                      <a:cubicBezTo>
                        <a:pt x="625" y="718"/>
                        <a:pt x="625" y="734"/>
                        <a:pt x="625" y="742"/>
                      </a:cubicBezTo>
                      <a:cubicBezTo>
                        <a:pt x="625" y="750"/>
                        <a:pt x="625" y="750"/>
                        <a:pt x="625" y="750"/>
                      </a:cubicBezTo>
                      <a:lnTo>
                        <a:pt x="617" y="758"/>
                      </a:lnTo>
                      <a:cubicBezTo>
                        <a:pt x="609" y="758"/>
                        <a:pt x="593" y="750"/>
                        <a:pt x="585" y="742"/>
                      </a:cubicBezTo>
                      <a:cubicBezTo>
                        <a:pt x="577" y="742"/>
                        <a:pt x="562" y="734"/>
                        <a:pt x="562" y="734"/>
                      </a:cubicBezTo>
                      <a:cubicBezTo>
                        <a:pt x="546" y="734"/>
                        <a:pt x="530" y="750"/>
                        <a:pt x="530" y="758"/>
                      </a:cubicBezTo>
                      <a:cubicBezTo>
                        <a:pt x="530" y="773"/>
                        <a:pt x="530" y="789"/>
                        <a:pt x="506" y="789"/>
                      </a:cubicBezTo>
                      <a:lnTo>
                        <a:pt x="498" y="781"/>
                      </a:lnTo>
                      <a:cubicBezTo>
                        <a:pt x="490" y="781"/>
                        <a:pt x="483" y="781"/>
                        <a:pt x="467" y="789"/>
                      </a:cubicBezTo>
                      <a:cubicBezTo>
                        <a:pt x="475" y="797"/>
                        <a:pt x="475" y="805"/>
                        <a:pt x="467" y="821"/>
                      </a:cubicBezTo>
                      <a:cubicBezTo>
                        <a:pt x="459" y="821"/>
                        <a:pt x="459" y="829"/>
                        <a:pt x="451" y="837"/>
                      </a:cubicBezTo>
                      <a:cubicBezTo>
                        <a:pt x="435" y="853"/>
                        <a:pt x="427" y="860"/>
                        <a:pt x="443" y="868"/>
                      </a:cubicBezTo>
                      <a:cubicBezTo>
                        <a:pt x="451" y="876"/>
                        <a:pt x="451" y="876"/>
                        <a:pt x="451" y="876"/>
                      </a:cubicBezTo>
                      <a:cubicBezTo>
                        <a:pt x="467" y="892"/>
                        <a:pt x="475" y="908"/>
                        <a:pt x="475" y="916"/>
                      </a:cubicBezTo>
                      <a:cubicBezTo>
                        <a:pt x="475" y="924"/>
                        <a:pt x="475" y="924"/>
                        <a:pt x="467" y="924"/>
                      </a:cubicBezTo>
                      <a:cubicBezTo>
                        <a:pt x="459" y="931"/>
                        <a:pt x="451" y="931"/>
                        <a:pt x="435" y="931"/>
                      </a:cubicBezTo>
                      <a:cubicBezTo>
                        <a:pt x="404" y="940"/>
                        <a:pt x="340" y="947"/>
                        <a:pt x="324" y="971"/>
                      </a:cubicBezTo>
                      <a:cubicBezTo>
                        <a:pt x="317" y="979"/>
                        <a:pt x="317" y="987"/>
                        <a:pt x="317" y="995"/>
                      </a:cubicBezTo>
                      <a:cubicBezTo>
                        <a:pt x="324" y="1026"/>
                        <a:pt x="332" y="1042"/>
                        <a:pt x="340" y="1050"/>
                      </a:cubicBezTo>
                      <a:cubicBezTo>
                        <a:pt x="348" y="1066"/>
                        <a:pt x="356" y="1082"/>
                        <a:pt x="348" y="1098"/>
                      </a:cubicBezTo>
                      <a:cubicBezTo>
                        <a:pt x="348" y="1113"/>
                        <a:pt x="324" y="1145"/>
                        <a:pt x="301" y="1145"/>
                      </a:cubicBezTo>
                      <a:cubicBezTo>
                        <a:pt x="285" y="1145"/>
                        <a:pt x="277" y="1145"/>
                        <a:pt x="269" y="1137"/>
                      </a:cubicBezTo>
                      <a:cubicBezTo>
                        <a:pt x="253" y="1121"/>
                        <a:pt x="214" y="1105"/>
                        <a:pt x="174" y="1105"/>
                      </a:cubicBezTo>
                      <a:cubicBezTo>
                        <a:pt x="158" y="1105"/>
                        <a:pt x="135" y="1113"/>
                        <a:pt x="119" y="1129"/>
                      </a:cubicBezTo>
                      <a:cubicBezTo>
                        <a:pt x="103" y="1145"/>
                        <a:pt x="95" y="1161"/>
                        <a:pt x="95" y="1192"/>
                      </a:cubicBezTo>
                      <a:cubicBezTo>
                        <a:pt x="103" y="1200"/>
                        <a:pt x="119" y="1248"/>
                        <a:pt x="111" y="1279"/>
                      </a:cubicBezTo>
                      <a:cubicBezTo>
                        <a:pt x="103" y="1287"/>
                        <a:pt x="103" y="1295"/>
                        <a:pt x="95" y="1295"/>
                      </a:cubicBezTo>
                      <a:cubicBezTo>
                        <a:pt x="87" y="1295"/>
                        <a:pt x="79" y="1295"/>
                        <a:pt x="79" y="1295"/>
                      </a:cubicBezTo>
                      <a:cubicBezTo>
                        <a:pt x="79" y="1295"/>
                        <a:pt x="79" y="1303"/>
                        <a:pt x="79" y="1311"/>
                      </a:cubicBezTo>
                      <a:cubicBezTo>
                        <a:pt x="79" y="1319"/>
                        <a:pt x="79" y="1335"/>
                        <a:pt x="79" y="1358"/>
                      </a:cubicBezTo>
                      <a:cubicBezTo>
                        <a:pt x="64" y="1390"/>
                        <a:pt x="64" y="1390"/>
                        <a:pt x="56" y="1390"/>
                      </a:cubicBezTo>
                      <a:cubicBezTo>
                        <a:pt x="56" y="1390"/>
                        <a:pt x="56" y="1390"/>
                        <a:pt x="48" y="1390"/>
                      </a:cubicBezTo>
                      <a:cubicBezTo>
                        <a:pt x="48" y="1390"/>
                        <a:pt x="48" y="1390"/>
                        <a:pt x="40" y="1390"/>
                      </a:cubicBezTo>
                      <a:lnTo>
                        <a:pt x="40" y="1390"/>
                      </a:lnTo>
                      <a:cubicBezTo>
                        <a:pt x="24" y="1390"/>
                        <a:pt x="16" y="1398"/>
                        <a:pt x="16" y="1406"/>
                      </a:cubicBezTo>
                      <a:cubicBezTo>
                        <a:pt x="16" y="1414"/>
                        <a:pt x="16" y="1414"/>
                        <a:pt x="16" y="1414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0" name="Freeform 783">
                  <a:extLst>
                    <a:ext uri="{FF2B5EF4-FFF2-40B4-BE49-F238E27FC236}">
                      <a16:creationId xmlns:a16="http://schemas.microsoft.com/office/drawing/2014/main" id="{021AFA26-4525-8D4C-8DA9-40A6D489E4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3035" y="5340361"/>
                  <a:ext cx="598381" cy="1055283"/>
                </a:xfrm>
                <a:custGeom>
                  <a:avLst/>
                  <a:gdLst>
                    <a:gd name="T0" fmla="*/ 933 w 1139"/>
                    <a:gd name="T1" fmla="*/ 8 h 2008"/>
                    <a:gd name="T2" fmla="*/ 933 w 1139"/>
                    <a:gd name="T3" fmla="*/ 8 h 2008"/>
                    <a:gd name="T4" fmla="*/ 261 w 1139"/>
                    <a:gd name="T5" fmla="*/ 87 h 2008"/>
                    <a:gd name="T6" fmla="*/ 111 w 1139"/>
                    <a:gd name="T7" fmla="*/ 158 h 2008"/>
                    <a:gd name="T8" fmla="*/ 32 w 1139"/>
                    <a:gd name="T9" fmla="*/ 135 h 2008"/>
                    <a:gd name="T10" fmla="*/ 126 w 1139"/>
                    <a:gd name="T11" fmla="*/ 1178 h 2008"/>
                    <a:gd name="T12" fmla="*/ 111 w 1139"/>
                    <a:gd name="T13" fmla="*/ 1281 h 2008"/>
                    <a:gd name="T14" fmla="*/ 95 w 1139"/>
                    <a:gd name="T15" fmla="*/ 1360 h 2008"/>
                    <a:gd name="T16" fmla="*/ 134 w 1139"/>
                    <a:gd name="T17" fmla="*/ 1423 h 2008"/>
                    <a:gd name="T18" fmla="*/ 150 w 1139"/>
                    <a:gd name="T19" fmla="*/ 1502 h 2008"/>
                    <a:gd name="T20" fmla="*/ 158 w 1139"/>
                    <a:gd name="T21" fmla="*/ 1581 h 2008"/>
                    <a:gd name="T22" fmla="*/ 119 w 1139"/>
                    <a:gd name="T23" fmla="*/ 1637 h 2008"/>
                    <a:gd name="T24" fmla="*/ 39 w 1139"/>
                    <a:gd name="T25" fmla="*/ 1771 h 2008"/>
                    <a:gd name="T26" fmla="*/ 24 w 1139"/>
                    <a:gd name="T27" fmla="*/ 1833 h 2008"/>
                    <a:gd name="T28" fmla="*/ 16 w 1139"/>
                    <a:gd name="T29" fmla="*/ 1889 h 2008"/>
                    <a:gd name="T30" fmla="*/ 0 w 1139"/>
                    <a:gd name="T31" fmla="*/ 1960 h 2008"/>
                    <a:gd name="T32" fmla="*/ 16 w 1139"/>
                    <a:gd name="T33" fmla="*/ 2007 h 2008"/>
                    <a:gd name="T34" fmla="*/ 47 w 1139"/>
                    <a:gd name="T35" fmla="*/ 2007 h 2008"/>
                    <a:gd name="T36" fmla="*/ 79 w 1139"/>
                    <a:gd name="T37" fmla="*/ 1984 h 2008"/>
                    <a:gd name="T38" fmla="*/ 111 w 1139"/>
                    <a:gd name="T39" fmla="*/ 1960 h 2008"/>
                    <a:gd name="T40" fmla="*/ 174 w 1139"/>
                    <a:gd name="T41" fmla="*/ 1968 h 2008"/>
                    <a:gd name="T42" fmla="*/ 190 w 1139"/>
                    <a:gd name="T43" fmla="*/ 1936 h 2008"/>
                    <a:gd name="T44" fmla="*/ 245 w 1139"/>
                    <a:gd name="T45" fmla="*/ 1913 h 2008"/>
                    <a:gd name="T46" fmla="*/ 284 w 1139"/>
                    <a:gd name="T47" fmla="*/ 1936 h 2008"/>
                    <a:gd name="T48" fmla="*/ 316 w 1139"/>
                    <a:gd name="T49" fmla="*/ 1952 h 2008"/>
                    <a:gd name="T50" fmla="*/ 348 w 1139"/>
                    <a:gd name="T51" fmla="*/ 1968 h 2008"/>
                    <a:gd name="T52" fmla="*/ 356 w 1139"/>
                    <a:gd name="T53" fmla="*/ 1936 h 2008"/>
                    <a:gd name="T54" fmla="*/ 372 w 1139"/>
                    <a:gd name="T55" fmla="*/ 1913 h 2008"/>
                    <a:gd name="T56" fmla="*/ 395 w 1139"/>
                    <a:gd name="T57" fmla="*/ 1897 h 2008"/>
                    <a:gd name="T58" fmla="*/ 427 w 1139"/>
                    <a:gd name="T59" fmla="*/ 1881 h 2008"/>
                    <a:gd name="T60" fmla="*/ 450 w 1139"/>
                    <a:gd name="T61" fmla="*/ 1857 h 2008"/>
                    <a:gd name="T62" fmla="*/ 466 w 1139"/>
                    <a:gd name="T63" fmla="*/ 1873 h 2008"/>
                    <a:gd name="T64" fmla="*/ 498 w 1139"/>
                    <a:gd name="T65" fmla="*/ 1897 h 2008"/>
                    <a:gd name="T66" fmla="*/ 506 w 1139"/>
                    <a:gd name="T67" fmla="*/ 1920 h 2008"/>
                    <a:gd name="T68" fmla="*/ 530 w 1139"/>
                    <a:gd name="T69" fmla="*/ 1920 h 2008"/>
                    <a:gd name="T70" fmla="*/ 530 w 1139"/>
                    <a:gd name="T71" fmla="*/ 1881 h 2008"/>
                    <a:gd name="T72" fmla="*/ 545 w 1139"/>
                    <a:gd name="T73" fmla="*/ 1857 h 2008"/>
                    <a:gd name="T74" fmla="*/ 561 w 1139"/>
                    <a:gd name="T75" fmla="*/ 1833 h 2008"/>
                    <a:gd name="T76" fmla="*/ 593 w 1139"/>
                    <a:gd name="T77" fmla="*/ 1802 h 2008"/>
                    <a:gd name="T78" fmla="*/ 624 w 1139"/>
                    <a:gd name="T79" fmla="*/ 1763 h 2008"/>
                    <a:gd name="T80" fmla="*/ 656 w 1139"/>
                    <a:gd name="T81" fmla="*/ 1794 h 2008"/>
                    <a:gd name="T82" fmla="*/ 703 w 1139"/>
                    <a:gd name="T83" fmla="*/ 1818 h 2008"/>
                    <a:gd name="T84" fmla="*/ 735 w 1139"/>
                    <a:gd name="T85" fmla="*/ 1826 h 2008"/>
                    <a:gd name="T86" fmla="*/ 775 w 1139"/>
                    <a:gd name="T87" fmla="*/ 1802 h 2008"/>
                    <a:gd name="T88" fmla="*/ 822 w 1139"/>
                    <a:gd name="T89" fmla="*/ 1676 h 2008"/>
                    <a:gd name="T90" fmla="*/ 862 w 1139"/>
                    <a:gd name="T91" fmla="*/ 1637 h 2008"/>
                    <a:gd name="T92" fmla="*/ 877 w 1139"/>
                    <a:gd name="T93" fmla="*/ 1589 h 2008"/>
                    <a:gd name="T94" fmla="*/ 909 w 1139"/>
                    <a:gd name="T95" fmla="*/ 1574 h 2008"/>
                    <a:gd name="T96" fmla="*/ 941 w 1139"/>
                    <a:gd name="T97" fmla="*/ 1534 h 2008"/>
                    <a:gd name="T98" fmla="*/ 925 w 1139"/>
                    <a:gd name="T99" fmla="*/ 1479 h 2008"/>
                    <a:gd name="T100" fmla="*/ 964 w 1139"/>
                    <a:gd name="T101" fmla="*/ 1439 h 2008"/>
                    <a:gd name="T102" fmla="*/ 1020 w 1139"/>
                    <a:gd name="T103" fmla="*/ 1471 h 2008"/>
                    <a:gd name="T104" fmla="*/ 1051 w 1139"/>
                    <a:gd name="T105" fmla="*/ 1415 h 2008"/>
                    <a:gd name="T106" fmla="*/ 1130 w 1139"/>
                    <a:gd name="T107" fmla="*/ 1400 h 2008"/>
                    <a:gd name="T108" fmla="*/ 1123 w 1139"/>
                    <a:gd name="T109" fmla="*/ 1344 h 2008"/>
                    <a:gd name="T110" fmla="*/ 1107 w 1139"/>
                    <a:gd name="T111" fmla="*/ 1297 h 2008"/>
                    <a:gd name="T112" fmla="*/ 1123 w 1139"/>
                    <a:gd name="T113" fmla="*/ 1250 h 2008"/>
                    <a:gd name="T114" fmla="*/ 972 w 1139"/>
                    <a:gd name="T115" fmla="*/ 32 h 2008"/>
                    <a:gd name="T116" fmla="*/ 933 w 1139"/>
                    <a:gd name="T117" fmla="*/ 8 h 2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39" h="2008">
                      <a:moveTo>
                        <a:pt x="933" y="8"/>
                      </a:moveTo>
                      <a:lnTo>
                        <a:pt x="933" y="8"/>
                      </a:lnTo>
                      <a:cubicBezTo>
                        <a:pt x="261" y="87"/>
                        <a:pt x="261" y="87"/>
                        <a:pt x="261" y="87"/>
                      </a:cubicBezTo>
                      <a:cubicBezTo>
                        <a:pt x="221" y="119"/>
                        <a:pt x="166" y="158"/>
                        <a:pt x="111" y="158"/>
                      </a:cubicBezTo>
                      <a:cubicBezTo>
                        <a:pt x="79" y="158"/>
                        <a:pt x="47" y="151"/>
                        <a:pt x="32" y="135"/>
                      </a:cubicBezTo>
                      <a:cubicBezTo>
                        <a:pt x="126" y="1178"/>
                        <a:pt x="126" y="1178"/>
                        <a:pt x="126" y="1178"/>
                      </a:cubicBezTo>
                      <a:cubicBezTo>
                        <a:pt x="126" y="1178"/>
                        <a:pt x="126" y="1257"/>
                        <a:pt x="111" y="1281"/>
                      </a:cubicBezTo>
                      <a:cubicBezTo>
                        <a:pt x="103" y="1297"/>
                        <a:pt x="79" y="1336"/>
                        <a:pt x="95" y="1360"/>
                      </a:cubicBezTo>
                      <a:cubicBezTo>
                        <a:pt x="119" y="1392"/>
                        <a:pt x="134" y="1368"/>
                        <a:pt x="134" y="1423"/>
                      </a:cubicBezTo>
                      <a:cubicBezTo>
                        <a:pt x="134" y="1471"/>
                        <a:pt x="134" y="1494"/>
                        <a:pt x="150" y="1502"/>
                      </a:cubicBezTo>
                      <a:cubicBezTo>
                        <a:pt x="166" y="1510"/>
                        <a:pt x="182" y="1566"/>
                        <a:pt x="158" y="1581"/>
                      </a:cubicBezTo>
                      <a:cubicBezTo>
                        <a:pt x="134" y="1597"/>
                        <a:pt x="119" y="1613"/>
                        <a:pt x="119" y="1637"/>
                      </a:cubicBezTo>
                      <a:cubicBezTo>
                        <a:pt x="119" y="1653"/>
                        <a:pt x="63" y="1763"/>
                        <a:pt x="39" y="1771"/>
                      </a:cubicBezTo>
                      <a:cubicBezTo>
                        <a:pt x="16" y="1779"/>
                        <a:pt x="24" y="1818"/>
                        <a:pt x="24" y="1833"/>
                      </a:cubicBezTo>
                      <a:cubicBezTo>
                        <a:pt x="32" y="1841"/>
                        <a:pt x="24" y="1873"/>
                        <a:pt x="16" y="1889"/>
                      </a:cubicBezTo>
                      <a:cubicBezTo>
                        <a:pt x="0" y="1913"/>
                        <a:pt x="0" y="1928"/>
                        <a:pt x="0" y="1960"/>
                      </a:cubicBezTo>
                      <a:cubicBezTo>
                        <a:pt x="0" y="1984"/>
                        <a:pt x="8" y="1999"/>
                        <a:pt x="16" y="2007"/>
                      </a:cubicBezTo>
                      <a:cubicBezTo>
                        <a:pt x="24" y="2007"/>
                        <a:pt x="39" y="2007"/>
                        <a:pt x="47" y="2007"/>
                      </a:cubicBezTo>
                      <a:cubicBezTo>
                        <a:pt x="71" y="2007"/>
                        <a:pt x="79" y="1999"/>
                        <a:pt x="79" y="1984"/>
                      </a:cubicBezTo>
                      <a:cubicBezTo>
                        <a:pt x="79" y="1976"/>
                        <a:pt x="95" y="1960"/>
                        <a:pt x="111" y="1960"/>
                      </a:cubicBezTo>
                      <a:cubicBezTo>
                        <a:pt x="126" y="1960"/>
                        <a:pt x="174" y="1984"/>
                        <a:pt x="174" y="1968"/>
                      </a:cubicBezTo>
                      <a:cubicBezTo>
                        <a:pt x="166" y="1952"/>
                        <a:pt x="174" y="1944"/>
                        <a:pt x="190" y="1936"/>
                      </a:cubicBezTo>
                      <a:cubicBezTo>
                        <a:pt x="206" y="1920"/>
                        <a:pt x="229" y="1913"/>
                        <a:pt x="245" y="1913"/>
                      </a:cubicBezTo>
                      <a:cubicBezTo>
                        <a:pt x="261" y="1920"/>
                        <a:pt x="261" y="1936"/>
                        <a:pt x="284" y="1936"/>
                      </a:cubicBezTo>
                      <a:cubicBezTo>
                        <a:pt x="300" y="1944"/>
                        <a:pt x="300" y="1936"/>
                        <a:pt x="316" y="1952"/>
                      </a:cubicBezTo>
                      <a:cubicBezTo>
                        <a:pt x="332" y="1968"/>
                        <a:pt x="340" y="1976"/>
                        <a:pt x="348" y="1968"/>
                      </a:cubicBezTo>
                      <a:cubicBezTo>
                        <a:pt x="356" y="1968"/>
                        <a:pt x="364" y="1952"/>
                        <a:pt x="356" y="1936"/>
                      </a:cubicBezTo>
                      <a:cubicBezTo>
                        <a:pt x="356" y="1920"/>
                        <a:pt x="364" y="1904"/>
                        <a:pt x="372" y="1913"/>
                      </a:cubicBezTo>
                      <a:cubicBezTo>
                        <a:pt x="387" y="1913"/>
                        <a:pt x="395" y="1904"/>
                        <a:pt x="395" y="1897"/>
                      </a:cubicBezTo>
                      <a:cubicBezTo>
                        <a:pt x="403" y="1889"/>
                        <a:pt x="419" y="1881"/>
                        <a:pt x="427" y="1881"/>
                      </a:cubicBezTo>
                      <a:cubicBezTo>
                        <a:pt x="435" y="1881"/>
                        <a:pt x="443" y="1865"/>
                        <a:pt x="450" y="1857"/>
                      </a:cubicBezTo>
                      <a:cubicBezTo>
                        <a:pt x="459" y="1857"/>
                        <a:pt x="459" y="1865"/>
                        <a:pt x="466" y="1873"/>
                      </a:cubicBezTo>
                      <a:cubicBezTo>
                        <a:pt x="466" y="1881"/>
                        <a:pt x="498" y="1897"/>
                        <a:pt x="498" y="1897"/>
                      </a:cubicBezTo>
                      <a:cubicBezTo>
                        <a:pt x="506" y="1920"/>
                        <a:pt x="506" y="1920"/>
                        <a:pt x="506" y="1920"/>
                      </a:cubicBezTo>
                      <a:cubicBezTo>
                        <a:pt x="506" y="1920"/>
                        <a:pt x="530" y="1928"/>
                        <a:pt x="530" y="1920"/>
                      </a:cubicBezTo>
                      <a:cubicBezTo>
                        <a:pt x="537" y="1913"/>
                        <a:pt x="530" y="1889"/>
                        <a:pt x="530" y="1881"/>
                      </a:cubicBezTo>
                      <a:cubicBezTo>
                        <a:pt x="530" y="1873"/>
                        <a:pt x="530" y="1865"/>
                        <a:pt x="545" y="1857"/>
                      </a:cubicBezTo>
                      <a:cubicBezTo>
                        <a:pt x="561" y="1849"/>
                        <a:pt x="561" y="1849"/>
                        <a:pt x="561" y="1833"/>
                      </a:cubicBezTo>
                      <a:cubicBezTo>
                        <a:pt x="569" y="1810"/>
                        <a:pt x="585" y="1810"/>
                        <a:pt x="593" y="1802"/>
                      </a:cubicBezTo>
                      <a:cubicBezTo>
                        <a:pt x="609" y="1787"/>
                        <a:pt x="617" y="1763"/>
                        <a:pt x="624" y="1763"/>
                      </a:cubicBezTo>
                      <a:cubicBezTo>
                        <a:pt x="632" y="1763"/>
                        <a:pt x="640" y="1787"/>
                        <a:pt x="656" y="1794"/>
                      </a:cubicBezTo>
                      <a:cubicBezTo>
                        <a:pt x="672" y="1810"/>
                        <a:pt x="688" y="1810"/>
                        <a:pt x="703" y="1818"/>
                      </a:cubicBezTo>
                      <a:cubicBezTo>
                        <a:pt x="712" y="1818"/>
                        <a:pt x="712" y="1833"/>
                        <a:pt x="735" y="1826"/>
                      </a:cubicBezTo>
                      <a:cubicBezTo>
                        <a:pt x="759" y="1818"/>
                        <a:pt x="775" y="1826"/>
                        <a:pt x="775" y="1802"/>
                      </a:cubicBezTo>
                      <a:cubicBezTo>
                        <a:pt x="767" y="1779"/>
                        <a:pt x="806" y="1676"/>
                        <a:pt x="822" y="1676"/>
                      </a:cubicBezTo>
                      <a:cubicBezTo>
                        <a:pt x="838" y="1684"/>
                        <a:pt x="862" y="1653"/>
                        <a:pt x="862" y="1637"/>
                      </a:cubicBezTo>
                      <a:cubicBezTo>
                        <a:pt x="862" y="1613"/>
                        <a:pt x="862" y="1597"/>
                        <a:pt x="877" y="1589"/>
                      </a:cubicBezTo>
                      <a:cubicBezTo>
                        <a:pt x="893" y="1589"/>
                        <a:pt x="893" y="1597"/>
                        <a:pt x="909" y="1574"/>
                      </a:cubicBezTo>
                      <a:cubicBezTo>
                        <a:pt x="917" y="1558"/>
                        <a:pt x="949" y="1566"/>
                        <a:pt x="941" y="1534"/>
                      </a:cubicBezTo>
                      <a:cubicBezTo>
                        <a:pt x="925" y="1502"/>
                        <a:pt x="917" y="1510"/>
                        <a:pt x="925" y="1479"/>
                      </a:cubicBezTo>
                      <a:cubicBezTo>
                        <a:pt x="925" y="1439"/>
                        <a:pt x="956" y="1423"/>
                        <a:pt x="964" y="1439"/>
                      </a:cubicBezTo>
                      <a:cubicBezTo>
                        <a:pt x="980" y="1447"/>
                        <a:pt x="1004" y="1487"/>
                        <a:pt x="1020" y="1471"/>
                      </a:cubicBezTo>
                      <a:cubicBezTo>
                        <a:pt x="1043" y="1447"/>
                        <a:pt x="1012" y="1423"/>
                        <a:pt x="1051" y="1415"/>
                      </a:cubicBezTo>
                      <a:cubicBezTo>
                        <a:pt x="1099" y="1408"/>
                        <a:pt x="1130" y="1415"/>
                        <a:pt x="1130" y="1400"/>
                      </a:cubicBezTo>
                      <a:cubicBezTo>
                        <a:pt x="1130" y="1392"/>
                        <a:pt x="1138" y="1368"/>
                        <a:pt x="1123" y="1344"/>
                      </a:cubicBezTo>
                      <a:cubicBezTo>
                        <a:pt x="1107" y="1328"/>
                        <a:pt x="1099" y="1321"/>
                        <a:pt x="1107" y="1297"/>
                      </a:cubicBezTo>
                      <a:cubicBezTo>
                        <a:pt x="1107" y="1281"/>
                        <a:pt x="1115" y="1257"/>
                        <a:pt x="1123" y="1250"/>
                      </a:cubicBezTo>
                      <a:cubicBezTo>
                        <a:pt x="972" y="32"/>
                        <a:pt x="972" y="32"/>
                        <a:pt x="972" y="32"/>
                      </a:cubicBezTo>
                      <a:cubicBezTo>
                        <a:pt x="949" y="0"/>
                        <a:pt x="933" y="8"/>
                        <a:pt x="933" y="8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1" name="Freeform 784">
                  <a:extLst>
                    <a:ext uri="{FF2B5EF4-FFF2-40B4-BE49-F238E27FC236}">
                      <a16:creationId xmlns:a16="http://schemas.microsoft.com/office/drawing/2014/main" id="{528729AD-6D4E-7D4B-BEA7-281E6C81E4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23035" y="5340361"/>
                  <a:ext cx="598381" cy="1059922"/>
                </a:xfrm>
                <a:custGeom>
                  <a:avLst/>
                  <a:gdLst>
                    <a:gd name="T0" fmla="*/ 8 w 1139"/>
                    <a:gd name="T1" fmla="*/ 1999 h 2016"/>
                    <a:gd name="T2" fmla="*/ 24 w 1139"/>
                    <a:gd name="T3" fmla="*/ 1826 h 2016"/>
                    <a:gd name="T4" fmla="*/ 166 w 1139"/>
                    <a:gd name="T5" fmla="*/ 1550 h 2016"/>
                    <a:gd name="T6" fmla="*/ 119 w 1139"/>
                    <a:gd name="T7" fmla="*/ 1384 h 2016"/>
                    <a:gd name="T8" fmla="*/ 24 w 1139"/>
                    <a:gd name="T9" fmla="*/ 127 h 2016"/>
                    <a:gd name="T10" fmla="*/ 261 w 1139"/>
                    <a:gd name="T11" fmla="*/ 80 h 2016"/>
                    <a:gd name="T12" fmla="*/ 972 w 1139"/>
                    <a:gd name="T13" fmla="*/ 24 h 2016"/>
                    <a:gd name="T14" fmla="*/ 1115 w 1139"/>
                    <a:gd name="T15" fmla="*/ 1281 h 2016"/>
                    <a:gd name="T16" fmla="*/ 1130 w 1139"/>
                    <a:gd name="T17" fmla="*/ 1400 h 2016"/>
                    <a:gd name="T18" fmla="*/ 1028 w 1139"/>
                    <a:gd name="T19" fmla="*/ 1471 h 2016"/>
                    <a:gd name="T20" fmla="*/ 956 w 1139"/>
                    <a:gd name="T21" fmla="*/ 1439 h 2016"/>
                    <a:gd name="T22" fmla="*/ 925 w 1139"/>
                    <a:gd name="T23" fmla="*/ 1566 h 2016"/>
                    <a:gd name="T24" fmla="*/ 862 w 1139"/>
                    <a:gd name="T25" fmla="*/ 1637 h 2016"/>
                    <a:gd name="T26" fmla="*/ 775 w 1139"/>
                    <a:gd name="T27" fmla="*/ 1818 h 2016"/>
                    <a:gd name="T28" fmla="*/ 703 w 1139"/>
                    <a:gd name="T29" fmla="*/ 1826 h 2016"/>
                    <a:gd name="T30" fmla="*/ 640 w 1139"/>
                    <a:gd name="T31" fmla="*/ 1779 h 2016"/>
                    <a:gd name="T32" fmla="*/ 601 w 1139"/>
                    <a:gd name="T33" fmla="*/ 1802 h 2016"/>
                    <a:gd name="T34" fmla="*/ 553 w 1139"/>
                    <a:gd name="T35" fmla="*/ 1857 h 2016"/>
                    <a:gd name="T36" fmla="*/ 537 w 1139"/>
                    <a:gd name="T37" fmla="*/ 1928 h 2016"/>
                    <a:gd name="T38" fmla="*/ 490 w 1139"/>
                    <a:gd name="T39" fmla="*/ 1897 h 2016"/>
                    <a:gd name="T40" fmla="*/ 443 w 1139"/>
                    <a:gd name="T41" fmla="*/ 1873 h 2016"/>
                    <a:gd name="T42" fmla="*/ 379 w 1139"/>
                    <a:gd name="T43" fmla="*/ 1913 h 2016"/>
                    <a:gd name="T44" fmla="*/ 348 w 1139"/>
                    <a:gd name="T45" fmla="*/ 1976 h 2016"/>
                    <a:gd name="T46" fmla="*/ 277 w 1139"/>
                    <a:gd name="T47" fmla="*/ 1944 h 2016"/>
                    <a:gd name="T48" fmla="*/ 190 w 1139"/>
                    <a:gd name="T49" fmla="*/ 1936 h 2016"/>
                    <a:gd name="T50" fmla="*/ 134 w 1139"/>
                    <a:gd name="T51" fmla="*/ 1968 h 2016"/>
                    <a:gd name="T52" fmla="*/ 47 w 1139"/>
                    <a:gd name="T53" fmla="*/ 2007 h 2016"/>
                    <a:gd name="T54" fmla="*/ 32 w 1139"/>
                    <a:gd name="T55" fmla="*/ 143 h 2016"/>
                    <a:gd name="T56" fmla="*/ 119 w 1139"/>
                    <a:gd name="T57" fmla="*/ 1376 h 2016"/>
                    <a:gd name="T58" fmla="*/ 174 w 1139"/>
                    <a:gd name="T59" fmla="*/ 1550 h 2016"/>
                    <a:gd name="T60" fmla="*/ 32 w 1139"/>
                    <a:gd name="T61" fmla="*/ 1826 h 2016"/>
                    <a:gd name="T62" fmla="*/ 16 w 1139"/>
                    <a:gd name="T63" fmla="*/ 1999 h 2016"/>
                    <a:gd name="T64" fmla="*/ 71 w 1139"/>
                    <a:gd name="T65" fmla="*/ 1984 h 2016"/>
                    <a:gd name="T66" fmla="*/ 166 w 1139"/>
                    <a:gd name="T67" fmla="*/ 1976 h 2016"/>
                    <a:gd name="T68" fmla="*/ 245 w 1139"/>
                    <a:gd name="T69" fmla="*/ 1913 h 2016"/>
                    <a:gd name="T70" fmla="*/ 292 w 1139"/>
                    <a:gd name="T71" fmla="*/ 1936 h 2016"/>
                    <a:gd name="T72" fmla="*/ 356 w 1139"/>
                    <a:gd name="T73" fmla="*/ 1913 h 2016"/>
                    <a:gd name="T74" fmla="*/ 427 w 1139"/>
                    <a:gd name="T75" fmla="*/ 1873 h 2016"/>
                    <a:gd name="T76" fmla="*/ 466 w 1139"/>
                    <a:gd name="T77" fmla="*/ 1865 h 2016"/>
                    <a:gd name="T78" fmla="*/ 506 w 1139"/>
                    <a:gd name="T79" fmla="*/ 1913 h 2016"/>
                    <a:gd name="T80" fmla="*/ 530 w 1139"/>
                    <a:gd name="T81" fmla="*/ 1881 h 2016"/>
                    <a:gd name="T82" fmla="*/ 561 w 1139"/>
                    <a:gd name="T83" fmla="*/ 1833 h 2016"/>
                    <a:gd name="T84" fmla="*/ 624 w 1139"/>
                    <a:gd name="T85" fmla="*/ 1763 h 2016"/>
                    <a:gd name="T86" fmla="*/ 696 w 1139"/>
                    <a:gd name="T87" fmla="*/ 1810 h 2016"/>
                    <a:gd name="T88" fmla="*/ 735 w 1139"/>
                    <a:gd name="T89" fmla="*/ 1818 h 2016"/>
                    <a:gd name="T90" fmla="*/ 806 w 1139"/>
                    <a:gd name="T91" fmla="*/ 1684 h 2016"/>
                    <a:gd name="T92" fmla="*/ 885 w 1139"/>
                    <a:gd name="T93" fmla="*/ 1589 h 2016"/>
                    <a:gd name="T94" fmla="*/ 925 w 1139"/>
                    <a:gd name="T95" fmla="*/ 1518 h 2016"/>
                    <a:gd name="T96" fmla="*/ 980 w 1139"/>
                    <a:gd name="T97" fmla="*/ 1439 h 2016"/>
                    <a:gd name="T98" fmla="*/ 1051 w 1139"/>
                    <a:gd name="T99" fmla="*/ 1408 h 2016"/>
                    <a:gd name="T100" fmla="*/ 1115 w 1139"/>
                    <a:gd name="T101" fmla="*/ 1336 h 2016"/>
                    <a:gd name="T102" fmla="*/ 964 w 1139"/>
                    <a:gd name="T103" fmla="*/ 32 h 2016"/>
                    <a:gd name="T104" fmla="*/ 111 w 1139"/>
                    <a:gd name="T105" fmla="*/ 166 h 2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139" h="2016">
                      <a:moveTo>
                        <a:pt x="8" y="2015"/>
                      </a:moveTo>
                      <a:lnTo>
                        <a:pt x="8" y="2015"/>
                      </a:lnTo>
                      <a:cubicBezTo>
                        <a:pt x="8" y="2007"/>
                        <a:pt x="8" y="2007"/>
                        <a:pt x="8" y="2007"/>
                      </a:cubicBezTo>
                      <a:lnTo>
                        <a:pt x="8" y="1999"/>
                      </a:lnTo>
                      <a:cubicBezTo>
                        <a:pt x="0" y="1991"/>
                        <a:pt x="0" y="1976"/>
                        <a:pt x="0" y="1960"/>
                      </a:cubicBezTo>
                      <a:cubicBezTo>
                        <a:pt x="0" y="1928"/>
                        <a:pt x="0" y="1913"/>
                        <a:pt x="8" y="1889"/>
                      </a:cubicBezTo>
                      <a:cubicBezTo>
                        <a:pt x="24" y="1873"/>
                        <a:pt x="24" y="1841"/>
                        <a:pt x="24" y="1833"/>
                      </a:cubicBezTo>
                      <a:lnTo>
                        <a:pt x="24" y="1826"/>
                      </a:lnTo>
                      <a:cubicBezTo>
                        <a:pt x="16" y="1810"/>
                        <a:pt x="8" y="1771"/>
                        <a:pt x="39" y="1763"/>
                      </a:cubicBezTo>
                      <a:cubicBezTo>
                        <a:pt x="63" y="1755"/>
                        <a:pt x="119" y="1653"/>
                        <a:pt x="119" y="1637"/>
                      </a:cubicBezTo>
                      <a:cubicBezTo>
                        <a:pt x="119" y="1613"/>
                        <a:pt x="134" y="1589"/>
                        <a:pt x="158" y="1574"/>
                      </a:cubicBezTo>
                      <a:cubicBezTo>
                        <a:pt x="166" y="1574"/>
                        <a:pt x="166" y="1558"/>
                        <a:pt x="166" y="1550"/>
                      </a:cubicBezTo>
                      <a:cubicBezTo>
                        <a:pt x="166" y="1534"/>
                        <a:pt x="158" y="1510"/>
                        <a:pt x="150" y="1502"/>
                      </a:cubicBezTo>
                      <a:cubicBezTo>
                        <a:pt x="134" y="1494"/>
                        <a:pt x="134" y="1479"/>
                        <a:pt x="134" y="1431"/>
                      </a:cubicBezTo>
                      <a:cubicBezTo>
                        <a:pt x="134" y="1423"/>
                        <a:pt x="134" y="1423"/>
                        <a:pt x="134" y="1423"/>
                      </a:cubicBezTo>
                      <a:cubicBezTo>
                        <a:pt x="134" y="1392"/>
                        <a:pt x="126" y="1392"/>
                        <a:pt x="119" y="1384"/>
                      </a:cubicBezTo>
                      <a:cubicBezTo>
                        <a:pt x="111" y="1384"/>
                        <a:pt x="103" y="1376"/>
                        <a:pt x="95" y="1368"/>
                      </a:cubicBezTo>
                      <a:cubicBezTo>
                        <a:pt x="79" y="1336"/>
                        <a:pt x="95" y="1297"/>
                        <a:pt x="111" y="1273"/>
                      </a:cubicBezTo>
                      <a:cubicBezTo>
                        <a:pt x="119" y="1265"/>
                        <a:pt x="126" y="1202"/>
                        <a:pt x="126" y="1178"/>
                      </a:cubicBezTo>
                      <a:cubicBezTo>
                        <a:pt x="24" y="127"/>
                        <a:pt x="24" y="127"/>
                        <a:pt x="24" y="127"/>
                      </a:cubicBezTo>
                      <a:cubicBezTo>
                        <a:pt x="32" y="135"/>
                        <a:pt x="32" y="135"/>
                        <a:pt x="32" y="135"/>
                      </a:cubicBezTo>
                      <a:cubicBezTo>
                        <a:pt x="47" y="151"/>
                        <a:pt x="79" y="158"/>
                        <a:pt x="111" y="158"/>
                      </a:cubicBezTo>
                      <a:cubicBezTo>
                        <a:pt x="166" y="158"/>
                        <a:pt x="229" y="111"/>
                        <a:pt x="261" y="87"/>
                      </a:cubicBezTo>
                      <a:cubicBezTo>
                        <a:pt x="261" y="80"/>
                        <a:pt x="261" y="80"/>
                        <a:pt x="261" y="80"/>
                      </a:cubicBezTo>
                      <a:lnTo>
                        <a:pt x="261" y="80"/>
                      </a:lnTo>
                      <a:cubicBezTo>
                        <a:pt x="933" y="0"/>
                        <a:pt x="933" y="0"/>
                        <a:pt x="933" y="0"/>
                      </a:cubicBezTo>
                      <a:cubicBezTo>
                        <a:pt x="933" y="0"/>
                        <a:pt x="949" y="0"/>
                        <a:pt x="972" y="24"/>
                      </a:cubicBezTo>
                      <a:lnTo>
                        <a:pt x="972" y="24"/>
                      </a:lnTo>
                      <a:cubicBezTo>
                        <a:pt x="972" y="32"/>
                        <a:pt x="972" y="32"/>
                        <a:pt x="972" y="32"/>
                      </a:cubicBezTo>
                      <a:cubicBezTo>
                        <a:pt x="1123" y="1250"/>
                        <a:pt x="1123" y="1250"/>
                        <a:pt x="1123" y="1250"/>
                      </a:cubicBezTo>
                      <a:lnTo>
                        <a:pt x="1123" y="1250"/>
                      </a:lnTo>
                      <a:cubicBezTo>
                        <a:pt x="1115" y="1257"/>
                        <a:pt x="1115" y="1265"/>
                        <a:pt x="1115" y="1281"/>
                      </a:cubicBezTo>
                      <a:cubicBezTo>
                        <a:pt x="1115" y="1289"/>
                        <a:pt x="1107" y="1289"/>
                        <a:pt x="1107" y="1297"/>
                      </a:cubicBezTo>
                      <a:cubicBezTo>
                        <a:pt x="1107" y="1313"/>
                        <a:pt x="1107" y="1321"/>
                        <a:pt x="1115" y="1336"/>
                      </a:cubicBezTo>
                      <a:cubicBezTo>
                        <a:pt x="1123" y="1336"/>
                        <a:pt x="1123" y="1336"/>
                        <a:pt x="1123" y="1344"/>
                      </a:cubicBezTo>
                      <a:cubicBezTo>
                        <a:pt x="1138" y="1368"/>
                        <a:pt x="1138" y="1392"/>
                        <a:pt x="1130" y="1400"/>
                      </a:cubicBezTo>
                      <a:cubicBezTo>
                        <a:pt x="1130" y="1415"/>
                        <a:pt x="1115" y="1415"/>
                        <a:pt x="1099" y="1415"/>
                      </a:cubicBezTo>
                      <a:cubicBezTo>
                        <a:pt x="1083" y="1415"/>
                        <a:pt x="1067" y="1415"/>
                        <a:pt x="1051" y="1415"/>
                      </a:cubicBezTo>
                      <a:cubicBezTo>
                        <a:pt x="1028" y="1423"/>
                        <a:pt x="1036" y="1431"/>
                        <a:pt x="1036" y="1439"/>
                      </a:cubicBezTo>
                      <a:cubicBezTo>
                        <a:pt x="1036" y="1447"/>
                        <a:pt x="1036" y="1463"/>
                        <a:pt x="1028" y="1471"/>
                      </a:cubicBezTo>
                      <a:cubicBezTo>
                        <a:pt x="1020" y="1471"/>
                        <a:pt x="1020" y="1479"/>
                        <a:pt x="1012" y="1479"/>
                      </a:cubicBezTo>
                      <a:cubicBezTo>
                        <a:pt x="996" y="1479"/>
                        <a:pt x="980" y="1463"/>
                        <a:pt x="972" y="1447"/>
                      </a:cubicBezTo>
                      <a:lnTo>
                        <a:pt x="964" y="1439"/>
                      </a:lnTo>
                      <a:lnTo>
                        <a:pt x="956" y="1439"/>
                      </a:lnTo>
                      <a:cubicBezTo>
                        <a:pt x="941" y="1439"/>
                        <a:pt x="925" y="1455"/>
                        <a:pt x="925" y="1479"/>
                      </a:cubicBezTo>
                      <a:cubicBezTo>
                        <a:pt x="925" y="1494"/>
                        <a:pt x="925" y="1502"/>
                        <a:pt x="933" y="1510"/>
                      </a:cubicBezTo>
                      <a:cubicBezTo>
                        <a:pt x="933" y="1518"/>
                        <a:pt x="933" y="1526"/>
                        <a:pt x="941" y="1534"/>
                      </a:cubicBezTo>
                      <a:cubicBezTo>
                        <a:pt x="949" y="1558"/>
                        <a:pt x="941" y="1558"/>
                        <a:pt x="925" y="1566"/>
                      </a:cubicBezTo>
                      <a:cubicBezTo>
                        <a:pt x="917" y="1566"/>
                        <a:pt x="917" y="1574"/>
                        <a:pt x="909" y="1581"/>
                      </a:cubicBezTo>
                      <a:cubicBezTo>
                        <a:pt x="901" y="1589"/>
                        <a:pt x="901" y="1597"/>
                        <a:pt x="885" y="1597"/>
                      </a:cubicBezTo>
                      <a:cubicBezTo>
                        <a:pt x="885" y="1597"/>
                        <a:pt x="885" y="1597"/>
                        <a:pt x="877" y="1597"/>
                      </a:cubicBezTo>
                      <a:cubicBezTo>
                        <a:pt x="870" y="1597"/>
                        <a:pt x="862" y="1613"/>
                        <a:pt x="862" y="1637"/>
                      </a:cubicBezTo>
                      <a:cubicBezTo>
                        <a:pt x="862" y="1653"/>
                        <a:pt x="846" y="1684"/>
                        <a:pt x="822" y="1684"/>
                      </a:cubicBezTo>
                      <a:cubicBezTo>
                        <a:pt x="822" y="1684"/>
                        <a:pt x="822" y="1684"/>
                        <a:pt x="814" y="1692"/>
                      </a:cubicBezTo>
                      <a:cubicBezTo>
                        <a:pt x="790" y="1716"/>
                        <a:pt x="767" y="1779"/>
                        <a:pt x="775" y="1802"/>
                      </a:cubicBezTo>
                      <a:cubicBezTo>
                        <a:pt x="775" y="1810"/>
                        <a:pt x="775" y="1810"/>
                        <a:pt x="775" y="1818"/>
                      </a:cubicBezTo>
                      <a:cubicBezTo>
                        <a:pt x="767" y="1818"/>
                        <a:pt x="759" y="1826"/>
                        <a:pt x="751" y="1826"/>
                      </a:cubicBezTo>
                      <a:cubicBezTo>
                        <a:pt x="751" y="1826"/>
                        <a:pt x="743" y="1826"/>
                        <a:pt x="735" y="1826"/>
                      </a:cubicBezTo>
                      <a:cubicBezTo>
                        <a:pt x="727" y="1833"/>
                        <a:pt x="727" y="1833"/>
                        <a:pt x="719" y="1833"/>
                      </a:cubicBezTo>
                      <a:cubicBezTo>
                        <a:pt x="712" y="1833"/>
                        <a:pt x="712" y="1826"/>
                        <a:pt x="703" y="1826"/>
                      </a:cubicBezTo>
                      <a:cubicBezTo>
                        <a:pt x="703" y="1818"/>
                        <a:pt x="703" y="1818"/>
                        <a:pt x="696" y="1818"/>
                      </a:cubicBezTo>
                      <a:cubicBezTo>
                        <a:pt x="696" y="1818"/>
                        <a:pt x="696" y="1818"/>
                        <a:pt x="688" y="1818"/>
                      </a:cubicBezTo>
                      <a:cubicBezTo>
                        <a:pt x="680" y="1810"/>
                        <a:pt x="664" y="1810"/>
                        <a:pt x="656" y="1802"/>
                      </a:cubicBezTo>
                      <a:cubicBezTo>
                        <a:pt x="648" y="1794"/>
                        <a:pt x="640" y="1787"/>
                        <a:pt x="640" y="1779"/>
                      </a:cubicBezTo>
                      <a:cubicBezTo>
                        <a:pt x="632" y="1779"/>
                        <a:pt x="632" y="1771"/>
                        <a:pt x="624" y="1771"/>
                      </a:cubicBezTo>
                      <a:lnTo>
                        <a:pt x="624" y="1771"/>
                      </a:lnTo>
                      <a:cubicBezTo>
                        <a:pt x="617" y="1771"/>
                        <a:pt x="617" y="1779"/>
                        <a:pt x="617" y="1779"/>
                      </a:cubicBezTo>
                      <a:cubicBezTo>
                        <a:pt x="609" y="1787"/>
                        <a:pt x="601" y="1794"/>
                        <a:pt x="601" y="1802"/>
                      </a:cubicBezTo>
                      <a:cubicBezTo>
                        <a:pt x="593" y="1802"/>
                        <a:pt x="593" y="1810"/>
                        <a:pt x="585" y="1810"/>
                      </a:cubicBezTo>
                      <a:cubicBezTo>
                        <a:pt x="577" y="1810"/>
                        <a:pt x="569" y="1818"/>
                        <a:pt x="569" y="1833"/>
                      </a:cubicBezTo>
                      <a:lnTo>
                        <a:pt x="569" y="1833"/>
                      </a:lnTo>
                      <a:cubicBezTo>
                        <a:pt x="561" y="1849"/>
                        <a:pt x="561" y="1857"/>
                        <a:pt x="553" y="1857"/>
                      </a:cubicBezTo>
                      <a:cubicBezTo>
                        <a:pt x="545" y="1865"/>
                        <a:pt x="545" y="1865"/>
                        <a:pt x="545" y="1865"/>
                      </a:cubicBezTo>
                      <a:cubicBezTo>
                        <a:pt x="537" y="1865"/>
                        <a:pt x="537" y="1873"/>
                        <a:pt x="537" y="1881"/>
                      </a:cubicBezTo>
                      <a:lnTo>
                        <a:pt x="537" y="1889"/>
                      </a:lnTo>
                      <a:cubicBezTo>
                        <a:pt x="537" y="1904"/>
                        <a:pt x="537" y="1920"/>
                        <a:pt x="537" y="1928"/>
                      </a:cubicBezTo>
                      <a:cubicBezTo>
                        <a:pt x="530" y="1928"/>
                        <a:pt x="530" y="1928"/>
                        <a:pt x="522" y="1928"/>
                      </a:cubicBezTo>
                      <a:cubicBezTo>
                        <a:pt x="514" y="1928"/>
                        <a:pt x="506" y="1920"/>
                        <a:pt x="506" y="1920"/>
                      </a:cubicBezTo>
                      <a:lnTo>
                        <a:pt x="506" y="1920"/>
                      </a:lnTo>
                      <a:cubicBezTo>
                        <a:pt x="490" y="1897"/>
                        <a:pt x="490" y="1897"/>
                        <a:pt x="490" y="1897"/>
                      </a:cubicBezTo>
                      <a:cubicBezTo>
                        <a:pt x="482" y="1889"/>
                        <a:pt x="466" y="1881"/>
                        <a:pt x="459" y="1873"/>
                      </a:cubicBezTo>
                      <a:lnTo>
                        <a:pt x="459" y="1873"/>
                      </a:lnTo>
                      <a:cubicBezTo>
                        <a:pt x="459" y="1865"/>
                        <a:pt x="450" y="1865"/>
                        <a:pt x="450" y="1865"/>
                      </a:cubicBezTo>
                      <a:cubicBezTo>
                        <a:pt x="443" y="1865"/>
                        <a:pt x="443" y="1865"/>
                        <a:pt x="443" y="1873"/>
                      </a:cubicBezTo>
                      <a:cubicBezTo>
                        <a:pt x="435" y="1881"/>
                        <a:pt x="435" y="1881"/>
                        <a:pt x="427" y="1881"/>
                      </a:cubicBezTo>
                      <a:cubicBezTo>
                        <a:pt x="419" y="1881"/>
                        <a:pt x="403" y="1889"/>
                        <a:pt x="403" y="1897"/>
                      </a:cubicBezTo>
                      <a:lnTo>
                        <a:pt x="403" y="1897"/>
                      </a:lnTo>
                      <a:cubicBezTo>
                        <a:pt x="395" y="1904"/>
                        <a:pt x="395" y="1913"/>
                        <a:pt x="379" y="1913"/>
                      </a:cubicBezTo>
                      <a:cubicBezTo>
                        <a:pt x="379" y="1913"/>
                        <a:pt x="379" y="1913"/>
                        <a:pt x="372" y="1913"/>
                      </a:cubicBezTo>
                      <a:lnTo>
                        <a:pt x="364" y="1913"/>
                      </a:lnTo>
                      <a:cubicBezTo>
                        <a:pt x="364" y="1920"/>
                        <a:pt x="364" y="1928"/>
                        <a:pt x="364" y="1936"/>
                      </a:cubicBezTo>
                      <a:cubicBezTo>
                        <a:pt x="364" y="1952"/>
                        <a:pt x="364" y="1976"/>
                        <a:pt x="348" y="1976"/>
                      </a:cubicBezTo>
                      <a:cubicBezTo>
                        <a:pt x="340" y="1976"/>
                        <a:pt x="324" y="1968"/>
                        <a:pt x="308" y="1952"/>
                      </a:cubicBezTo>
                      <a:cubicBezTo>
                        <a:pt x="300" y="1944"/>
                        <a:pt x="300" y="1944"/>
                        <a:pt x="292" y="1944"/>
                      </a:cubicBezTo>
                      <a:lnTo>
                        <a:pt x="292" y="1944"/>
                      </a:lnTo>
                      <a:cubicBezTo>
                        <a:pt x="292" y="1944"/>
                        <a:pt x="284" y="1944"/>
                        <a:pt x="277" y="1944"/>
                      </a:cubicBezTo>
                      <a:cubicBezTo>
                        <a:pt x="269" y="1936"/>
                        <a:pt x="261" y="1936"/>
                        <a:pt x="261" y="1928"/>
                      </a:cubicBezTo>
                      <a:cubicBezTo>
                        <a:pt x="253" y="1920"/>
                        <a:pt x="253" y="1920"/>
                        <a:pt x="245" y="1920"/>
                      </a:cubicBezTo>
                      <a:cubicBezTo>
                        <a:pt x="245" y="1920"/>
                        <a:pt x="245" y="1913"/>
                        <a:pt x="237" y="1913"/>
                      </a:cubicBezTo>
                      <a:cubicBezTo>
                        <a:pt x="229" y="1913"/>
                        <a:pt x="206" y="1928"/>
                        <a:pt x="190" y="1936"/>
                      </a:cubicBezTo>
                      <a:cubicBezTo>
                        <a:pt x="174" y="1944"/>
                        <a:pt x="174" y="1960"/>
                        <a:pt x="174" y="1968"/>
                      </a:cubicBezTo>
                      <a:cubicBezTo>
                        <a:pt x="174" y="1976"/>
                        <a:pt x="174" y="1976"/>
                        <a:pt x="174" y="1976"/>
                      </a:cubicBezTo>
                      <a:lnTo>
                        <a:pt x="166" y="1984"/>
                      </a:lnTo>
                      <a:cubicBezTo>
                        <a:pt x="158" y="1984"/>
                        <a:pt x="142" y="1976"/>
                        <a:pt x="134" y="1968"/>
                      </a:cubicBezTo>
                      <a:cubicBezTo>
                        <a:pt x="126" y="1968"/>
                        <a:pt x="111" y="1960"/>
                        <a:pt x="111" y="1960"/>
                      </a:cubicBezTo>
                      <a:cubicBezTo>
                        <a:pt x="95" y="1960"/>
                        <a:pt x="79" y="1976"/>
                        <a:pt x="79" y="1984"/>
                      </a:cubicBezTo>
                      <a:cubicBezTo>
                        <a:pt x="79" y="1999"/>
                        <a:pt x="79" y="2015"/>
                        <a:pt x="55" y="2015"/>
                      </a:cubicBezTo>
                      <a:lnTo>
                        <a:pt x="47" y="2007"/>
                      </a:lnTo>
                      <a:cubicBezTo>
                        <a:pt x="39" y="2007"/>
                        <a:pt x="32" y="2007"/>
                        <a:pt x="16" y="2015"/>
                      </a:cubicBezTo>
                      <a:lnTo>
                        <a:pt x="8" y="2015"/>
                      </a:lnTo>
                      <a:close/>
                      <a:moveTo>
                        <a:pt x="32" y="143"/>
                      </a:moveTo>
                      <a:lnTo>
                        <a:pt x="32" y="143"/>
                      </a:lnTo>
                      <a:cubicBezTo>
                        <a:pt x="134" y="1178"/>
                        <a:pt x="134" y="1178"/>
                        <a:pt x="134" y="1178"/>
                      </a:cubicBezTo>
                      <a:cubicBezTo>
                        <a:pt x="134" y="1186"/>
                        <a:pt x="126" y="1265"/>
                        <a:pt x="119" y="1281"/>
                      </a:cubicBezTo>
                      <a:cubicBezTo>
                        <a:pt x="103" y="1297"/>
                        <a:pt x="87" y="1336"/>
                        <a:pt x="103" y="1360"/>
                      </a:cubicBezTo>
                      <a:cubicBezTo>
                        <a:pt x="111" y="1368"/>
                        <a:pt x="111" y="1376"/>
                        <a:pt x="119" y="1376"/>
                      </a:cubicBezTo>
                      <a:cubicBezTo>
                        <a:pt x="134" y="1384"/>
                        <a:pt x="142" y="1392"/>
                        <a:pt x="142" y="1423"/>
                      </a:cubicBezTo>
                      <a:cubicBezTo>
                        <a:pt x="142" y="1431"/>
                        <a:pt x="142" y="1431"/>
                        <a:pt x="142" y="1431"/>
                      </a:cubicBezTo>
                      <a:cubicBezTo>
                        <a:pt x="142" y="1471"/>
                        <a:pt x="142" y="1494"/>
                        <a:pt x="158" y="1502"/>
                      </a:cubicBezTo>
                      <a:cubicBezTo>
                        <a:pt x="166" y="1502"/>
                        <a:pt x="174" y="1526"/>
                        <a:pt x="174" y="1550"/>
                      </a:cubicBezTo>
                      <a:cubicBezTo>
                        <a:pt x="174" y="1566"/>
                        <a:pt x="174" y="1574"/>
                        <a:pt x="158" y="1581"/>
                      </a:cubicBezTo>
                      <a:cubicBezTo>
                        <a:pt x="134" y="1597"/>
                        <a:pt x="126" y="1613"/>
                        <a:pt x="126" y="1637"/>
                      </a:cubicBezTo>
                      <a:cubicBezTo>
                        <a:pt x="126" y="1653"/>
                        <a:pt x="63" y="1763"/>
                        <a:pt x="39" y="1771"/>
                      </a:cubicBezTo>
                      <a:cubicBezTo>
                        <a:pt x="24" y="1779"/>
                        <a:pt x="24" y="1810"/>
                        <a:pt x="32" y="1826"/>
                      </a:cubicBezTo>
                      <a:lnTo>
                        <a:pt x="32" y="1833"/>
                      </a:lnTo>
                      <a:cubicBezTo>
                        <a:pt x="32" y="1849"/>
                        <a:pt x="32" y="1873"/>
                        <a:pt x="16" y="1897"/>
                      </a:cubicBezTo>
                      <a:cubicBezTo>
                        <a:pt x="8" y="1913"/>
                        <a:pt x="0" y="1928"/>
                        <a:pt x="8" y="1960"/>
                      </a:cubicBezTo>
                      <a:cubicBezTo>
                        <a:pt x="8" y="1976"/>
                        <a:pt x="8" y="1984"/>
                        <a:pt x="16" y="1999"/>
                      </a:cubicBezTo>
                      <a:cubicBezTo>
                        <a:pt x="16" y="1999"/>
                        <a:pt x="16" y="1999"/>
                        <a:pt x="16" y="2007"/>
                      </a:cubicBezTo>
                      <a:cubicBezTo>
                        <a:pt x="32" y="1999"/>
                        <a:pt x="39" y="1999"/>
                        <a:pt x="47" y="2007"/>
                      </a:cubicBezTo>
                      <a:lnTo>
                        <a:pt x="55" y="2007"/>
                      </a:lnTo>
                      <a:cubicBezTo>
                        <a:pt x="71" y="2007"/>
                        <a:pt x="71" y="1999"/>
                        <a:pt x="71" y="1984"/>
                      </a:cubicBezTo>
                      <a:cubicBezTo>
                        <a:pt x="71" y="1968"/>
                        <a:pt x="87" y="1952"/>
                        <a:pt x="111" y="1952"/>
                      </a:cubicBezTo>
                      <a:cubicBezTo>
                        <a:pt x="119" y="1960"/>
                        <a:pt x="126" y="1960"/>
                        <a:pt x="134" y="1960"/>
                      </a:cubicBezTo>
                      <a:cubicBezTo>
                        <a:pt x="142" y="1968"/>
                        <a:pt x="158" y="1976"/>
                        <a:pt x="166" y="1976"/>
                      </a:cubicBezTo>
                      <a:lnTo>
                        <a:pt x="166" y="1976"/>
                      </a:lnTo>
                      <a:cubicBezTo>
                        <a:pt x="166" y="1968"/>
                        <a:pt x="166" y="1968"/>
                        <a:pt x="166" y="1968"/>
                      </a:cubicBezTo>
                      <a:cubicBezTo>
                        <a:pt x="166" y="1952"/>
                        <a:pt x="166" y="1944"/>
                        <a:pt x="190" y="1928"/>
                      </a:cubicBezTo>
                      <a:cubicBezTo>
                        <a:pt x="206" y="1920"/>
                        <a:pt x="221" y="1913"/>
                        <a:pt x="237" y="1913"/>
                      </a:cubicBezTo>
                      <a:cubicBezTo>
                        <a:pt x="245" y="1913"/>
                        <a:pt x="245" y="1913"/>
                        <a:pt x="245" y="1913"/>
                      </a:cubicBezTo>
                      <a:cubicBezTo>
                        <a:pt x="253" y="1913"/>
                        <a:pt x="261" y="1920"/>
                        <a:pt x="261" y="1920"/>
                      </a:cubicBezTo>
                      <a:cubicBezTo>
                        <a:pt x="269" y="1928"/>
                        <a:pt x="269" y="1936"/>
                        <a:pt x="284" y="1936"/>
                      </a:cubicBezTo>
                      <a:lnTo>
                        <a:pt x="292" y="1936"/>
                      </a:lnTo>
                      <a:lnTo>
                        <a:pt x="292" y="1936"/>
                      </a:lnTo>
                      <a:cubicBezTo>
                        <a:pt x="300" y="1936"/>
                        <a:pt x="308" y="1936"/>
                        <a:pt x="316" y="1952"/>
                      </a:cubicBezTo>
                      <a:cubicBezTo>
                        <a:pt x="332" y="1960"/>
                        <a:pt x="340" y="1968"/>
                        <a:pt x="348" y="1968"/>
                      </a:cubicBezTo>
                      <a:cubicBezTo>
                        <a:pt x="356" y="1968"/>
                        <a:pt x="356" y="1952"/>
                        <a:pt x="356" y="1936"/>
                      </a:cubicBezTo>
                      <a:cubicBezTo>
                        <a:pt x="356" y="1928"/>
                        <a:pt x="356" y="1913"/>
                        <a:pt x="356" y="1913"/>
                      </a:cubicBezTo>
                      <a:cubicBezTo>
                        <a:pt x="364" y="1904"/>
                        <a:pt x="372" y="1904"/>
                        <a:pt x="379" y="1904"/>
                      </a:cubicBezTo>
                      <a:cubicBezTo>
                        <a:pt x="387" y="1904"/>
                        <a:pt x="387" y="1904"/>
                        <a:pt x="395" y="1897"/>
                      </a:cubicBezTo>
                      <a:lnTo>
                        <a:pt x="395" y="1897"/>
                      </a:lnTo>
                      <a:cubicBezTo>
                        <a:pt x="403" y="1881"/>
                        <a:pt x="419" y="1881"/>
                        <a:pt x="427" y="1873"/>
                      </a:cubicBezTo>
                      <a:cubicBezTo>
                        <a:pt x="427" y="1873"/>
                        <a:pt x="435" y="1873"/>
                        <a:pt x="435" y="1865"/>
                      </a:cubicBezTo>
                      <a:cubicBezTo>
                        <a:pt x="435" y="1865"/>
                        <a:pt x="443" y="1857"/>
                        <a:pt x="450" y="1857"/>
                      </a:cubicBezTo>
                      <a:lnTo>
                        <a:pt x="450" y="1857"/>
                      </a:lnTo>
                      <a:cubicBezTo>
                        <a:pt x="459" y="1857"/>
                        <a:pt x="459" y="1865"/>
                        <a:pt x="466" y="1865"/>
                      </a:cubicBezTo>
                      <a:lnTo>
                        <a:pt x="466" y="1873"/>
                      </a:lnTo>
                      <a:cubicBezTo>
                        <a:pt x="466" y="1873"/>
                        <a:pt x="482" y="1881"/>
                        <a:pt x="498" y="1889"/>
                      </a:cubicBezTo>
                      <a:lnTo>
                        <a:pt x="498" y="1889"/>
                      </a:lnTo>
                      <a:cubicBezTo>
                        <a:pt x="506" y="1913"/>
                        <a:pt x="506" y="1913"/>
                        <a:pt x="506" y="1913"/>
                      </a:cubicBezTo>
                      <a:cubicBezTo>
                        <a:pt x="514" y="1920"/>
                        <a:pt x="522" y="1920"/>
                        <a:pt x="522" y="1920"/>
                      </a:cubicBezTo>
                      <a:cubicBezTo>
                        <a:pt x="530" y="1920"/>
                        <a:pt x="530" y="1920"/>
                        <a:pt x="530" y="1920"/>
                      </a:cubicBezTo>
                      <a:cubicBezTo>
                        <a:pt x="530" y="1920"/>
                        <a:pt x="530" y="1897"/>
                        <a:pt x="530" y="1889"/>
                      </a:cubicBezTo>
                      <a:lnTo>
                        <a:pt x="530" y="1881"/>
                      </a:lnTo>
                      <a:cubicBezTo>
                        <a:pt x="530" y="1873"/>
                        <a:pt x="530" y="1865"/>
                        <a:pt x="545" y="1857"/>
                      </a:cubicBezTo>
                      <a:lnTo>
                        <a:pt x="545" y="1857"/>
                      </a:lnTo>
                      <a:cubicBezTo>
                        <a:pt x="553" y="1849"/>
                        <a:pt x="553" y="1849"/>
                        <a:pt x="561" y="1833"/>
                      </a:cubicBezTo>
                      <a:lnTo>
                        <a:pt x="561" y="1833"/>
                      </a:lnTo>
                      <a:cubicBezTo>
                        <a:pt x="569" y="1810"/>
                        <a:pt x="577" y="1810"/>
                        <a:pt x="585" y="1802"/>
                      </a:cubicBezTo>
                      <a:cubicBezTo>
                        <a:pt x="585" y="1802"/>
                        <a:pt x="593" y="1802"/>
                        <a:pt x="593" y="1794"/>
                      </a:cubicBezTo>
                      <a:cubicBezTo>
                        <a:pt x="601" y="1794"/>
                        <a:pt x="601" y="1787"/>
                        <a:pt x="609" y="1779"/>
                      </a:cubicBezTo>
                      <a:cubicBezTo>
                        <a:pt x="609" y="1771"/>
                        <a:pt x="617" y="1763"/>
                        <a:pt x="624" y="1763"/>
                      </a:cubicBezTo>
                      <a:lnTo>
                        <a:pt x="624" y="1763"/>
                      </a:lnTo>
                      <a:cubicBezTo>
                        <a:pt x="632" y="1763"/>
                        <a:pt x="640" y="1771"/>
                        <a:pt x="648" y="1779"/>
                      </a:cubicBezTo>
                      <a:cubicBezTo>
                        <a:pt x="648" y="1787"/>
                        <a:pt x="656" y="1787"/>
                        <a:pt x="656" y="1794"/>
                      </a:cubicBezTo>
                      <a:cubicBezTo>
                        <a:pt x="672" y="1802"/>
                        <a:pt x="680" y="1810"/>
                        <a:pt x="696" y="1810"/>
                      </a:cubicBezTo>
                      <a:cubicBezTo>
                        <a:pt x="696" y="1810"/>
                        <a:pt x="696" y="1810"/>
                        <a:pt x="703" y="1810"/>
                      </a:cubicBezTo>
                      <a:lnTo>
                        <a:pt x="712" y="1818"/>
                      </a:lnTo>
                      <a:lnTo>
                        <a:pt x="719" y="1826"/>
                      </a:lnTo>
                      <a:cubicBezTo>
                        <a:pt x="727" y="1826"/>
                        <a:pt x="727" y="1826"/>
                        <a:pt x="735" y="1818"/>
                      </a:cubicBezTo>
                      <a:cubicBezTo>
                        <a:pt x="743" y="1818"/>
                        <a:pt x="743" y="1818"/>
                        <a:pt x="751" y="1818"/>
                      </a:cubicBezTo>
                      <a:cubicBezTo>
                        <a:pt x="759" y="1818"/>
                        <a:pt x="767" y="1818"/>
                        <a:pt x="767" y="1810"/>
                      </a:cubicBezTo>
                      <a:lnTo>
                        <a:pt x="767" y="1802"/>
                      </a:lnTo>
                      <a:cubicBezTo>
                        <a:pt x="759" y="1779"/>
                        <a:pt x="790" y="1708"/>
                        <a:pt x="806" y="1684"/>
                      </a:cubicBezTo>
                      <a:cubicBezTo>
                        <a:pt x="814" y="1676"/>
                        <a:pt x="822" y="1676"/>
                        <a:pt x="822" y="1676"/>
                      </a:cubicBezTo>
                      <a:cubicBezTo>
                        <a:pt x="838" y="1676"/>
                        <a:pt x="854" y="1653"/>
                        <a:pt x="854" y="1637"/>
                      </a:cubicBezTo>
                      <a:cubicBezTo>
                        <a:pt x="854" y="1605"/>
                        <a:pt x="862" y="1589"/>
                        <a:pt x="877" y="1589"/>
                      </a:cubicBezTo>
                      <a:cubicBezTo>
                        <a:pt x="885" y="1589"/>
                        <a:pt x="885" y="1589"/>
                        <a:pt x="885" y="1589"/>
                      </a:cubicBezTo>
                      <a:cubicBezTo>
                        <a:pt x="893" y="1589"/>
                        <a:pt x="893" y="1589"/>
                        <a:pt x="901" y="1574"/>
                      </a:cubicBezTo>
                      <a:cubicBezTo>
                        <a:pt x="909" y="1566"/>
                        <a:pt x="917" y="1566"/>
                        <a:pt x="925" y="1558"/>
                      </a:cubicBezTo>
                      <a:cubicBezTo>
                        <a:pt x="933" y="1558"/>
                        <a:pt x="941" y="1550"/>
                        <a:pt x="933" y="1534"/>
                      </a:cubicBezTo>
                      <a:cubicBezTo>
                        <a:pt x="933" y="1526"/>
                        <a:pt x="925" y="1518"/>
                        <a:pt x="925" y="1518"/>
                      </a:cubicBezTo>
                      <a:cubicBezTo>
                        <a:pt x="917" y="1502"/>
                        <a:pt x="917" y="1502"/>
                        <a:pt x="917" y="1471"/>
                      </a:cubicBezTo>
                      <a:cubicBezTo>
                        <a:pt x="925" y="1447"/>
                        <a:pt x="941" y="1431"/>
                        <a:pt x="956" y="1431"/>
                      </a:cubicBezTo>
                      <a:cubicBezTo>
                        <a:pt x="964" y="1431"/>
                        <a:pt x="964" y="1431"/>
                        <a:pt x="972" y="1431"/>
                      </a:cubicBezTo>
                      <a:cubicBezTo>
                        <a:pt x="972" y="1439"/>
                        <a:pt x="972" y="1439"/>
                        <a:pt x="980" y="1439"/>
                      </a:cubicBezTo>
                      <a:cubicBezTo>
                        <a:pt x="988" y="1455"/>
                        <a:pt x="1004" y="1471"/>
                        <a:pt x="1012" y="1471"/>
                      </a:cubicBezTo>
                      <a:cubicBezTo>
                        <a:pt x="1012" y="1471"/>
                        <a:pt x="1020" y="1471"/>
                        <a:pt x="1020" y="1463"/>
                      </a:cubicBezTo>
                      <a:cubicBezTo>
                        <a:pt x="1028" y="1455"/>
                        <a:pt x="1028" y="1447"/>
                        <a:pt x="1028" y="1439"/>
                      </a:cubicBezTo>
                      <a:cubicBezTo>
                        <a:pt x="1028" y="1431"/>
                        <a:pt x="1020" y="1415"/>
                        <a:pt x="1051" y="1408"/>
                      </a:cubicBezTo>
                      <a:cubicBezTo>
                        <a:pt x="1067" y="1408"/>
                        <a:pt x="1083" y="1408"/>
                        <a:pt x="1099" y="1408"/>
                      </a:cubicBezTo>
                      <a:cubicBezTo>
                        <a:pt x="1115" y="1408"/>
                        <a:pt x="1123" y="1408"/>
                        <a:pt x="1123" y="1400"/>
                      </a:cubicBezTo>
                      <a:cubicBezTo>
                        <a:pt x="1130" y="1392"/>
                        <a:pt x="1130" y="1368"/>
                        <a:pt x="1123" y="1344"/>
                      </a:cubicBezTo>
                      <a:cubicBezTo>
                        <a:pt x="1115" y="1344"/>
                        <a:pt x="1115" y="1336"/>
                        <a:pt x="1115" y="1336"/>
                      </a:cubicBezTo>
                      <a:cubicBezTo>
                        <a:pt x="1099" y="1328"/>
                        <a:pt x="1099" y="1321"/>
                        <a:pt x="1099" y="1297"/>
                      </a:cubicBezTo>
                      <a:cubicBezTo>
                        <a:pt x="1107" y="1289"/>
                        <a:pt x="1107" y="1281"/>
                        <a:pt x="1107" y="1273"/>
                      </a:cubicBezTo>
                      <a:cubicBezTo>
                        <a:pt x="1107" y="1265"/>
                        <a:pt x="1115" y="1257"/>
                        <a:pt x="1115" y="1241"/>
                      </a:cubicBezTo>
                      <a:cubicBezTo>
                        <a:pt x="964" y="32"/>
                        <a:pt x="964" y="32"/>
                        <a:pt x="964" y="32"/>
                      </a:cubicBezTo>
                      <a:cubicBezTo>
                        <a:pt x="949" y="8"/>
                        <a:pt x="941" y="8"/>
                        <a:pt x="933" y="8"/>
                      </a:cubicBezTo>
                      <a:lnTo>
                        <a:pt x="933" y="8"/>
                      </a:lnTo>
                      <a:cubicBezTo>
                        <a:pt x="261" y="87"/>
                        <a:pt x="261" y="87"/>
                        <a:pt x="261" y="87"/>
                      </a:cubicBezTo>
                      <a:cubicBezTo>
                        <a:pt x="229" y="119"/>
                        <a:pt x="166" y="166"/>
                        <a:pt x="111" y="166"/>
                      </a:cubicBezTo>
                      <a:cubicBezTo>
                        <a:pt x="79" y="166"/>
                        <a:pt x="55" y="158"/>
                        <a:pt x="32" y="143"/>
                      </a:cubicBez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2" name="Freeform 785">
                  <a:extLst>
                    <a:ext uri="{FF2B5EF4-FFF2-40B4-BE49-F238E27FC236}">
                      <a16:creationId xmlns:a16="http://schemas.microsoft.com/office/drawing/2014/main" id="{04B7A4D6-3AC5-CF43-8D8B-75D9D19E2A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33282" y="5171051"/>
                  <a:ext cx="832630" cy="948597"/>
                </a:xfrm>
                <a:custGeom>
                  <a:avLst/>
                  <a:gdLst>
                    <a:gd name="T0" fmla="*/ 1550 w 1582"/>
                    <a:gd name="T1" fmla="*/ 720 h 1804"/>
                    <a:gd name="T2" fmla="*/ 1550 w 1582"/>
                    <a:gd name="T3" fmla="*/ 720 h 1804"/>
                    <a:gd name="T4" fmla="*/ 1542 w 1582"/>
                    <a:gd name="T5" fmla="*/ 648 h 1804"/>
                    <a:gd name="T6" fmla="*/ 1565 w 1582"/>
                    <a:gd name="T7" fmla="*/ 641 h 1804"/>
                    <a:gd name="T8" fmla="*/ 1447 w 1582"/>
                    <a:gd name="T9" fmla="*/ 0 h 1804"/>
                    <a:gd name="T10" fmla="*/ 1186 w 1582"/>
                    <a:gd name="T11" fmla="*/ 190 h 1804"/>
                    <a:gd name="T12" fmla="*/ 1052 w 1582"/>
                    <a:gd name="T13" fmla="*/ 309 h 1804"/>
                    <a:gd name="T14" fmla="*/ 925 w 1582"/>
                    <a:gd name="T15" fmla="*/ 332 h 1804"/>
                    <a:gd name="T16" fmla="*/ 791 w 1582"/>
                    <a:gd name="T17" fmla="*/ 380 h 1804"/>
                    <a:gd name="T18" fmla="*/ 728 w 1582"/>
                    <a:gd name="T19" fmla="*/ 364 h 1804"/>
                    <a:gd name="T20" fmla="*/ 672 w 1582"/>
                    <a:gd name="T21" fmla="*/ 388 h 1804"/>
                    <a:gd name="T22" fmla="*/ 657 w 1582"/>
                    <a:gd name="T23" fmla="*/ 364 h 1804"/>
                    <a:gd name="T24" fmla="*/ 712 w 1582"/>
                    <a:gd name="T25" fmla="*/ 348 h 1804"/>
                    <a:gd name="T26" fmla="*/ 672 w 1582"/>
                    <a:gd name="T27" fmla="*/ 332 h 1804"/>
                    <a:gd name="T28" fmla="*/ 641 w 1582"/>
                    <a:gd name="T29" fmla="*/ 340 h 1804"/>
                    <a:gd name="T30" fmla="*/ 577 w 1582"/>
                    <a:gd name="T31" fmla="*/ 317 h 1804"/>
                    <a:gd name="T32" fmla="*/ 506 w 1582"/>
                    <a:gd name="T33" fmla="*/ 285 h 1804"/>
                    <a:gd name="T34" fmla="*/ 459 w 1582"/>
                    <a:gd name="T35" fmla="*/ 261 h 1804"/>
                    <a:gd name="T36" fmla="*/ 0 w 1582"/>
                    <a:gd name="T37" fmla="*/ 356 h 1804"/>
                    <a:gd name="T38" fmla="*/ 0 w 1582"/>
                    <a:gd name="T39" fmla="*/ 356 h 1804"/>
                    <a:gd name="T40" fmla="*/ 151 w 1582"/>
                    <a:gd name="T41" fmla="*/ 1574 h 1804"/>
                    <a:gd name="T42" fmla="*/ 166 w 1582"/>
                    <a:gd name="T43" fmla="*/ 1558 h 1804"/>
                    <a:gd name="T44" fmla="*/ 253 w 1582"/>
                    <a:gd name="T45" fmla="*/ 1565 h 1804"/>
                    <a:gd name="T46" fmla="*/ 317 w 1582"/>
                    <a:gd name="T47" fmla="*/ 1574 h 1804"/>
                    <a:gd name="T48" fmla="*/ 364 w 1582"/>
                    <a:gd name="T49" fmla="*/ 1645 h 1804"/>
                    <a:gd name="T50" fmla="*/ 419 w 1582"/>
                    <a:gd name="T51" fmla="*/ 1700 h 1804"/>
                    <a:gd name="T52" fmla="*/ 530 w 1582"/>
                    <a:gd name="T53" fmla="*/ 1700 h 1804"/>
                    <a:gd name="T54" fmla="*/ 617 w 1582"/>
                    <a:gd name="T55" fmla="*/ 1755 h 1804"/>
                    <a:gd name="T56" fmla="*/ 664 w 1582"/>
                    <a:gd name="T57" fmla="*/ 1708 h 1804"/>
                    <a:gd name="T58" fmla="*/ 728 w 1582"/>
                    <a:gd name="T59" fmla="*/ 1732 h 1804"/>
                    <a:gd name="T60" fmla="*/ 759 w 1582"/>
                    <a:gd name="T61" fmla="*/ 1716 h 1804"/>
                    <a:gd name="T62" fmla="*/ 783 w 1582"/>
                    <a:gd name="T63" fmla="*/ 1708 h 1804"/>
                    <a:gd name="T64" fmla="*/ 807 w 1582"/>
                    <a:gd name="T65" fmla="*/ 1684 h 1804"/>
                    <a:gd name="T66" fmla="*/ 830 w 1582"/>
                    <a:gd name="T67" fmla="*/ 1676 h 1804"/>
                    <a:gd name="T68" fmla="*/ 854 w 1582"/>
                    <a:gd name="T69" fmla="*/ 1652 h 1804"/>
                    <a:gd name="T70" fmla="*/ 870 w 1582"/>
                    <a:gd name="T71" fmla="*/ 1668 h 1804"/>
                    <a:gd name="T72" fmla="*/ 870 w 1582"/>
                    <a:gd name="T73" fmla="*/ 1676 h 1804"/>
                    <a:gd name="T74" fmla="*/ 894 w 1582"/>
                    <a:gd name="T75" fmla="*/ 1700 h 1804"/>
                    <a:gd name="T76" fmla="*/ 910 w 1582"/>
                    <a:gd name="T77" fmla="*/ 1724 h 1804"/>
                    <a:gd name="T78" fmla="*/ 965 w 1582"/>
                    <a:gd name="T79" fmla="*/ 1747 h 1804"/>
                    <a:gd name="T80" fmla="*/ 981 w 1582"/>
                    <a:gd name="T81" fmla="*/ 1771 h 1804"/>
                    <a:gd name="T82" fmla="*/ 1012 w 1582"/>
                    <a:gd name="T83" fmla="*/ 1803 h 1804"/>
                    <a:gd name="T84" fmla="*/ 1060 w 1582"/>
                    <a:gd name="T85" fmla="*/ 1787 h 1804"/>
                    <a:gd name="T86" fmla="*/ 1083 w 1582"/>
                    <a:gd name="T87" fmla="*/ 1739 h 1804"/>
                    <a:gd name="T88" fmla="*/ 1123 w 1582"/>
                    <a:gd name="T89" fmla="*/ 1708 h 1804"/>
                    <a:gd name="T90" fmla="*/ 1123 w 1582"/>
                    <a:gd name="T91" fmla="*/ 1637 h 1804"/>
                    <a:gd name="T92" fmla="*/ 1123 w 1582"/>
                    <a:gd name="T93" fmla="*/ 1550 h 1804"/>
                    <a:gd name="T94" fmla="*/ 1163 w 1582"/>
                    <a:gd name="T95" fmla="*/ 1479 h 1804"/>
                    <a:gd name="T96" fmla="*/ 1226 w 1582"/>
                    <a:gd name="T97" fmla="*/ 1510 h 1804"/>
                    <a:gd name="T98" fmla="*/ 1218 w 1582"/>
                    <a:gd name="T99" fmla="*/ 1376 h 1804"/>
                    <a:gd name="T100" fmla="*/ 1281 w 1582"/>
                    <a:gd name="T101" fmla="*/ 1328 h 1804"/>
                    <a:gd name="T102" fmla="*/ 1305 w 1582"/>
                    <a:gd name="T103" fmla="*/ 1257 h 1804"/>
                    <a:gd name="T104" fmla="*/ 1360 w 1582"/>
                    <a:gd name="T105" fmla="*/ 1265 h 1804"/>
                    <a:gd name="T106" fmla="*/ 1423 w 1582"/>
                    <a:gd name="T107" fmla="*/ 1257 h 1804"/>
                    <a:gd name="T108" fmla="*/ 1502 w 1582"/>
                    <a:gd name="T109" fmla="*/ 1154 h 1804"/>
                    <a:gd name="T110" fmla="*/ 1510 w 1582"/>
                    <a:gd name="T111" fmla="*/ 1012 h 1804"/>
                    <a:gd name="T112" fmla="*/ 1550 w 1582"/>
                    <a:gd name="T113" fmla="*/ 957 h 1804"/>
                    <a:gd name="T114" fmla="*/ 1550 w 1582"/>
                    <a:gd name="T115" fmla="*/ 830 h 1804"/>
                    <a:gd name="T116" fmla="*/ 1565 w 1582"/>
                    <a:gd name="T117" fmla="*/ 799 h 1804"/>
                    <a:gd name="T118" fmla="*/ 1550 w 1582"/>
                    <a:gd name="T119" fmla="*/ 720 h 1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82" h="1804">
                      <a:moveTo>
                        <a:pt x="1550" y="720"/>
                      </a:moveTo>
                      <a:lnTo>
                        <a:pt x="1550" y="720"/>
                      </a:lnTo>
                      <a:cubicBezTo>
                        <a:pt x="1550" y="696"/>
                        <a:pt x="1542" y="664"/>
                        <a:pt x="1542" y="648"/>
                      </a:cubicBezTo>
                      <a:cubicBezTo>
                        <a:pt x="1534" y="641"/>
                        <a:pt x="1550" y="633"/>
                        <a:pt x="1565" y="641"/>
                      </a:cubicBezTo>
                      <a:cubicBezTo>
                        <a:pt x="1447" y="0"/>
                        <a:pt x="1447" y="0"/>
                        <a:pt x="1447" y="0"/>
                      </a:cubicBezTo>
                      <a:cubicBezTo>
                        <a:pt x="1352" y="56"/>
                        <a:pt x="1210" y="151"/>
                        <a:pt x="1186" y="190"/>
                      </a:cubicBezTo>
                      <a:cubicBezTo>
                        <a:pt x="1154" y="230"/>
                        <a:pt x="1083" y="309"/>
                        <a:pt x="1052" y="309"/>
                      </a:cubicBezTo>
                      <a:cubicBezTo>
                        <a:pt x="1012" y="309"/>
                        <a:pt x="949" y="309"/>
                        <a:pt x="925" y="332"/>
                      </a:cubicBezTo>
                      <a:cubicBezTo>
                        <a:pt x="910" y="356"/>
                        <a:pt x="807" y="395"/>
                        <a:pt x="791" y="380"/>
                      </a:cubicBezTo>
                      <a:cubicBezTo>
                        <a:pt x="767" y="364"/>
                        <a:pt x="728" y="356"/>
                        <a:pt x="728" y="364"/>
                      </a:cubicBezTo>
                      <a:cubicBezTo>
                        <a:pt x="720" y="372"/>
                        <a:pt x="688" y="380"/>
                        <a:pt x="672" y="388"/>
                      </a:cubicBezTo>
                      <a:cubicBezTo>
                        <a:pt x="657" y="395"/>
                        <a:pt x="648" y="372"/>
                        <a:pt x="657" y="364"/>
                      </a:cubicBezTo>
                      <a:cubicBezTo>
                        <a:pt x="672" y="356"/>
                        <a:pt x="712" y="364"/>
                        <a:pt x="712" y="348"/>
                      </a:cubicBezTo>
                      <a:cubicBezTo>
                        <a:pt x="704" y="332"/>
                        <a:pt x="696" y="324"/>
                        <a:pt x="672" y="332"/>
                      </a:cubicBezTo>
                      <a:cubicBezTo>
                        <a:pt x="648" y="348"/>
                        <a:pt x="657" y="364"/>
                        <a:pt x="641" y="340"/>
                      </a:cubicBezTo>
                      <a:cubicBezTo>
                        <a:pt x="625" y="324"/>
                        <a:pt x="617" y="332"/>
                        <a:pt x="577" y="317"/>
                      </a:cubicBezTo>
                      <a:cubicBezTo>
                        <a:pt x="538" y="301"/>
                        <a:pt x="538" y="309"/>
                        <a:pt x="506" y="285"/>
                      </a:cubicBezTo>
                      <a:cubicBezTo>
                        <a:pt x="483" y="277"/>
                        <a:pt x="459" y="285"/>
                        <a:pt x="459" y="261"/>
                      </a:cubicBezTo>
                      <a:cubicBezTo>
                        <a:pt x="332" y="301"/>
                        <a:pt x="16" y="380"/>
                        <a:pt x="0" y="356"/>
                      </a:cubicBezTo>
                      <a:lnTo>
                        <a:pt x="0" y="356"/>
                      </a:lnTo>
                      <a:cubicBezTo>
                        <a:pt x="151" y="1574"/>
                        <a:pt x="151" y="1574"/>
                        <a:pt x="151" y="1574"/>
                      </a:cubicBezTo>
                      <a:cubicBezTo>
                        <a:pt x="151" y="1558"/>
                        <a:pt x="158" y="1558"/>
                        <a:pt x="166" y="1558"/>
                      </a:cubicBezTo>
                      <a:cubicBezTo>
                        <a:pt x="198" y="1558"/>
                        <a:pt x="222" y="1558"/>
                        <a:pt x="253" y="1565"/>
                      </a:cubicBezTo>
                      <a:cubicBezTo>
                        <a:pt x="285" y="1574"/>
                        <a:pt x="293" y="1542"/>
                        <a:pt x="317" y="1574"/>
                      </a:cubicBezTo>
                      <a:cubicBezTo>
                        <a:pt x="340" y="1613"/>
                        <a:pt x="340" y="1629"/>
                        <a:pt x="364" y="1645"/>
                      </a:cubicBezTo>
                      <a:cubicBezTo>
                        <a:pt x="388" y="1660"/>
                        <a:pt x="372" y="1700"/>
                        <a:pt x="419" y="1700"/>
                      </a:cubicBezTo>
                      <a:cubicBezTo>
                        <a:pt x="467" y="1708"/>
                        <a:pt x="514" y="1684"/>
                        <a:pt x="530" y="1700"/>
                      </a:cubicBezTo>
                      <a:cubicBezTo>
                        <a:pt x="546" y="1724"/>
                        <a:pt x="593" y="1763"/>
                        <a:pt x="617" y="1755"/>
                      </a:cubicBezTo>
                      <a:cubicBezTo>
                        <a:pt x="641" y="1747"/>
                        <a:pt x="633" y="1700"/>
                        <a:pt x="664" y="1708"/>
                      </a:cubicBezTo>
                      <a:cubicBezTo>
                        <a:pt x="696" y="1716"/>
                        <a:pt x="704" y="1732"/>
                        <a:pt x="728" y="1732"/>
                      </a:cubicBezTo>
                      <a:cubicBezTo>
                        <a:pt x="743" y="1732"/>
                        <a:pt x="751" y="1724"/>
                        <a:pt x="759" y="1716"/>
                      </a:cubicBezTo>
                      <a:cubicBezTo>
                        <a:pt x="759" y="1700"/>
                        <a:pt x="775" y="1700"/>
                        <a:pt x="783" y="1708"/>
                      </a:cubicBezTo>
                      <a:cubicBezTo>
                        <a:pt x="791" y="1708"/>
                        <a:pt x="799" y="1692"/>
                        <a:pt x="807" y="1684"/>
                      </a:cubicBezTo>
                      <a:lnTo>
                        <a:pt x="830" y="1676"/>
                      </a:lnTo>
                      <a:cubicBezTo>
                        <a:pt x="854" y="1652"/>
                        <a:pt x="854" y="1652"/>
                        <a:pt x="854" y="1652"/>
                      </a:cubicBezTo>
                      <a:cubicBezTo>
                        <a:pt x="870" y="1668"/>
                        <a:pt x="870" y="1668"/>
                        <a:pt x="870" y="1668"/>
                      </a:cubicBezTo>
                      <a:cubicBezTo>
                        <a:pt x="870" y="1668"/>
                        <a:pt x="870" y="1668"/>
                        <a:pt x="870" y="1676"/>
                      </a:cubicBezTo>
                      <a:cubicBezTo>
                        <a:pt x="878" y="1692"/>
                        <a:pt x="886" y="1700"/>
                        <a:pt x="894" y="1700"/>
                      </a:cubicBezTo>
                      <a:cubicBezTo>
                        <a:pt x="910" y="1708"/>
                        <a:pt x="901" y="1708"/>
                        <a:pt x="910" y="1724"/>
                      </a:cubicBezTo>
                      <a:cubicBezTo>
                        <a:pt x="925" y="1732"/>
                        <a:pt x="949" y="1739"/>
                        <a:pt x="965" y="1747"/>
                      </a:cubicBezTo>
                      <a:cubicBezTo>
                        <a:pt x="981" y="1747"/>
                        <a:pt x="981" y="1763"/>
                        <a:pt x="981" y="1771"/>
                      </a:cubicBezTo>
                      <a:cubicBezTo>
                        <a:pt x="988" y="1779"/>
                        <a:pt x="1004" y="1795"/>
                        <a:pt x="1012" y="1803"/>
                      </a:cubicBezTo>
                      <a:cubicBezTo>
                        <a:pt x="1028" y="1795"/>
                        <a:pt x="1044" y="1795"/>
                        <a:pt x="1060" y="1787"/>
                      </a:cubicBezTo>
                      <a:cubicBezTo>
                        <a:pt x="1091" y="1787"/>
                        <a:pt x="1083" y="1779"/>
                        <a:pt x="1083" y="1739"/>
                      </a:cubicBezTo>
                      <a:cubicBezTo>
                        <a:pt x="1083" y="1708"/>
                        <a:pt x="1099" y="1716"/>
                        <a:pt x="1123" y="1708"/>
                      </a:cubicBezTo>
                      <a:cubicBezTo>
                        <a:pt x="1139" y="1700"/>
                        <a:pt x="1131" y="1660"/>
                        <a:pt x="1123" y="1637"/>
                      </a:cubicBezTo>
                      <a:cubicBezTo>
                        <a:pt x="1107" y="1613"/>
                        <a:pt x="1131" y="1581"/>
                        <a:pt x="1123" y="1550"/>
                      </a:cubicBezTo>
                      <a:cubicBezTo>
                        <a:pt x="1123" y="1526"/>
                        <a:pt x="1147" y="1487"/>
                        <a:pt x="1163" y="1479"/>
                      </a:cubicBezTo>
                      <a:cubicBezTo>
                        <a:pt x="1170" y="1463"/>
                        <a:pt x="1202" y="1494"/>
                        <a:pt x="1226" y="1510"/>
                      </a:cubicBezTo>
                      <a:cubicBezTo>
                        <a:pt x="1241" y="1526"/>
                        <a:pt x="1226" y="1415"/>
                        <a:pt x="1218" y="1376"/>
                      </a:cubicBezTo>
                      <a:cubicBezTo>
                        <a:pt x="1210" y="1344"/>
                        <a:pt x="1257" y="1336"/>
                        <a:pt x="1281" y="1328"/>
                      </a:cubicBezTo>
                      <a:cubicBezTo>
                        <a:pt x="1305" y="1321"/>
                        <a:pt x="1297" y="1289"/>
                        <a:pt x="1305" y="1257"/>
                      </a:cubicBezTo>
                      <a:cubicBezTo>
                        <a:pt x="1313" y="1226"/>
                        <a:pt x="1336" y="1249"/>
                        <a:pt x="1360" y="1265"/>
                      </a:cubicBezTo>
                      <a:cubicBezTo>
                        <a:pt x="1392" y="1281"/>
                        <a:pt x="1392" y="1265"/>
                        <a:pt x="1423" y="1257"/>
                      </a:cubicBezTo>
                      <a:cubicBezTo>
                        <a:pt x="1447" y="1257"/>
                        <a:pt x="1487" y="1186"/>
                        <a:pt x="1502" y="1154"/>
                      </a:cubicBezTo>
                      <a:cubicBezTo>
                        <a:pt x="1526" y="1131"/>
                        <a:pt x="1518" y="1068"/>
                        <a:pt x="1510" y="1012"/>
                      </a:cubicBezTo>
                      <a:cubicBezTo>
                        <a:pt x="1510" y="949"/>
                        <a:pt x="1542" y="973"/>
                        <a:pt x="1550" y="957"/>
                      </a:cubicBezTo>
                      <a:cubicBezTo>
                        <a:pt x="1565" y="949"/>
                        <a:pt x="1550" y="870"/>
                        <a:pt x="1550" y="830"/>
                      </a:cubicBezTo>
                      <a:cubicBezTo>
                        <a:pt x="1542" y="791"/>
                        <a:pt x="1550" y="807"/>
                        <a:pt x="1565" y="799"/>
                      </a:cubicBezTo>
                      <a:cubicBezTo>
                        <a:pt x="1581" y="791"/>
                        <a:pt x="1558" y="751"/>
                        <a:pt x="1550" y="720"/>
                      </a:cubicBezTo>
                    </a:path>
                  </a:pathLst>
                </a:custGeom>
                <a:solidFill>
                  <a:srgbClr val="44546A">
                    <a:lumMod val="75000"/>
                  </a:srgbClr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73" name="Freeform 786">
                  <a:extLst>
                    <a:ext uri="{FF2B5EF4-FFF2-40B4-BE49-F238E27FC236}">
                      <a16:creationId xmlns:a16="http://schemas.microsoft.com/office/drawing/2014/main" id="{4459399F-60CF-8749-969A-AD02559BBB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28644" y="5166412"/>
                  <a:ext cx="837269" cy="953235"/>
                </a:xfrm>
                <a:custGeom>
                  <a:avLst/>
                  <a:gdLst>
                    <a:gd name="T0" fmla="*/ 989 w 1590"/>
                    <a:gd name="T1" fmla="*/ 1787 h 1812"/>
                    <a:gd name="T2" fmla="*/ 909 w 1590"/>
                    <a:gd name="T3" fmla="*/ 1716 h 1812"/>
                    <a:gd name="T4" fmla="*/ 862 w 1590"/>
                    <a:gd name="T5" fmla="*/ 1668 h 1812"/>
                    <a:gd name="T6" fmla="*/ 783 w 1590"/>
                    <a:gd name="T7" fmla="*/ 1716 h 1812"/>
                    <a:gd name="T8" fmla="*/ 672 w 1590"/>
                    <a:gd name="T9" fmla="*/ 1716 h 1812"/>
                    <a:gd name="T10" fmla="*/ 617 w 1590"/>
                    <a:gd name="T11" fmla="*/ 1763 h 1812"/>
                    <a:gd name="T12" fmla="*/ 443 w 1590"/>
                    <a:gd name="T13" fmla="*/ 1716 h 1812"/>
                    <a:gd name="T14" fmla="*/ 340 w 1590"/>
                    <a:gd name="T15" fmla="*/ 1613 h 1812"/>
                    <a:gd name="T16" fmla="*/ 269 w 1590"/>
                    <a:gd name="T17" fmla="*/ 1582 h 1812"/>
                    <a:gd name="T18" fmla="*/ 159 w 1590"/>
                    <a:gd name="T19" fmla="*/ 1582 h 1812"/>
                    <a:gd name="T20" fmla="*/ 8 w 1590"/>
                    <a:gd name="T21" fmla="*/ 356 h 1812"/>
                    <a:gd name="T22" fmla="*/ 475 w 1590"/>
                    <a:gd name="T23" fmla="*/ 269 h 1812"/>
                    <a:gd name="T24" fmla="*/ 554 w 1590"/>
                    <a:gd name="T25" fmla="*/ 309 h 1812"/>
                    <a:gd name="T26" fmla="*/ 656 w 1590"/>
                    <a:gd name="T27" fmla="*/ 356 h 1812"/>
                    <a:gd name="T28" fmla="*/ 720 w 1590"/>
                    <a:gd name="T29" fmla="*/ 356 h 1812"/>
                    <a:gd name="T30" fmla="*/ 665 w 1590"/>
                    <a:gd name="T31" fmla="*/ 388 h 1812"/>
                    <a:gd name="T32" fmla="*/ 728 w 1590"/>
                    <a:gd name="T33" fmla="*/ 372 h 1812"/>
                    <a:gd name="T34" fmla="*/ 933 w 1590"/>
                    <a:gd name="T35" fmla="*/ 340 h 1812"/>
                    <a:gd name="T36" fmla="*/ 1463 w 1590"/>
                    <a:gd name="T37" fmla="*/ 0 h 1812"/>
                    <a:gd name="T38" fmla="*/ 1566 w 1590"/>
                    <a:gd name="T39" fmla="*/ 649 h 1812"/>
                    <a:gd name="T40" fmla="*/ 1566 w 1590"/>
                    <a:gd name="T41" fmla="*/ 728 h 1812"/>
                    <a:gd name="T42" fmla="*/ 1558 w 1590"/>
                    <a:gd name="T43" fmla="*/ 838 h 1812"/>
                    <a:gd name="T44" fmla="*/ 1526 w 1590"/>
                    <a:gd name="T45" fmla="*/ 1020 h 1812"/>
                    <a:gd name="T46" fmla="*/ 1408 w 1590"/>
                    <a:gd name="T47" fmla="*/ 1281 h 1812"/>
                    <a:gd name="T48" fmla="*/ 1329 w 1590"/>
                    <a:gd name="T49" fmla="*/ 1249 h 1812"/>
                    <a:gd name="T50" fmla="*/ 1273 w 1590"/>
                    <a:gd name="T51" fmla="*/ 1344 h 1812"/>
                    <a:gd name="T52" fmla="*/ 1234 w 1590"/>
                    <a:gd name="T53" fmla="*/ 1518 h 1812"/>
                    <a:gd name="T54" fmla="*/ 1131 w 1590"/>
                    <a:gd name="T55" fmla="*/ 1597 h 1812"/>
                    <a:gd name="T56" fmla="*/ 1115 w 1590"/>
                    <a:gd name="T57" fmla="*/ 1724 h 1812"/>
                    <a:gd name="T58" fmla="*/ 1020 w 1590"/>
                    <a:gd name="T59" fmla="*/ 1811 h 1812"/>
                    <a:gd name="T60" fmla="*/ 878 w 1590"/>
                    <a:gd name="T61" fmla="*/ 1676 h 1812"/>
                    <a:gd name="T62" fmla="*/ 925 w 1590"/>
                    <a:gd name="T63" fmla="*/ 1732 h 1812"/>
                    <a:gd name="T64" fmla="*/ 1020 w 1590"/>
                    <a:gd name="T65" fmla="*/ 1803 h 1812"/>
                    <a:gd name="T66" fmla="*/ 1115 w 1590"/>
                    <a:gd name="T67" fmla="*/ 1716 h 1812"/>
                    <a:gd name="T68" fmla="*/ 1123 w 1590"/>
                    <a:gd name="T69" fmla="*/ 1597 h 1812"/>
                    <a:gd name="T70" fmla="*/ 1210 w 1590"/>
                    <a:gd name="T71" fmla="*/ 1502 h 1812"/>
                    <a:gd name="T72" fmla="*/ 1273 w 1590"/>
                    <a:gd name="T73" fmla="*/ 1336 h 1812"/>
                    <a:gd name="T74" fmla="*/ 1329 w 1590"/>
                    <a:gd name="T75" fmla="*/ 1242 h 1812"/>
                    <a:gd name="T76" fmla="*/ 1408 w 1590"/>
                    <a:gd name="T77" fmla="*/ 1273 h 1812"/>
                    <a:gd name="T78" fmla="*/ 1518 w 1590"/>
                    <a:gd name="T79" fmla="*/ 1020 h 1812"/>
                    <a:gd name="T80" fmla="*/ 1550 w 1590"/>
                    <a:gd name="T81" fmla="*/ 838 h 1812"/>
                    <a:gd name="T82" fmla="*/ 1558 w 1590"/>
                    <a:gd name="T83" fmla="*/ 728 h 1812"/>
                    <a:gd name="T84" fmla="*/ 1566 w 1590"/>
                    <a:gd name="T85" fmla="*/ 641 h 1812"/>
                    <a:gd name="T86" fmla="*/ 1060 w 1590"/>
                    <a:gd name="T87" fmla="*/ 325 h 1812"/>
                    <a:gd name="T88" fmla="*/ 743 w 1590"/>
                    <a:gd name="T89" fmla="*/ 372 h 1812"/>
                    <a:gd name="T90" fmla="*/ 672 w 1590"/>
                    <a:gd name="T91" fmla="*/ 403 h 1812"/>
                    <a:gd name="T92" fmla="*/ 712 w 1590"/>
                    <a:gd name="T93" fmla="*/ 356 h 1812"/>
                    <a:gd name="T94" fmla="*/ 665 w 1590"/>
                    <a:gd name="T95" fmla="*/ 356 h 1812"/>
                    <a:gd name="T96" fmla="*/ 585 w 1590"/>
                    <a:gd name="T97" fmla="*/ 325 h 1812"/>
                    <a:gd name="T98" fmla="*/ 467 w 1590"/>
                    <a:gd name="T99" fmla="*/ 277 h 1812"/>
                    <a:gd name="T100" fmla="*/ 174 w 1590"/>
                    <a:gd name="T101" fmla="*/ 1558 h 1812"/>
                    <a:gd name="T102" fmla="*/ 285 w 1590"/>
                    <a:gd name="T103" fmla="*/ 1566 h 1812"/>
                    <a:gd name="T104" fmla="*/ 372 w 1590"/>
                    <a:gd name="T105" fmla="*/ 1653 h 1812"/>
                    <a:gd name="T106" fmla="*/ 483 w 1590"/>
                    <a:gd name="T107" fmla="*/ 1700 h 1812"/>
                    <a:gd name="T108" fmla="*/ 625 w 1590"/>
                    <a:gd name="T109" fmla="*/ 1755 h 1812"/>
                    <a:gd name="T110" fmla="*/ 712 w 1590"/>
                    <a:gd name="T111" fmla="*/ 1724 h 1812"/>
                    <a:gd name="T112" fmla="*/ 791 w 1590"/>
                    <a:gd name="T113" fmla="*/ 1708 h 18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90" h="1812">
                      <a:moveTo>
                        <a:pt x="1020" y="1811"/>
                      </a:moveTo>
                      <a:lnTo>
                        <a:pt x="1020" y="1811"/>
                      </a:lnTo>
                      <a:lnTo>
                        <a:pt x="1020" y="1811"/>
                      </a:lnTo>
                      <a:cubicBezTo>
                        <a:pt x="1004" y="1803"/>
                        <a:pt x="989" y="1787"/>
                        <a:pt x="989" y="1787"/>
                      </a:cubicBezTo>
                      <a:cubicBezTo>
                        <a:pt x="989" y="1779"/>
                        <a:pt x="989" y="1779"/>
                        <a:pt x="981" y="1771"/>
                      </a:cubicBezTo>
                      <a:cubicBezTo>
                        <a:pt x="981" y="1763"/>
                        <a:pt x="981" y="1755"/>
                        <a:pt x="973" y="1755"/>
                      </a:cubicBezTo>
                      <a:cubicBezTo>
                        <a:pt x="941" y="1747"/>
                        <a:pt x="925" y="1740"/>
                        <a:pt x="918" y="1732"/>
                      </a:cubicBezTo>
                      <a:cubicBezTo>
                        <a:pt x="909" y="1724"/>
                        <a:pt x="909" y="1724"/>
                        <a:pt x="909" y="1716"/>
                      </a:cubicBezTo>
                      <a:cubicBezTo>
                        <a:pt x="909" y="1716"/>
                        <a:pt x="909" y="1716"/>
                        <a:pt x="902" y="1716"/>
                      </a:cubicBezTo>
                      <a:cubicBezTo>
                        <a:pt x="894" y="1708"/>
                        <a:pt x="878" y="1700"/>
                        <a:pt x="878" y="1692"/>
                      </a:cubicBezTo>
                      <a:cubicBezTo>
                        <a:pt x="870" y="1684"/>
                        <a:pt x="870" y="1676"/>
                        <a:pt x="870" y="1676"/>
                      </a:cubicBezTo>
                      <a:cubicBezTo>
                        <a:pt x="862" y="1668"/>
                        <a:pt x="862" y="1668"/>
                        <a:pt x="862" y="1668"/>
                      </a:cubicBezTo>
                      <a:cubicBezTo>
                        <a:pt x="838" y="1684"/>
                        <a:pt x="838" y="1684"/>
                        <a:pt x="838" y="1684"/>
                      </a:cubicBezTo>
                      <a:cubicBezTo>
                        <a:pt x="831" y="1692"/>
                        <a:pt x="815" y="1692"/>
                        <a:pt x="815" y="1700"/>
                      </a:cubicBezTo>
                      <a:cubicBezTo>
                        <a:pt x="807" y="1716"/>
                        <a:pt x="799" y="1716"/>
                        <a:pt x="791" y="1716"/>
                      </a:cubicBezTo>
                      <a:lnTo>
                        <a:pt x="783" y="1716"/>
                      </a:lnTo>
                      <a:cubicBezTo>
                        <a:pt x="775" y="1716"/>
                        <a:pt x="767" y="1716"/>
                        <a:pt x="767" y="1724"/>
                      </a:cubicBezTo>
                      <a:cubicBezTo>
                        <a:pt x="767" y="1732"/>
                        <a:pt x="751" y="1740"/>
                        <a:pt x="736" y="1740"/>
                      </a:cubicBezTo>
                      <a:cubicBezTo>
                        <a:pt x="720" y="1740"/>
                        <a:pt x="712" y="1740"/>
                        <a:pt x="704" y="1732"/>
                      </a:cubicBezTo>
                      <a:cubicBezTo>
                        <a:pt x="696" y="1732"/>
                        <a:pt x="688" y="1724"/>
                        <a:pt x="672" y="1716"/>
                      </a:cubicBezTo>
                      <a:lnTo>
                        <a:pt x="665" y="1716"/>
                      </a:lnTo>
                      <a:cubicBezTo>
                        <a:pt x="656" y="1716"/>
                        <a:pt x="656" y="1724"/>
                        <a:pt x="649" y="1740"/>
                      </a:cubicBezTo>
                      <a:cubicBezTo>
                        <a:pt x="641" y="1747"/>
                        <a:pt x="641" y="1763"/>
                        <a:pt x="625" y="1763"/>
                      </a:cubicBezTo>
                      <a:cubicBezTo>
                        <a:pt x="625" y="1763"/>
                        <a:pt x="625" y="1763"/>
                        <a:pt x="617" y="1763"/>
                      </a:cubicBezTo>
                      <a:cubicBezTo>
                        <a:pt x="593" y="1763"/>
                        <a:pt x="546" y="1732"/>
                        <a:pt x="538" y="1708"/>
                      </a:cubicBezTo>
                      <a:cubicBezTo>
                        <a:pt x="530" y="1708"/>
                        <a:pt x="522" y="1708"/>
                        <a:pt x="514" y="1708"/>
                      </a:cubicBezTo>
                      <a:cubicBezTo>
                        <a:pt x="506" y="1708"/>
                        <a:pt x="498" y="1708"/>
                        <a:pt x="491" y="1708"/>
                      </a:cubicBezTo>
                      <a:cubicBezTo>
                        <a:pt x="475" y="1716"/>
                        <a:pt x="459" y="1716"/>
                        <a:pt x="443" y="1716"/>
                      </a:cubicBezTo>
                      <a:cubicBezTo>
                        <a:pt x="435" y="1716"/>
                        <a:pt x="427" y="1716"/>
                        <a:pt x="427" y="1716"/>
                      </a:cubicBezTo>
                      <a:cubicBezTo>
                        <a:pt x="396" y="1708"/>
                        <a:pt x="388" y="1692"/>
                        <a:pt x="380" y="1676"/>
                      </a:cubicBezTo>
                      <a:cubicBezTo>
                        <a:pt x="380" y="1668"/>
                        <a:pt x="380" y="1660"/>
                        <a:pt x="372" y="1653"/>
                      </a:cubicBezTo>
                      <a:cubicBezTo>
                        <a:pt x="356" y="1645"/>
                        <a:pt x="348" y="1637"/>
                        <a:pt x="340" y="1613"/>
                      </a:cubicBezTo>
                      <a:cubicBezTo>
                        <a:pt x="332" y="1605"/>
                        <a:pt x="325" y="1597"/>
                        <a:pt x="317" y="1582"/>
                      </a:cubicBezTo>
                      <a:cubicBezTo>
                        <a:pt x="309" y="1573"/>
                        <a:pt x="301" y="1573"/>
                        <a:pt x="301" y="1573"/>
                      </a:cubicBezTo>
                      <a:lnTo>
                        <a:pt x="293" y="1573"/>
                      </a:lnTo>
                      <a:cubicBezTo>
                        <a:pt x="285" y="1573"/>
                        <a:pt x="277" y="1582"/>
                        <a:pt x="269" y="1582"/>
                      </a:cubicBezTo>
                      <a:lnTo>
                        <a:pt x="261" y="1582"/>
                      </a:lnTo>
                      <a:cubicBezTo>
                        <a:pt x="230" y="1573"/>
                        <a:pt x="206" y="1566"/>
                        <a:pt x="174" y="1566"/>
                      </a:cubicBezTo>
                      <a:lnTo>
                        <a:pt x="174" y="1566"/>
                      </a:lnTo>
                      <a:cubicBezTo>
                        <a:pt x="166" y="1566"/>
                        <a:pt x="159" y="1573"/>
                        <a:pt x="159" y="1582"/>
                      </a:cubicBezTo>
                      <a:cubicBezTo>
                        <a:pt x="151" y="1589"/>
                        <a:pt x="151" y="1589"/>
                        <a:pt x="151" y="1589"/>
                      </a:cubicBezTo>
                      <a:cubicBezTo>
                        <a:pt x="0" y="348"/>
                        <a:pt x="0" y="348"/>
                        <a:pt x="0" y="348"/>
                      </a:cubicBezTo>
                      <a:cubicBezTo>
                        <a:pt x="8" y="356"/>
                        <a:pt x="8" y="356"/>
                        <a:pt x="8" y="356"/>
                      </a:cubicBezTo>
                      <a:lnTo>
                        <a:pt x="8" y="356"/>
                      </a:lnTo>
                      <a:cubicBezTo>
                        <a:pt x="8" y="364"/>
                        <a:pt x="8" y="364"/>
                        <a:pt x="8" y="364"/>
                      </a:cubicBezTo>
                      <a:cubicBezTo>
                        <a:pt x="8" y="364"/>
                        <a:pt x="16" y="364"/>
                        <a:pt x="24" y="364"/>
                      </a:cubicBezTo>
                      <a:cubicBezTo>
                        <a:pt x="103" y="364"/>
                        <a:pt x="356" y="301"/>
                        <a:pt x="467" y="269"/>
                      </a:cubicBezTo>
                      <a:cubicBezTo>
                        <a:pt x="475" y="269"/>
                        <a:pt x="475" y="269"/>
                        <a:pt x="475" y="269"/>
                      </a:cubicBezTo>
                      <a:cubicBezTo>
                        <a:pt x="475" y="277"/>
                        <a:pt x="475" y="277"/>
                        <a:pt x="475" y="277"/>
                      </a:cubicBezTo>
                      <a:cubicBezTo>
                        <a:pt x="467" y="277"/>
                        <a:pt x="475" y="277"/>
                        <a:pt x="491" y="285"/>
                      </a:cubicBezTo>
                      <a:cubicBezTo>
                        <a:pt x="498" y="285"/>
                        <a:pt x="506" y="285"/>
                        <a:pt x="522" y="293"/>
                      </a:cubicBezTo>
                      <a:cubicBezTo>
                        <a:pt x="538" y="301"/>
                        <a:pt x="546" y="301"/>
                        <a:pt x="554" y="309"/>
                      </a:cubicBezTo>
                      <a:cubicBezTo>
                        <a:pt x="562" y="309"/>
                        <a:pt x="570" y="309"/>
                        <a:pt x="585" y="317"/>
                      </a:cubicBezTo>
                      <a:cubicBezTo>
                        <a:pt x="601" y="325"/>
                        <a:pt x="609" y="325"/>
                        <a:pt x="617" y="325"/>
                      </a:cubicBezTo>
                      <a:cubicBezTo>
                        <a:pt x="633" y="332"/>
                        <a:pt x="641" y="332"/>
                        <a:pt x="649" y="348"/>
                      </a:cubicBezTo>
                      <a:cubicBezTo>
                        <a:pt x="656" y="356"/>
                        <a:pt x="656" y="356"/>
                        <a:pt x="656" y="356"/>
                      </a:cubicBezTo>
                      <a:cubicBezTo>
                        <a:pt x="656" y="356"/>
                        <a:pt x="656" y="356"/>
                        <a:pt x="665" y="348"/>
                      </a:cubicBezTo>
                      <a:cubicBezTo>
                        <a:pt x="665" y="348"/>
                        <a:pt x="672" y="340"/>
                        <a:pt x="680" y="340"/>
                      </a:cubicBezTo>
                      <a:cubicBezTo>
                        <a:pt x="688" y="332"/>
                        <a:pt x="688" y="332"/>
                        <a:pt x="696" y="332"/>
                      </a:cubicBezTo>
                      <a:cubicBezTo>
                        <a:pt x="712" y="332"/>
                        <a:pt x="712" y="340"/>
                        <a:pt x="720" y="356"/>
                      </a:cubicBezTo>
                      <a:lnTo>
                        <a:pt x="720" y="364"/>
                      </a:lnTo>
                      <a:cubicBezTo>
                        <a:pt x="712" y="372"/>
                        <a:pt x="704" y="372"/>
                        <a:pt x="688" y="372"/>
                      </a:cubicBezTo>
                      <a:cubicBezTo>
                        <a:pt x="680" y="372"/>
                        <a:pt x="672" y="372"/>
                        <a:pt x="672" y="380"/>
                      </a:cubicBezTo>
                      <a:cubicBezTo>
                        <a:pt x="665" y="380"/>
                        <a:pt x="665" y="380"/>
                        <a:pt x="665" y="388"/>
                      </a:cubicBezTo>
                      <a:lnTo>
                        <a:pt x="672" y="396"/>
                      </a:lnTo>
                      <a:cubicBezTo>
                        <a:pt x="680" y="396"/>
                        <a:pt x="680" y="396"/>
                        <a:pt x="680" y="396"/>
                      </a:cubicBezTo>
                      <a:cubicBezTo>
                        <a:pt x="688" y="388"/>
                        <a:pt x="696" y="388"/>
                        <a:pt x="704" y="380"/>
                      </a:cubicBezTo>
                      <a:cubicBezTo>
                        <a:pt x="712" y="380"/>
                        <a:pt x="728" y="372"/>
                        <a:pt x="728" y="372"/>
                      </a:cubicBezTo>
                      <a:cubicBezTo>
                        <a:pt x="728" y="372"/>
                        <a:pt x="736" y="364"/>
                        <a:pt x="743" y="364"/>
                      </a:cubicBezTo>
                      <a:cubicBezTo>
                        <a:pt x="759" y="364"/>
                        <a:pt x="783" y="372"/>
                        <a:pt x="799" y="388"/>
                      </a:cubicBezTo>
                      <a:lnTo>
                        <a:pt x="807" y="388"/>
                      </a:lnTo>
                      <a:cubicBezTo>
                        <a:pt x="846" y="388"/>
                        <a:pt x="918" y="356"/>
                        <a:pt x="933" y="340"/>
                      </a:cubicBezTo>
                      <a:cubicBezTo>
                        <a:pt x="957" y="317"/>
                        <a:pt x="1012" y="317"/>
                        <a:pt x="1060" y="317"/>
                      </a:cubicBezTo>
                      <a:cubicBezTo>
                        <a:pt x="1091" y="317"/>
                        <a:pt x="1155" y="245"/>
                        <a:pt x="1194" y="190"/>
                      </a:cubicBezTo>
                      <a:cubicBezTo>
                        <a:pt x="1218" y="159"/>
                        <a:pt x="1352" y="64"/>
                        <a:pt x="1455" y="8"/>
                      </a:cubicBezTo>
                      <a:cubicBezTo>
                        <a:pt x="1463" y="0"/>
                        <a:pt x="1463" y="0"/>
                        <a:pt x="1463" y="0"/>
                      </a:cubicBezTo>
                      <a:cubicBezTo>
                        <a:pt x="1463" y="8"/>
                        <a:pt x="1463" y="8"/>
                        <a:pt x="1463" y="8"/>
                      </a:cubicBezTo>
                      <a:cubicBezTo>
                        <a:pt x="1582" y="649"/>
                        <a:pt x="1582" y="649"/>
                        <a:pt x="1582" y="649"/>
                      </a:cubicBezTo>
                      <a:cubicBezTo>
                        <a:pt x="1573" y="649"/>
                        <a:pt x="1573" y="649"/>
                        <a:pt x="1573" y="649"/>
                      </a:cubicBezTo>
                      <a:cubicBezTo>
                        <a:pt x="1573" y="649"/>
                        <a:pt x="1573" y="649"/>
                        <a:pt x="1566" y="649"/>
                      </a:cubicBezTo>
                      <a:cubicBezTo>
                        <a:pt x="1558" y="649"/>
                        <a:pt x="1550" y="649"/>
                        <a:pt x="1550" y="656"/>
                      </a:cubicBezTo>
                      <a:lnTo>
                        <a:pt x="1550" y="656"/>
                      </a:lnTo>
                      <a:cubicBezTo>
                        <a:pt x="1550" y="665"/>
                        <a:pt x="1558" y="672"/>
                        <a:pt x="1558" y="688"/>
                      </a:cubicBezTo>
                      <a:cubicBezTo>
                        <a:pt x="1558" y="704"/>
                        <a:pt x="1566" y="712"/>
                        <a:pt x="1566" y="728"/>
                      </a:cubicBezTo>
                      <a:cubicBezTo>
                        <a:pt x="1566" y="736"/>
                        <a:pt x="1573" y="751"/>
                        <a:pt x="1573" y="759"/>
                      </a:cubicBezTo>
                      <a:cubicBezTo>
                        <a:pt x="1582" y="783"/>
                        <a:pt x="1589" y="799"/>
                        <a:pt x="1573" y="807"/>
                      </a:cubicBezTo>
                      <a:lnTo>
                        <a:pt x="1566" y="807"/>
                      </a:lnTo>
                      <a:cubicBezTo>
                        <a:pt x="1558" y="815"/>
                        <a:pt x="1558" y="815"/>
                        <a:pt x="1558" y="838"/>
                      </a:cubicBezTo>
                      <a:cubicBezTo>
                        <a:pt x="1558" y="846"/>
                        <a:pt x="1558" y="862"/>
                        <a:pt x="1566" y="878"/>
                      </a:cubicBezTo>
                      <a:cubicBezTo>
                        <a:pt x="1566" y="925"/>
                        <a:pt x="1573" y="957"/>
                        <a:pt x="1566" y="973"/>
                      </a:cubicBezTo>
                      <a:cubicBezTo>
                        <a:pt x="1558" y="973"/>
                        <a:pt x="1550" y="973"/>
                        <a:pt x="1542" y="981"/>
                      </a:cubicBezTo>
                      <a:cubicBezTo>
                        <a:pt x="1534" y="981"/>
                        <a:pt x="1518" y="981"/>
                        <a:pt x="1526" y="1020"/>
                      </a:cubicBezTo>
                      <a:cubicBezTo>
                        <a:pt x="1534" y="1083"/>
                        <a:pt x="1534" y="1139"/>
                        <a:pt x="1518" y="1170"/>
                      </a:cubicBezTo>
                      <a:cubicBezTo>
                        <a:pt x="1510" y="1178"/>
                        <a:pt x="1502" y="1186"/>
                        <a:pt x="1495" y="1202"/>
                      </a:cubicBezTo>
                      <a:cubicBezTo>
                        <a:pt x="1471" y="1234"/>
                        <a:pt x="1455" y="1265"/>
                        <a:pt x="1431" y="1273"/>
                      </a:cubicBezTo>
                      <a:cubicBezTo>
                        <a:pt x="1423" y="1273"/>
                        <a:pt x="1415" y="1273"/>
                        <a:pt x="1408" y="1281"/>
                      </a:cubicBezTo>
                      <a:cubicBezTo>
                        <a:pt x="1408" y="1281"/>
                        <a:pt x="1400" y="1281"/>
                        <a:pt x="1392" y="1281"/>
                      </a:cubicBezTo>
                      <a:cubicBezTo>
                        <a:pt x="1384" y="1281"/>
                        <a:pt x="1376" y="1281"/>
                        <a:pt x="1368" y="1273"/>
                      </a:cubicBezTo>
                      <a:cubicBezTo>
                        <a:pt x="1368" y="1273"/>
                        <a:pt x="1360" y="1273"/>
                        <a:pt x="1360" y="1265"/>
                      </a:cubicBezTo>
                      <a:cubicBezTo>
                        <a:pt x="1344" y="1257"/>
                        <a:pt x="1336" y="1249"/>
                        <a:pt x="1329" y="1249"/>
                      </a:cubicBezTo>
                      <a:cubicBezTo>
                        <a:pt x="1329" y="1249"/>
                        <a:pt x="1321" y="1249"/>
                        <a:pt x="1321" y="1265"/>
                      </a:cubicBezTo>
                      <a:cubicBezTo>
                        <a:pt x="1321" y="1273"/>
                        <a:pt x="1313" y="1281"/>
                        <a:pt x="1313" y="1289"/>
                      </a:cubicBezTo>
                      <a:cubicBezTo>
                        <a:pt x="1313" y="1313"/>
                        <a:pt x="1313" y="1329"/>
                        <a:pt x="1289" y="1336"/>
                      </a:cubicBezTo>
                      <a:cubicBezTo>
                        <a:pt x="1289" y="1344"/>
                        <a:pt x="1281" y="1344"/>
                        <a:pt x="1273" y="1344"/>
                      </a:cubicBezTo>
                      <a:cubicBezTo>
                        <a:pt x="1249" y="1360"/>
                        <a:pt x="1226" y="1368"/>
                        <a:pt x="1234" y="1384"/>
                      </a:cubicBezTo>
                      <a:cubicBezTo>
                        <a:pt x="1242" y="1415"/>
                        <a:pt x="1249" y="1502"/>
                        <a:pt x="1242" y="1518"/>
                      </a:cubicBezTo>
                      <a:cubicBezTo>
                        <a:pt x="1242" y="1526"/>
                        <a:pt x="1234" y="1526"/>
                        <a:pt x="1234" y="1526"/>
                      </a:cubicBezTo>
                      <a:cubicBezTo>
                        <a:pt x="1234" y="1526"/>
                        <a:pt x="1234" y="1526"/>
                        <a:pt x="1234" y="1518"/>
                      </a:cubicBezTo>
                      <a:cubicBezTo>
                        <a:pt x="1226" y="1518"/>
                        <a:pt x="1218" y="1510"/>
                        <a:pt x="1210" y="1502"/>
                      </a:cubicBezTo>
                      <a:cubicBezTo>
                        <a:pt x="1194" y="1495"/>
                        <a:pt x="1178" y="1479"/>
                        <a:pt x="1171" y="1487"/>
                      </a:cubicBezTo>
                      <a:cubicBezTo>
                        <a:pt x="1155" y="1495"/>
                        <a:pt x="1139" y="1534"/>
                        <a:pt x="1139" y="1558"/>
                      </a:cubicBezTo>
                      <a:cubicBezTo>
                        <a:pt x="1139" y="1573"/>
                        <a:pt x="1139" y="1589"/>
                        <a:pt x="1131" y="1597"/>
                      </a:cubicBezTo>
                      <a:cubicBezTo>
                        <a:pt x="1131" y="1613"/>
                        <a:pt x="1123" y="1629"/>
                        <a:pt x="1131" y="1645"/>
                      </a:cubicBezTo>
                      <a:cubicBezTo>
                        <a:pt x="1139" y="1653"/>
                        <a:pt x="1147" y="1684"/>
                        <a:pt x="1139" y="1708"/>
                      </a:cubicBezTo>
                      <a:cubicBezTo>
                        <a:pt x="1139" y="1716"/>
                        <a:pt x="1131" y="1716"/>
                        <a:pt x="1131" y="1716"/>
                      </a:cubicBezTo>
                      <a:cubicBezTo>
                        <a:pt x="1123" y="1724"/>
                        <a:pt x="1115" y="1724"/>
                        <a:pt x="1115" y="1724"/>
                      </a:cubicBezTo>
                      <a:cubicBezTo>
                        <a:pt x="1099" y="1724"/>
                        <a:pt x="1099" y="1724"/>
                        <a:pt x="1099" y="1747"/>
                      </a:cubicBezTo>
                      <a:cubicBezTo>
                        <a:pt x="1099" y="1755"/>
                        <a:pt x="1099" y="1755"/>
                        <a:pt x="1099" y="1755"/>
                      </a:cubicBezTo>
                      <a:cubicBezTo>
                        <a:pt x="1099" y="1787"/>
                        <a:pt x="1099" y="1795"/>
                        <a:pt x="1068" y="1803"/>
                      </a:cubicBezTo>
                      <a:cubicBezTo>
                        <a:pt x="1052" y="1803"/>
                        <a:pt x="1036" y="1811"/>
                        <a:pt x="1020" y="1811"/>
                      </a:cubicBezTo>
                      <a:close/>
                      <a:moveTo>
                        <a:pt x="862" y="1660"/>
                      </a:moveTo>
                      <a:lnTo>
                        <a:pt x="862" y="1660"/>
                      </a:lnTo>
                      <a:cubicBezTo>
                        <a:pt x="878" y="1668"/>
                        <a:pt x="878" y="1668"/>
                        <a:pt x="878" y="1668"/>
                      </a:cubicBezTo>
                      <a:cubicBezTo>
                        <a:pt x="878" y="1676"/>
                        <a:pt x="878" y="1676"/>
                        <a:pt x="878" y="1676"/>
                      </a:cubicBezTo>
                      <a:cubicBezTo>
                        <a:pt x="878" y="1676"/>
                        <a:pt x="878" y="1676"/>
                        <a:pt x="886" y="1684"/>
                      </a:cubicBezTo>
                      <a:cubicBezTo>
                        <a:pt x="886" y="1692"/>
                        <a:pt x="894" y="1700"/>
                        <a:pt x="902" y="1708"/>
                      </a:cubicBezTo>
                      <a:cubicBezTo>
                        <a:pt x="909" y="1708"/>
                        <a:pt x="918" y="1716"/>
                        <a:pt x="918" y="1716"/>
                      </a:cubicBezTo>
                      <a:cubicBezTo>
                        <a:pt x="918" y="1716"/>
                        <a:pt x="918" y="1724"/>
                        <a:pt x="925" y="1732"/>
                      </a:cubicBezTo>
                      <a:cubicBezTo>
                        <a:pt x="925" y="1740"/>
                        <a:pt x="949" y="1747"/>
                        <a:pt x="973" y="1747"/>
                      </a:cubicBezTo>
                      <a:cubicBezTo>
                        <a:pt x="989" y="1755"/>
                        <a:pt x="989" y="1763"/>
                        <a:pt x="989" y="1771"/>
                      </a:cubicBezTo>
                      <a:lnTo>
                        <a:pt x="996" y="1779"/>
                      </a:lnTo>
                      <a:cubicBezTo>
                        <a:pt x="996" y="1787"/>
                        <a:pt x="1004" y="1787"/>
                        <a:pt x="1020" y="1803"/>
                      </a:cubicBezTo>
                      <a:cubicBezTo>
                        <a:pt x="1036" y="1803"/>
                        <a:pt x="1052" y="1795"/>
                        <a:pt x="1068" y="1795"/>
                      </a:cubicBezTo>
                      <a:cubicBezTo>
                        <a:pt x="1091" y="1787"/>
                        <a:pt x="1091" y="1787"/>
                        <a:pt x="1091" y="1755"/>
                      </a:cubicBezTo>
                      <a:cubicBezTo>
                        <a:pt x="1091" y="1747"/>
                        <a:pt x="1091" y="1747"/>
                        <a:pt x="1091" y="1747"/>
                      </a:cubicBezTo>
                      <a:cubicBezTo>
                        <a:pt x="1091" y="1724"/>
                        <a:pt x="1099" y="1716"/>
                        <a:pt x="1115" y="1716"/>
                      </a:cubicBezTo>
                      <a:lnTo>
                        <a:pt x="1123" y="1716"/>
                      </a:lnTo>
                      <a:cubicBezTo>
                        <a:pt x="1131" y="1708"/>
                        <a:pt x="1131" y="1708"/>
                        <a:pt x="1131" y="1708"/>
                      </a:cubicBezTo>
                      <a:cubicBezTo>
                        <a:pt x="1139" y="1692"/>
                        <a:pt x="1131" y="1668"/>
                        <a:pt x="1123" y="1645"/>
                      </a:cubicBezTo>
                      <a:cubicBezTo>
                        <a:pt x="1115" y="1629"/>
                        <a:pt x="1123" y="1613"/>
                        <a:pt x="1123" y="1597"/>
                      </a:cubicBezTo>
                      <a:cubicBezTo>
                        <a:pt x="1131" y="1582"/>
                        <a:pt x="1131" y="1573"/>
                        <a:pt x="1131" y="1558"/>
                      </a:cubicBezTo>
                      <a:cubicBezTo>
                        <a:pt x="1131" y="1534"/>
                        <a:pt x="1155" y="1495"/>
                        <a:pt x="1162" y="1479"/>
                      </a:cubicBezTo>
                      <a:cubicBezTo>
                        <a:pt x="1171" y="1479"/>
                        <a:pt x="1171" y="1479"/>
                        <a:pt x="1178" y="1479"/>
                      </a:cubicBezTo>
                      <a:cubicBezTo>
                        <a:pt x="1186" y="1479"/>
                        <a:pt x="1202" y="1487"/>
                        <a:pt x="1210" y="1502"/>
                      </a:cubicBezTo>
                      <a:cubicBezTo>
                        <a:pt x="1218" y="1502"/>
                        <a:pt x="1226" y="1510"/>
                        <a:pt x="1234" y="1518"/>
                      </a:cubicBezTo>
                      <a:lnTo>
                        <a:pt x="1234" y="1518"/>
                      </a:lnTo>
                      <a:cubicBezTo>
                        <a:pt x="1242" y="1510"/>
                        <a:pt x="1234" y="1431"/>
                        <a:pt x="1226" y="1392"/>
                      </a:cubicBezTo>
                      <a:cubicBezTo>
                        <a:pt x="1218" y="1360"/>
                        <a:pt x="1249" y="1344"/>
                        <a:pt x="1273" y="1336"/>
                      </a:cubicBezTo>
                      <a:cubicBezTo>
                        <a:pt x="1273" y="1336"/>
                        <a:pt x="1281" y="1336"/>
                        <a:pt x="1289" y="1336"/>
                      </a:cubicBezTo>
                      <a:cubicBezTo>
                        <a:pt x="1305" y="1329"/>
                        <a:pt x="1305" y="1305"/>
                        <a:pt x="1305" y="1289"/>
                      </a:cubicBezTo>
                      <a:cubicBezTo>
                        <a:pt x="1305" y="1281"/>
                        <a:pt x="1313" y="1273"/>
                        <a:pt x="1313" y="1265"/>
                      </a:cubicBezTo>
                      <a:cubicBezTo>
                        <a:pt x="1313" y="1249"/>
                        <a:pt x="1321" y="1242"/>
                        <a:pt x="1329" y="1242"/>
                      </a:cubicBezTo>
                      <a:cubicBezTo>
                        <a:pt x="1336" y="1242"/>
                        <a:pt x="1344" y="1249"/>
                        <a:pt x="1360" y="1265"/>
                      </a:cubicBezTo>
                      <a:cubicBezTo>
                        <a:pt x="1368" y="1265"/>
                        <a:pt x="1368" y="1265"/>
                        <a:pt x="1376" y="1273"/>
                      </a:cubicBezTo>
                      <a:cubicBezTo>
                        <a:pt x="1376" y="1273"/>
                        <a:pt x="1384" y="1281"/>
                        <a:pt x="1392" y="1281"/>
                      </a:cubicBezTo>
                      <a:cubicBezTo>
                        <a:pt x="1400" y="1281"/>
                        <a:pt x="1400" y="1273"/>
                        <a:pt x="1408" y="1273"/>
                      </a:cubicBezTo>
                      <a:cubicBezTo>
                        <a:pt x="1415" y="1273"/>
                        <a:pt x="1423" y="1265"/>
                        <a:pt x="1431" y="1265"/>
                      </a:cubicBezTo>
                      <a:cubicBezTo>
                        <a:pt x="1447" y="1257"/>
                        <a:pt x="1471" y="1226"/>
                        <a:pt x="1487" y="1194"/>
                      </a:cubicBezTo>
                      <a:cubicBezTo>
                        <a:pt x="1495" y="1186"/>
                        <a:pt x="1502" y="1170"/>
                        <a:pt x="1510" y="1162"/>
                      </a:cubicBezTo>
                      <a:cubicBezTo>
                        <a:pt x="1534" y="1139"/>
                        <a:pt x="1526" y="1076"/>
                        <a:pt x="1518" y="1020"/>
                      </a:cubicBezTo>
                      <a:cubicBezTo>
                        <a:pt x="1510" y="981"/>
                        <a:pt x="1526" y="973"/>
                        <a:pt x="1542" y="973"/>
                      </a:cubicBezTo>
                      <a:cubicBezTo>
                        <a:pt x="1550" y="973"/>
                        <a:pt x="1558" y="965"/>
                        <a:pt x="1558" y="965"/>
                      </a:cubicBezTo>
                      <a:cubicBezTo>
                        <a:pt x="1566" y="957"/>
                        <a:pt x="1558" y="909"/>
                        <a:pt x="1558" y="878"/>
                      </a:cubicBezTo>
                      <a:cubicBezTo>
                        <a:pt x="1558" y="862"/>
                        <a:pt x="1550" y="846"/>
                        <a:pt x="1550" y="838"/>
                      </a:cubicBezTo>
                      <a:cubicBezTo>
                        <a:pt x="1550" y="807"/>
                        <a:pt x="1550" y="807"/>
                        <a:pt x="1566" y="807"/>
                      </a:cubicBezTo>
                      <a:lnTo>
                        <a:pt x="1573" y="799"/>
                      </a:lnTo>
                      <a:cubicBezTo>
                        <a:pt x="1582" y="799"/>
                        <a:pt x="1573" y="775"/>
                        <a:pt x="1566" y="759"/>
                      </a:cubicBezTo>
                      <a:cubicBezTo>
                        <a:pt x="1566" y="751"/>
                        <a:pt x="1558" y="743"/>
                        <a:pt x="1558" y="728"/>
                      </a:cubicBezTo>
                      <a:cubicBezTo>
                        <a:pt x="1558" y="720"/>
                        <a:pt x="1550" y="704"/>
                        <a:pt x="1550" y="688"/>
                      </a:cubicBezTo>
                      <a:cubicBezTo>
                        <a:pt x="1550" y="680"/>
                        <a:pt x="1542" y="665"/>
                        <a:pt x="1542" y="656"/>
                      </a:cubicBezTo>
                      <a:lnTo>
                        <a:pt x="1542" y="649"/>
                      </a:lnTo>
                      <a:cubicBezTo>
                        <a:pt x="1550" y="641"/>
                        <a:pt x="1558" y="641"/>
                        <a:pt x="1566" y="641"/>
                      </a:cubicBezTo>
                      <a:cubicBezTo>
                        <a:pt x="1573" y="641"/>
                        <a:pt x="1573" y="641"/>
                        <a:pt x="1573" y="641"/>
                      </a:cubicBezTo>
                      <a:cubicBezTo>
                        <a:pt x="1455" y="16"/>
                        <a:pt x="1455" y="16"/>
                        <a:pt x="1455" y="16"/>
                      </a:cubicBezTo>
                      <a:cubicBezTo>
                        <a:pt x="1352" y="72"/>
                        <a:pt x="1226" y="166"/>
                        <a:pt x="1194" y="198"/>
                      </a:cubicBezTo>
                      <a:cubicBezTo>
                        <a:pt x="1171" y="230"/>
                        <a:pt x="1099" y="325"/>
                        <a:pt x="1060" y="325"/>
                      </a:cubicBezTo>
                      <a:cubicBezTo>
                        <a:pt x="1036" y="325"/>
                        <a:pt x="957" y="325"/>
                        <a:pt x="941" y="340"/>
                      </a:cubicBezTo>
                      <a:cubicBezTo>
                        <a:pt x="918" y="364"/>
                        <a:pt x="846" y="396"/>
                        <a:pt x="807" y="396"/>
                      </a:cubicBezTo>
                      <a:cubicBezTo>
                        <a:pt x="799" y="396"/>
                        <a:pt x="799" y="396"/>
                        <a:pt x="791" y="388"/>
                      </a:cubicBezTo>
                      <a:cubicBezTo>
                        <a:pt x="783" y="380"/>
                        <a:pt x="759" y="372"/>
                        <a:pt x="743" y="372"/>
                      </a:cubicBezTo>
                      <a:cubicBezTo>
                        <a:pt x="736" y="372"/>
                        <a:pt x="736" y="372"/>
                        <a:pt x="736" y="372"/>
                      </a:cubicBezTo>
                      <a:cubicBezTo>
                        <a:pt x="736" y="380"/>
                        <a:pt x="728" y="388"/>
                        <a:pt x="704" y="388"/>
                      </a:cubicBezTo>
                      <a:cubicBezTo>
                        <a:pt x="696" y="396"/>
                        <a:pt x="688" y="396"/>
                        <a:pt x="680" y="396"/>
                      </a:cubicBezTo>
                      <a:cubicBezTo>
                        <a:pt x="680" y="403"/>
                        <a:pt x="680" y="403"/>
                        <a:pt x="672" y="403"/>
                      </a:cubicBezTo>
                      <a:cubicBezTo>
                        <a:pt x="665" y="403"/>
                        <a:pt x="656" y="396"/>
                        <a:pt x="656" y="388"/>
                      </a:cubicBezTo>
                      <a:cubicBezTo>
                        <a:pt x="656" y="380"/>
                        <a:pt x="656" y="372"/>
                        <a:pt x="665" y="372"/>
                      </a:cubicBezTo>
                      <a:cubicBezTo>
                        <a:pt x="672" y="364"/>
                        <a:pt x="680" y="364"/>
                        <a:pt x="688" y="364"/>
                      </a:cubicBezTo>
                      <a:cubicBezTo>
                        <a:pt x="696" y="364"/>
                        <a:pt x="712" y="364"/>
                        <a:pt x="712" y="356"/>
                      </a:cubicBezTo>
                      <a:lnTo>
                        <a:pt x="712" y="356"/>
                      </a:lnTo>
                      <a:cubicBezTo>
                        <a:pt x="712" y="348"/>
                        <a:pt x="704" y="340"/>
                        <a:pt x="696" y="340"/>
                      </a:cubicBezTo>
                      <a:cubicBezTo>
                        <a:pt x="696" y="340"/>
                        <a:pt x="688" y="340"/>
                        <a:pt x="680" y="348"/>
                      </a:cubicBezTo>
                      <a:cubicBezTo>
                        <a:pt x="672" y="348"/>
                        <a:pt x="672" y="356"/>
                        <a:pt x="665" y="356"/>
                      </a:cubicBezTo>
                      <a:cubicBezTo>
                        <a:pt x="665" y="356"/>
                        <a:pt x="665" y="364"/>
                        <a:pt x="656" y="364"/>
                      </a:cubicBezTo>
                      <a:cubicBezTo>
                        <a:pt x="656" y="364"/>
                        <a:pt x="649" y="356"/>
                        <a:pt x="641" y="356"/>
                      </a:cubicBezTo>
                      <a:cubicBezTo>
                        <a:pt x="633" y="340"/>
                        <a:pt x="633" y="340"/>
                        <a:pt x="617" y="332"/>
                      </a:cubicBezTo>
                      <a:cubicBezTo>
                        <a:pt x="609" y="332"/>
                        <a:pt x="601" y="332"/>
                        <a:pt x="585" y="325"/>
                      </a:cubicBezTo>
                      <a:cubicBezTo>
                        <a:pt x="570" y="317"/>
                        <a:pt x="562" y="317"/>
                        <a:pt x="554" y="317"/>
                      </a:cubicBezTo>
                      <a:cubicBezTo>
                        <a:pt x="538" y="309"/>
                        <a:pt x="530" y="309"/>
                        <a:pt x="514" y="301"/>
                      </a:cubicBezTo>
                      <a:cubicBezTo>
                        <a:pt x="506" y="293"/>
                        <a:pt x="498" y="293"/>
                        <a:pt x="483" y="293"/>
                      </a:cubicBezTo>
                      <a:cubicBezTo>
                        <a:pt x="475" y="285"/>
                        <a:pt x="467" y="285"/>
                        <a:pt x="467" y="277"/>
                      </a:cubicBezTo>
                      <a:cubicBezTo>
                        <a:pt x="356" y="309"/>
                        <a:pt x="103" y="372"/>
                        <a:pt x="24" y="372"/>
                      </a:cubicBezTo>
                      <a:cubicBezTo>
                        <a:pt x="16" y="372"/>
                        <a:pt x="16" y="372"/>
                        <a:pt x="8" y="372"/>
                      </a:cubicBezTo>
                      <a:cubicBezTo>
                        <a:pt x="159" y="1566"/>
                        <a:pt x="159" y="1566"/>
                        <a:pt x="159" y="1566"/>
                      </a:cubicBezTo>
                      <a:cubicBezTo>
                        <a:pt x="159" y="1566"/>
                        <a:pt x="166" y="1558"/>
                        <a:pt x="174" y="1558"/>
                      </a:cubicBezTo>
                      <a:lnTo>
                        <a:pt x="174" y="1558"/>
                      </a:lnTo>
                      <a:cubicBezTo>
                        <a:pt x="206" y="1558"/>
                        <a:pt x="230" y="1566"/>
                        <a:pt x="261" y="1573"/>
                      </a:cubicBezTo>
                      <a:lnTo>
                        <a:pt x="269" y="1573"/>
                      </a:lnTo>
                      <a:cubicBezTo>
                        <a:pt x="277" y="1573"/>
                        <a:pt x="285" y="1573"/>
                        <a:pt x="285" y="1566"/>
                      </a:cubicBezTo>
                      <a:cubicBezTo>
                        <a:pt x="293" y="1566"/>
                        <a:pt x="293" y="1566"/>
                        <a:pt x="301" y="1566"/>
                      </a:cubicBezTo>
                      <a:cubicBezTo>
                        <a:pt x="309" y="1566"/>
                        <a:pt x="317" y="1566"/>
                        <a:pt x="325" y="1582"/>
                      </a:cubicBezTo>
                      <a:cubicBezTo>
                        <a:pt x="332" y="1589"/>
                        <a:pt x="340" y="1605"/>
                        <a:pt x="340" y="1613"/>
                      </a:cubicBezTo>
                      <a:cubicBezTo>
                        <a:pt x="356" y="1629"/>
                        <a:pt x="356" y="1645"/>
                        <a:pt x="372" y="1653"/>
                      </a:cubicBezTo>
                      <a:cubicBezTo>
                        <a:pt x="380" y="1660"/>
                        <a:pt x="388" y="1668"/>
                        <a:pt x="388" y="1676"/>
                      </a:cubicBezTo>
                      <a:cubicBezTo>
                        <a:pt x="396" y="1692"/>
                        <a:pt x="396" y="1700"/>
                        <a:pt x="427" y="1708"/>
                      </a:cubicBezTo>
                      <a:cubicBezTo>
                        <a:pt x="435" y="1708"/>
                        <a:pt x="435" y="1708"/>
                        <a:pt x="443" y="1708"/>
                      </a:cubicBezTo>
                      <a:cubicBezTo>
                        <a:pt x="459" y="1708"/>
                        <a:pt x="475" y="1708"/>
                        <a:pt x="483" y="1700"/>
                      </a:cubicBezTo>
                      <a:cubicBezTo>
                        <a:pt x="498" y="1700"/>
                        <a:pt x="506" y="1700"/>
                        <a:pt x="514" y="1700"/>
                      </a:cubicBezTo>
                      <a:cubicBezTo>
                        <a:pt x="530" y="1700"/>
                        <a:pt x="538" y="1700"/>
                        <a:pt x="538" y="1708"/>
                      </a:cubicBezTo>
                      <a:cubicBezTo>
                        <a:pt x="554" y="1724"/>
                        <a:pt x="593" y="1755"/>
                        <a:pt x="617" y="1755"/>
                      </a:cubicBezTo>
                      <a:lnTo>
                        <a:pt x="625" y="1755"/>
                      </a:lnTo>
                      <a:cubicBezTo>
                        <a:pt x="633" y="1755"/>
                        <a:pt x="641" y="1747"/>
                        <a:pt x="641" y="1740"/>
                      </a:cubicBezTo>
                      <a:cubicBezTo>
                        <a:pt x="649" y="1724"/>
                        <a:pt x="649" y="1708"/>
                        <a:pt x="665" y="1708"/>
                      </a:cubicBezTo>
                      <a:cubicBezTo>
                        <a:pt x="672" y="1708"/>
                        <a:pt x="672" y="1708"/>
                        <a:pt x="672" y="1716"/>
                      </a:cubicBezTo>
                      <a:cubicBezTo>
                        <a:pt x="688" y="1716"/>
                        <a:pt x="704" y="1724"/>
                        <a:pt x="712" y="1724"/>
                      </a:cubicBezTo>
                      <a:cubicBezTo>
                        <a:pt x="720" y="1732"/>
                        <a:pt x="720" y="1740"/>
                        <a:pt x="728" y="1732"/>
                      </a:cubicBezTo>
                      <a:cubicBezTo>
                        <a:pt x="751" y="1732"/>
                        <a:pt x="759" y="1724"/>
                        <a:pt x="759" y="1716"/>
                      </a:cubicBezTo>
                      <a:cubicBezTo>
                        <a:pt x="767" y="1716"/>
                        <a:pt x="767" y="1708"/>
                        <a:pt x="783" y="1708"/>
                      </a:cubicBezTo>
                      <a:lnTo>
                        <a:pt x="791" y="1708"/>
                      </a:lnTo>
                      <a:cubicBezTo>
                        <a:pt x="799" y="1708"/>
                        <a:pt x="799" y="1708"/>
                        <a:pt x="807" y="1692"/>
                      </a:cubicBezTo>
                      <a:cubicBezTo>
                        <a:pt x="815" y="1692"/>
                        <a:pt x="823" y="1684"/>
                        <a:pt x="831" y="1676"/>
                      </a:cubicBezTo>
                      <a:lnTo>
                        <a:pt x="862" y="1660"/>
                      </a:lnTo>
                      <a:close/>
                    </a:path>
                  </a:pathLst>
                </a:custGeom>
                <a:solidFill>
                  <a:srgbClr val="E8DAB2"/>
                </a:solidFill>
                <a:ln>
                  <a:solidFill>
                    <a:srgbClr val="E7E6E6"/>
                  </a:solidFill>
                </a:ln>
                <a:effectLst/>
              </p:spPr>
              <p:txBody>
                <a:bodyPr wrap="none" anchor="ctr"/>
                <a:lstStyle/>
                <a:p>
                  <a:pPr defTabSz="851306">
                    <a:defRPr/>
                  </a:pPr>
                  <a:endParaRPr lang="en-US" sz="1055" kern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374" name="Group 373">
                  <a:extLst>
                    <a:ext uri="{FF2B5EF4-FFF2-40B4-BE49-F238E27FC236}">
                      <a16:creationId xmlns:a16="http://schemas.microsoft.com/office/drawing/2014/main" id="{89234AF6-9878-9E49-9144-ED58ECAC1943}"/>
                    </a:ext>
                  </a:extLst>
                </p:cNvPr>
                <p:cNvGrpSpPr/>
                <p:nvPr/>
              </p:nvGrpSpPr>
              <p:grpSpPr>
                <a:xfrm>
                  <a:off x="8857671" y="5150178"/>
                  <a:ext cx="1085435" cy="1370709"/>
                  <a:chOff x="14001891" y="6008321"/>
                  <a:chExt cx="1085435" cy="1370709"/>
                </a:xfrm>
              </p:grpSpPr>
              <p:sp>
                <p:nvSpPr>
                  <p:cNvPr id="375" name="Freeform 131">
                    <a:extLst>
                      <a:ext uri="{FF2B5EF4-FFF2-40B4-BE49-F238E27FC236}">
                        <a16:creationId xmlns:a16="http://schemas.microsoft.com/office/drawing/2014/main" id="{DB21093B-9FD0-494D-8DBB-3B32238E340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001891" y="6008321"/>
                    <a:ext cx="1085435" cy="1370709"/>
                  </a:xfrm>
                  <a:custGeom>
                    <a:avLst/>
                    <a:gdLst>
                      <a:gd name="T0" fmla="*/ 2040 w 2064"/>
                      <a:gd name="T1" fmla="*/ 711 h 2608"/>
                      <a:gd name="T2" fmla="*/ 2040 w 2064"/>
                      <a:gd name="T3" fmla="*/ 711 h 2608"/>
                      <a:gd name="T4" fmla="*/ 1344 w 2064"/>
                      <a:gd name="T5" fmla="*/ 632 h 2608"/>
                      <a:gd name="T6" fmla="*/ 1415 w 2064"/>
                      <a:gd name="T7" fmla="*/ 174 h 2608"/>
                      <a:gd name="T8" fmla="*/ 403 w 2064"/>
                      <a:gd name="T9" fmla="*/ 0 h 2608"/>
                      <a:gd name="T10" fmla="*/ 0 w 2064"/>
                      <a:gd name="T11" fmla="*/ 2315 h 2608"/>
                      <a:gd name="T12" fmla="*/ 0 w 2064"/>
                      <a:gd name="T13" fmla="*/ 2315 h 2608"/>
                      <a:gd name="T14" fmla="*/ 24 w 2064"/>
                      <a:gd name="T15" fmla="*/ 2323 h 2608"/>
                      <a:gd name="T16" fmla="*/ 24 w 2064"/>
                      <a:gd name="T17" fmla="*/ 2323 h 2608"/>
                      <a:gd name="T18" fmla="*/ 40 w 2064"/>
                      <a:gd name="T19" fmla="*/ 2323 h 2608"/>
                      <a:gd name="T20" fmla="*/ 40 w 2064"/>
                      <a:gd name="T21" fmla="*/ 2323 h 2608"/>
                      <a:gd name="T22" fmla="*/ 1818 w 2064"/>
                      <a:gd name="T23" fmla="*/ 2607 h 2608"/>
                      <a:gd name="T24" fmla="*/ 2063 w 2064"/>
                      <a:gd name="T25" fmla="*/ 735 h 2608"/>
                      <a:gd name="T26" fmla="*/ 2040 w 2064"/>
                      <a:gd name="T27" fmla="*/ 711 h 2608"/>
                      <a:gd name="T28" fmla="*/ 941 w 2064"/>
                      <a:gd name="T29" fmla="*/ 569 h 2608"/>
                      <a:gd name="T30" fmla="*/ 941 w 2064"/>
                      <a:gd name="T31" fmla="*/ 569 h 2608"/>
                      <a:gd name="T32" fmla="*/ 917 w 2064"/>
                      <a:gd name="T33" fmla="*/ 521 h 2608"/>
                      <a:gd name="T34" fmla="*/ 886 w 2064"/>
                      <a:gd name="T35" fmla="*/ 490 h 2608"/>
                      <a:gd name="T36" fmla="*/ 893 w 2064"/>
                      <a:gd name="T37" fmla="*/ 577 h 2608"/>
                      <a:gd name="T38" fmla="*/ 886 w 2064"/>
                      <a:gd name="T39" fmla="*/ 632 h 2608"/>
                      <a:gd name="T40" fmla="*/ 830 w 2064"/>
                      <a:gd name="T41" fmla="*/ 664 h 2608"/>
                      <a:gd name="T42" fmla="*/ 814 w 2064"/>
                      <a:gd name="T43" fmla="*/ 616 h 2608"/>
                      <a:gd name="T44" fmla="*/ 798 w 2064"/>
                      <a:gd name="T45" fmla="*/ 577 h 2608"/>
                      <a:gd name="T46" fmla="*/ 791 w 2064"/>
                      <a:gd name="T47" fmla="*/ 537 h 2608"/>
                      <a:gd name="T48" fmla="*/ 775 w 2064"/>
                      <a:gd name="T49" fmla="*/ 466 h 2608"/>
                      <a:gd name="T50" fmla="*/ 743 w 2064"/>
                      <a:gd name="T51" fmla="*/ 490 h 2608"/>
                      <a:gd name="T52" fmla="*/ 711 w 2064"/>
                      <a:gd name="T53" fmla="*/ 466 h 2608"/>
                      <a:gd name="T54" fmla="*/ 719 w 2064"/>
                      <a:gd name="T55" fmla="*/ 371 h 2608"/>
                      <a:gd name="T56" fmla="*/ 688 w 2064"/>
                      <a:gd name="T57" fmla="*/ 316 h 2608"/>
                      <a:gd name="T58" fmla="*/ 680 w 2064"/>
                      <a:gd name="T59" fmla="*/ 221 h 2608"/>
                      <a:gd name="T60" fmla="*/ 719 w 2064"/>
                      <a:gd name="T61" fmla="*/ 158 h 2608"/>
                      <a:gd name="T62" fmla="*/ 775 w 2064"/>
                      <a:gd name="T63" fmla="*/ 166 h 2608"/>
                      <a:gd name="T64" fmla="*/ 767 w 2064"/>
                      <a:gd name="T65" fmla="*/ 190 h 2608"/>
                      <a:gd name="T66" fmla="*/ 759 w 2064"/>
                      <a:gd name="T67" fmla="*/ 205 h 2608"/>
                      <a:gd name="T68" fmla="*/ 822 w 2064"/>
                      <a:gd name="T69" fmla="*/ 316 h 2608"/>
                      <a:gd name="T70" fmla="*/ 830 w 2064"/>
                      <a:gd name="T71" fmla="*/ 379 h 2608"/>
                      <a:gd name="T72" fmla="*/ 854 w 2064"/>
                      <a:gd name="T73" fmla="*/ 395 h 2608"/>
                      <a:gd name="T74" fmla="*/ 893 w 2064"/>
                      <a:gd name="T75" fmla="*/ 411 h 2608"/>
                      <a:gd name="T76" fmla="*/ 933 w 2064"/>
                      <a:gd name="T77" fmla="*/ 498 h 2608"/>
                      <a:gd name="T78" fmla="*/ 941 w 2064"/>
                      <a:gd name="T79" fmla="*/ 569 h 2608"/>
                      <a:gd name="T80" fmla="*/ 2040 w 2064"/>
                      <a:gd name="T81" fmla="*/ 711 h 26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2064" h="2608">
                        <a:moveTo>
                          <a:pt x="2040" y="711"/>
                        </a:moveTo>
                        <a:lnTo>
                          <a:pt x="2040" y="711"/>
                        </a:lnTo>
                        <a:cubicBezTo>
                          <a:pt x="1344" y="632"/>
                          <a:pt x="1344" y="632"/>
                          <a:pt x="1344" y="632"/>
                        </a:cubicBezTo>
                        <a:cubicBezTo>
                          <a:pt x="1415" y="174"/>
                          <a:pt x="1415" y="174"/>
                          <a:pt x="1415" y="174"/>
                        </a:cubicBezTo>
                        <a:cubicBezTo>
                          <a:pt x="1075" y="118"/>
                          <a:pt x="735" y="63"/>
                          <a:pt x="403" y="0"/>
                        </a:cubicBezTo>
                        <a:cubicBezTo>
                          <a:pt x="0" y="2315"/>
                          <a:pt x="0" y="2315"/>
                          <a:pt x="0" y="2315"/>
                        </a:cubicBezTo>
                        <a:lnTo>
                          <a:pt x="0" y="2315"/>
                        </a:lnTo>
                        <a:cubicBezTo>
                          <a:pt x="8" y="2315"/>
                          <a:pt x="8" y="2323"/>
                          <a:pt x="24" y="2323"/>
                        </a:cubicBezTo>
                        <a:lnTo>
                          <a:pt x="24" y="2323"/>
                        </a:lnTo>
                        <a:cubicBezTo>
                          <a:pt x="24" y="2323"/>
                          <a:pt x="32" y="2323"/>
                          <a:pt x="40" y="2323"/>
                        </a:cubicBezTo>
                        <a:lnTo>
                          <a:pt x="40" y="2323"/>
                        </a:lnTo>
                        <a:cubicBezTo>
                          <a:pt x="206" y="2354"/>
                          <a:pt x="814" y="2481"/>
                          <a:pt x="1818" y="2607"/>
                        </a:cubicBezTo>
                        <a:cubicBezTo>
                          <a:pt x="2063" y="735"/>
                          <a:pt x="2063" y="735"/>
                          <a:pt x="2063" y="735"/>
                        </a:cubicBezTo>
                        <a:cubicBezTo>
                          <a:pt x="2040" y="711"/>
                          <a:pt x="2040" y="711"/>
                          <a:pt x="2040" y="711"/>
                        </a:cubicBezTo>
                        <a:lnTo>
                          <a:pt x="941" y="569"/>
                        </a:lnTo>
                        <a:lnTo>
                          <a:pt x="941" y="569"/>
                        </a:lnTo>
                        <a:cubicBezTo>
                          <a:pt x="933" y="585"/>
                          <a:pt x="925" y="561"/>
                          <a:pt x="917" y="521"/>
                        </a:cubicBezTo>
                        <a:cubicBezTo>
                          <a:pt x="901" y="482"/>
                          <a:pt x="901" y="498"/>
                          <a:pt x="886" y="490"/>
                        </a:cubicBezTo>
                        <a:cubicBezTo>
                          <a:pt x="862" y="482"/>
                          <a:pt x="886" y="529"/>
                          <a:pt x="893" y="577"/>
                        </a:cubicBezTo>
                        <a:cubicBezTo>
                          <a:pt x="893" y="616"/>
                          <a:pt x="893" y="601"/>
                          <a:pt x="886" y="632"/>
                        </a:cubicBezTo>
                        <a:cubicBezTo>
                          <a:pt x="877" y="664"/>
                          <a:pt x="854" y="648"/>
                          <a:pt x="830" y="664"/>
                        </a:cubicBezTo>
                        <a:cubicBezTo>
                          <a:pt x="806" y="672"/>
                          <a:pt x="814" y="632"/>
                          <a:pt x="814" y="616"/>
                        </a:cubicBezTo>
                        <a:cubicBezTo>
                          <a:pt x="806" y="601"/>
                          <a:pt x="798" y="601"/>
                          <a:pt x="798" y="577"/>
                        </a:cubicBezTo>
                        <a:cubicBezTo>
                          <a:pt x="798" y="545"/>
                          <a:pt x="798" y="537"/>
                          <a:pt x="791" y="537"/>
                        </a:cubicBezTo>
                        <a:cubicBezTo>
                          <a:pt x="783" y="529"/>
                          <a:pt x="775" y="482"/>
                          <a:pt x="775" y="466"/>
                        </a:cubicBezTo>
                        <a:cubicBezTo>
                          <a:pt x="767" y="450"/>
                          <a:pt x="759" y="458"/>
                          <a:pt x="743" y="490"/>
                        </a:cubicBezTo>
                        <a:cubicBezTo>
                          <a:pt x="719" y="514"/>
                          <a:pt x="719" y="498"/>
                          <a:pt x="711" y="466"/>
                        </a:cubicBezTo>
                        <a:cubicBezTo>
                          <a:pt x="711" y="443"/>
                          <a:pt x="719" y="403"/>
                          <a:pt x="719" y="371"/>
                        </a:cubicBezTo>
                        <a:cubicBezTo>
                          <a:pt x="719" y="340"/>
                          <a:pt x="704" y="348"/>
                          <a:pt x="688" y="316"/>
                        </a:cubicBezTo>
                        <a:cubicBezTo>
                          <a:pt x="664" y="292"/>
                          <a:pt x="680" y="245"/>
                          <a:pt x="680" y="221"/>
                        </a:cubicBezTo>
                        <a:cubicBezTo>
                          <a:pt x="680" y="205"/>
                          <a:pt x="711" y="166"/>
                          <a:pt x="719" y="158"/>
                        </a:cubicBezTo>
                        <a:cubicBezTo>
                          <a:pt x="735" y="142"/>
                          <a:pt x="759" y="150"/>
                          <a:pt x="775" y="166"/>
                        </a:cubicBezTo>
                        <a:cubicBezTo>
                          <a:pt x="791" y="174"/>
                          <a:pt x="775" y="181"/>
                          <a:pt x="767" y="190"/>
                        </a:cubicBezTo>
                        <a:cubicBezTo>
                          <a:pt x="751" y="197"/>
                          <a:pt x="759" y="205"/>
                          <a:pt x="759" y="205"/>
                        </a:cubicBezTo>
                        <a:cubicBezTo>
                          <a:pt x="751" y="237"/>
                          <a:pt x="791" y="292"/>
                          <a:pt x="822" y="316"/>
                        </a:cubicBezTo>
                        <a:cubicBezTo>
                          <a:pt x="846" y="332"/>
                          <a:pt x="830" y="348"/>
                          <a:pt x="830" y="379"/>
                        </a:cubicBezTo>
                        <a:cubicBezTo>
                          <a:pt x="830" y="411"/>
                          <a:pt x="846" y="403"/>
                          <a:pt x="854" y="395"/>
                        </a:cubicBezTo>
                        <a:cubicBezTo>
                          <a:pt x="870" y="395"/>
                          <a:pt x="886" y="395"/>
                          <a:pt x="893" y="411"/>
                        </a:cubicBezTo>
                        <a:cubicBezTo>
                          <a:pt x="893" y="427"/>
                          <a:pt x="917" y="466"/>
                          <a:pt x="933" y="498"/>
                        </a:cubicBezTo>
                        <a:cubicBezTo>
                          <a:pt x="957" y="529"/>
                          <a:pt x="941" y="545"/>
                          <a:pt x="941" y="569"/>
                        </a:cubicBezTo>
                        <a:lnTo>
                          <a:pt x="2040" y="711"/>
                        </a:lnTo>
                      </a:path>
                    </a:pathLst>
                  </a:custGeom>
                  <a:solidFill>
                    <a:srgbClr val="44546A">
                      <a:lumMod val="75000"/>
                    </a:srgbClr>
                  </a:solidFill>
                  <a:ln>
                    <a:solidFill>
                      <a:srgbClr val="E7E6E6"/>
                    </a:solidFill>
                  </a:ln>
                  <a:effectLst/>
                </p:spPr>
                <p:txBody>
                  <a:bodyPr wrap="none" anchor="ctr"/>
                  <a:lstStyle/>
                  <a:p>
                    <a:pPr defTabSz="851306">
                      <a:defRPr/>
                    </a:pPr>
                    <a:endParaRPr lang="en-US" sz="1055" kern="0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376" name="Freeform 1061">
                    <a:extLst>
                      <a:ext uri="{FF2B5EF4-FFF2-40B4-BE49-F238E27FC236}">
                        <a16:creationId xmlns:a16="http://schemas.microsoft.com/office/drawing/2014/main" id="{4C2122ED-1DD7-8748-8792-0EFD9779CCD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rot="428662">
                    <a:off x="14247649" y="6075183"/>
                    <a:ext cx="515130" cy="373489"/>
                  </a:xfrm>
                  <a:custGeom>
                    <a:avLst/>
                    <a:gdLst>
                      <a:gd name="T0" fmla="*/ 31 w 388"/>
                      <a:gd name="T1" fmla="*/ 143 h 579"/>
                      <a:gd name="T2" fmla="*/ 86 w 388"/>
                      <a:gd name="T3" fmla="*/ 32 h 579"/>
                      <a:gd name="T4" fmla="*/ 173 w 388"/>
                      <a:gd name="T5" fmla="*/ 0 h 579"/>
                      <a:gd name="T6" fmla="*/ 387 w 388"/>
                      <a:gd name="T7" fmla="*/ 435 h 579"/>
                      <a:gd name="T8" fmla="*/ 150 w 388"/>
                      <a:gd name="T9" fmla="*/ 578 h 579"/>
                      <a:gd name="T10" fmla="*/ 0 w 388"/>
                      <a:gd name="T11" fmla="*/ 111 h 579"/>
                      <a:gd name="T12" fmla="*/ 31 w 388"/>
                      <a:gd name="T13" fmla="*/ 143 h 5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88" h="579">
                        <a:moveTo>
                          <a:pt x="31" y="143"/>
                        </a:moveTo>
                        <a:lnTo>
                          <a:pt x="86" y="32"/>
                        </a:lnTo>
                        <a:lnTo>
                          <a:pt x="173" y="0"/>
                        </a:lnTo>
                        <a:lnTo>
                          <a:pt x="387" y="435"/>
                        </a:lnTo>
                        <a:lnTo>
                          <a:pt x="150" y="578"/>
                        </a:lnTo>
                        <a:lnTo>
                          <a:pt x="0" y="111"/>
                        </a:lnTo>
                        <a:lnTo>
                          <a:pt x="31" y="143"/>
                        </a:lnTo>
                      </a:path>
                    </a:pathLst>
                  </a:custGeom>
                  <a:solidFill>
                    <a:srgbClr val="44546A">
                      <a:lumMod val="75000"/>
                    </a:srgbClr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defTabSz="851306">
                      <a:defRPr/>
                    </a:pPr>
                    <a:endParaRPr lang="en-US" sz="1055" kern="0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08FDF828-0045-1A47-A6F9-BC8CF3873D58}"/>
                  </a:ext>
                </a:extLst>
              </p:cNvPr>
              <p:cNvGrpSpPr/>
              <p:nvPr/>
            </p:nvGrpSpPr>
            <p:grpSpPr>
              <a:xfrm>
                <a:off x="8588967" y="5085460"/>
                <a:ext cx="264270" cy="269372"/>
                <a:chOff x="2758829" y="1898926"/>
                <a:chExt cx="817835" cy="833624"/>
              </a:xfrm>
            </p:grpSpPr>
            <p:sp>
              <p:nvSpPr>
                <p:cNvPr id="274" name="Teardrop 273">
                  <a:extLst>
                    <a:ext uri="{FF2B5EF4-FFF2-40B4-BE49-F238E27FC236}">
                      <a16:creationId xmlns:a16="http://schemas.microsoft.com/office/drawing/2014/main" id="{3FC9EE44-8E89-5F4C-8A97-2FD4D80EBE5D}"/>
                    </a:ext>
                  </a:extLst>
                </p:cNvPr>
                <p:cNvSpPr/>
                <p:nvPr/>
              </p:nvSpPr>
              <p:spPr bwMode="auto">
                <a:xfrm rot="8100000">
                  <a:off x="2766892" y="1898926"/>
                  <a:ext cx="809772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5" name="Picture 274">
                  <a:extLst>
                    <a:ext uri="{FF2B5EF4-FFF2-40B4-BE49-F238E27FC236}">
                      <a16:creationId xmlns:a16="http://schemas.microsoft.com/office/drawing/2014/main" id="{6C76A661-9AFE-3C4D-BCE6-6CE0E5C8111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58829" y="2063150"/>
                  <a:ext cx="795291" cy="659921"/>
                </a:xfrm>
                <a:prstGeom prst="rect">
                  <a:avLst/>
                </a:prstGeom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CC5701F7-3F77-1642-AA9C-37E3BD9A38E4}"/>
                  </a:ext>
                </a:extLst>
              </p:cNvPr>
              <p:cNvGrpSpPr/>
              <p:nvPr/>
            </p:nvGrpSpPr>
            <p:grpSpPr>
              <a:xfrm>
                <a:off x="4810616" y="5907146"/>
                <a:ext cx="263987" cy="269372"/>
                <a:chOff x="2790131" y="1614856"/>
                <a:chExt cx="816960" cy="833624"/>
              </a:xfrm>
            </p:grpSpPr>
            <p:sp>
              <p:nvSpPr>
                <p:cNvPr id="272" name="Teardrop 271">
                  <a:extLst>
                    <a:ext uri="{FF2B5EF4-FFF2-40B4-BE49-F238E27FC236}">
                      <a16:creationId xmlns:a16="http://schemas.microsoft.com/office/drawing/2014/main" id="{DDE4D6B3-0D8F-6649-B70C-94AEEF7F4B7F}"/>
                    </a:ext>
                  </a:extLst>
                </p:cNvPr>
                <p:cNvSpPr/>
                <p:nvPr/>
              </p:nvSpPr>
              <p:spPr bwMode="auto">
                <a:xfrm rot="8100000">
                  <a:off x="2797324" y="1614856"/>
                  <a:ext cx="809767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3" name="Picture 272">
                  <a:extLst>
                    <a:ext uri="{FF2B5EF4-FFF2-40B4-BE49-F238E27FC236}">
                      <a16:creationId xmlns:a16="http://schemas.microsoft.com/office/drawing/2014/main" id="{42095B3A-F420-C146-8E6C-09B79C49C5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90131" y="1717291"/>
                  <a:ext cx="795291" cy="659922"/>
                </a:xfrm>
                <a:prstGeom prst="rect">
                  <a:avLst/>
                </a:prstGeom>
              </p:spPr>
            </p:pic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D035D1D8-0470-BF40-8B05-3FFA4733BC62}"/>
                  </a:ext>
                </a:extLst>
              </p:cNvPr>
              <p:cNvGrpSpPr/>
              <p:nvPr/>
            </p:nvGrpSpPr>
            <p:grpSpPr>
              <a:xfrm>
                <a:off x="7150961" y="6280877"/>
                <a:ext cx="263987" cy="269372"/>
                <a:chOff x="2790131" y="1614856"/>
                <a:chExt cx="816960" cy="833624"/>
              </a:xfrm>
            </p:grpSpPr>
            <p:sp>
              <p:nvSpPr>
                <p:cNvPr id="270" name="Teardrop 269">
                  <a:extLst>
                    <a:ext uri="{FF2B5EF4-FFF2-40B4-BE49-F238E27FC236}">
                      <a16:creationId xmlns:a16="http://schemas.microsoft.com/office/drawing/2014/main" id="{29F9C239-2AF4-E944-906B-046B272D2308}"/>
                    </a:ext>
                  </a:extLst>
                </p:cNvPr>
                <p:cNvSpPr/>
                <p:nvPr/>
              </p:nvSpPr>
              <p:spPr bwMode="auto">
                <a:xfrm rot="8100000">
                  <a:off x="2797324" y="1614856"/>
                  <a:ext cx="809767" cy="833624"/>
                </a:xfrm>
                <a:prstGeom prst="teardrop">
                  <a:avLst/>
                </a:prstGeom>
                <a:solidFill>
                  <a:srgbClr val="0070C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71" name="Picture 270">
                  <a:extLst>
                    <a:ext uri="{FF2B5EF4-FFF2-40B4-BE49-F238E27FC236}">
                      <a16:creationId xmlns:a16="http://schemas.microsoft.com/office/drawing/2014/main" id="{DAEC8FB1-2449-1C4B-9CD4-C4FD7F2B84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90131" y="1717291"/>
                  <a:ext cx="795291" cy="659922"/>
                </a:xfrm>
                <a:prstGeom prst="rect">
                  <a:avLst/>
                </a:prstGeom>
              </p:spPr>
            </p:pic>
          </p:grp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89C9A16-7086-5B41-BD75-015B7749D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395356" flipH="1">
                <a:off x="9411487" y="7479262"/>
                <a:ext cx="116395" cy="35159"/>
              </a:xfrm>
              <a:custGeom>
                <a:avLst/>
                <a:gdLst>
                  <a:gd name="T0" fmla="*/ 135 w 151"/>
                  <a:gd name="T1" fmla="*/ 16 h 104"/>
                  <a:gd name="T2" fmla="*/ 135 w 151"/>
                  <a:gd name="T3" fmla="*/ 16 h 104"/>
                  <a:gd name="T4" fmla="*/ 135 w 151"/>
                  <a:gd name="T5" fmla="*/ 32 h 104"/>
                  <a:gd name="T6" fmla="*/ 111 w 151"/>
                  <a:gd name="T7" fmla="*/ 40 h 104"/>
                  <a:gd name="T8" fmla="*/ 63 w 151"/>
                  <a:gd name="T9" fmla="*/ 56 h 104"/>
                  <a:gd name="T10" fmla="*/ 8 w 151"/>
                  <a:gd name="T11" fmla="*/ 80 h 104"/>
                  <a:gd name="T12" fmla="*/ 32 w 151"/>
                  <a:gd name="T13" fmla="*/ 95 h 104"/>
                  <a:gd name="T14" fmla="*/ 79 w 151"/>
                  <a:gd name="T15" fmla="*/ 72 h 104"/>
                  <a:gd name="T16" fmla="*/ 119 w 151"/>
                  <a:gd name="T17" fmla="*/ 56 h 104"/>
                  <a:gd name="T18" fmla="*/ 127 w 151"/>
                  <a:gd name="T19" fmla="*/ 48 h 104"/>
                  <a:gd name="T20" fmla="*/ 142 w 151"/>
                  <a:gd name="T21" fmla="*/ 32 h 104"/>
                  <a:gd name="T22" fmla="*/ 150 w 151"/>
                  <a:gd name="T23" fmla="*/ 24 h 104"/>
                  <a:gd name="T24" fmla="*/ 135 w 151"/>
                  <a:gd name="T25" fmla="*/ 1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1" h="104">
                    <a:moveTo>
                      <a:pt x="135" y="16"/>
                    </a:moveTo>
                    <a:lnTo>
                      <a:pt x="135" y="16"/>
                    </a:lnTo>
                    <a:cubicBezTo>
                      <a:pt x="135" y="16"/>
                      <a:pt x="135" y="24"/>
                      <a:pt x="135" y="32"/>
                    </a:cubicBezTo>
                    <a:cubicBezTo>
                      <a:pt x="135" y="40"/>
                      <a:pt x="127" y="40"/>
                      <a:pt x="111" y="40"/>
                    </a:cubicBezTo>
                    <a:cubicBezTo>
                      <a:pt x="95" y="40"/>
                      <a:pt x="71" y="48"/>
                      <a:pt x="63" y="56"/>
                    </a:cubicBezTo>
                    <a:cubicBezTo>
                      <a:pt x="47" y="72"/>
                      <a:pt x="8" y="72"/>
                      <a:pt x="8" y="80"/>
                    </a:cubicBezTo>
                    <a:cubicBezTo>
                      <a:pt x="16" y="87"/>
                      <a:pt x="0" y="95"/>
                      <a:pt x="32" y="95"/>
                    </a:cubicBezTo>
                    <a:cubicBezTo>
                      <a:pt x="63" y="103"/>
                      <a:pt x="63" y="72"/>
                      <a:pt x="79" y="72"/>
                    </a:cubicBezTo>
                    <a:cubicBezTo>
                      <a:pt x="103" y="72"/>
                      <a:pt x="119" y="64"/>
                      <a:pt x="119" y="56"/>
                    </a:cubicBezTo>
                    <a:cubicBezTo>
                      <a:pt x="119" y="48"/>
                      <a:pt x="119" y="48"/>
                      <a:pt x="127" y="48"/>
                    </a:cubicBezTo>
                    <a:cubicBezTo>
                      <a:pt x="135" y="48"/>
                      <a:pt x="142" y="32"/>
                      <a:pt x="142" y="32"/>
                    </a:cubicBezTo>
                    <a:cubicBezTo>
                      <a:pt x="150" y="32"/>
                      <a:pt x="150" y="32"/>
                      <a:pt x="150" y="24"/>
                    </a:cubicBezTo>
                    <a:cubicBezTo>
                      <a:pt x="150" y="16"/>
                      <a:pt x="142" y="0"/>
                      <a:pt x="135" y="16"/>
                    </a:cubicBezTo>
                  </a:path>
                </a:pathLst>
              </a:custGeom>
              <a:solidFill>
                <a:srgbClr val="44546A">
                  <a:lumMod val="75000"/>
                </a:srgbClr>
              </a:solidFill>
              <a:ln>
                <a:solidFill>
                  <a:srgbClr val="44546A">
                    <a:lumMod val="75000"/>
                  </a:srgbClr>
                </a:solidFill>
              </a:ln>
              <a:effectLst/>
            </p:spPr>
            <p:txBody>
              <a:bodyPr wrap="none" anchor="ctr"/>
              <a:lstStyle/>
              <a:p>
                <a:pPr defTabSz="851306">
                  <a:defRPr/>
                </a:pPr>
                <a:endParaRPr lang="en-US" sz="1055" kern="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D9C1B7F6-8140-C249-81D5-35BB86C5C795}"/>
                  </a:ext>
                </a:extLst>
              </p:cNvPr>
              <p:cNvGrpSpPr/>
              <p:nvPr/>
            </p:nvGrpSpPr>
            <p:grpSpPr>
              <a:xfrm>
                <a:off x="4892940" y="4049952"/>
                <a:ext cx="146497" cy="152357"/>
                <a:chOff x="5383925" y="5263569"/>
                <a:chExt cx="809767" cy="833624"/>
              </a:xfrm>
            </p:grpSpPr>
            <p:sp>
              <p:nvSpPr>
                <p:cNvPr id="266" name="Teardrop 265">
                  <a:extLst>
                    <a:ext uri="{FF2B5EF4-FFF2-40B4-BE49-F238E27FC236}">
                      <a16:creationId xmlns:a16="http://schemas.microsoft.com/office/drawing/2014/main" id="{D85EC411-379C-644B-8B0C-07704C1BDE5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7" name="Picture 266">
                  <a:extLst>
                    <a:ext uri="{FF2B5EF4-FFF2-40B4-BE49-F238E27FC236}">
                      <a16:creationId xmlns:a16="http://schemas.microsoft.com/office/drawing/2014/main" id="{3C12B3A0-6FA6-DB4F-A0D0-8A9C2290E4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15BB9330-9B55-E749-8A12-DEA0FB27FF4C}"/>
                  </a:ext>
                </a:extLst>
              </p:cNvPr>
              <p:cNvGrpSpPr/>
              <p:nvPr/>
            </p:nvGrpSpPr>
            <p:grpSpPr>
              <a:xfrm>
                <a:off x="5240322" y="4132284"/>
                <a:ext cx="146497" cy="152357"/>
                <a:chOff x="5383925" y="5263569"/>
                <a:chExt cx="809767" cy="833624"/>
              </a:xfrm>
            </p:grpSpPr>
            <p:sp>
              <p:nvSpPr>
                <p:cNvPr id="264" name="Teardrop 263">
                  <a:extLst>
                    <a:ext uri="{FF2B5EF4-FFF2-40B4-BE49-F238E27FC236}">
                      <a16:creationId xmlns:a16="http://schemas.microsoft.com/office/drawing/2014/main" id="{D82DEF24-12F2-C24F-A147-207539AB0A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5" name="Picture 264">
                  <a:extLst>
                    <a:ext uri="{FF2B5EF4-FFF2-40B4-BE49-F238E27FC236}">
                      <a16:creationId xmlns:a16="http://schemas.microsoft.com/office/drawing/2014/main" id="{08F90BC2-F196-9644-93DE-D76C40DF2A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951EAE3-AE15-FA40-B832-CE7554A0D0CB}"/>
                  </a:ext>
                </a:extLst>
              </p:cNvPr>
              <p:cNvGrpSpPr/>
              <p:nvPr/>
            </p:nvGrpSpPr>
            <p:grpSpPr>
              <a:xfrm>
                <a:off x="4743351" y="4376609"/>
                <a:ext cx="146497" cy="152357"/>
                <a:chOff x="5383925" y="5263569"/>
                <a:chExt cx="809767" cy="833624"/>
              </a:xfrm>
            </p:grpSpPr>
            <p:sp>
              <p:nvSpPr>
                <p:cNvPr id="262" name="Teardrop 261">
                  <a:extLst>
                    <a:ext uri="{FF2B5EF4-FFF2-40B4-BE49-F238E27FC236}">
                      <a16:creationId xmlns:a16="http://schemas.microsoft.com/office/drawing/2014/main" id="{05C1C643-D30E-AE42-82DB-28E52F7BF4E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3" name="Picture 262">
                  <a:extLst>
                    <a:ext uri="{FF2B5EF4-FFF2-40B4-BE49-F238E27FC236}">
                      <a16:creationId xmlns:a16="http://schemas.microsoft.com/office/drawing/2014/main" id="{D7FB1F3E-F6E9-1249-9F48-019B12225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4CBCC5B-2CE6-0A48-938E-69AF88276D4C}"/>
                  </a:ext>
                </a:extLst>
              </p:cNvPr>
              <p:cNvGrpSpPr/>
              <p:nvPr/>
            </p:nvGrpSpPr>
            <p:grpSpPr>
              <a:xfrm>
                <a:off x="5261764" y="4696463"/>
                <a:ext cx="146497" cy="152357"/>
                <a:chOff x="5383925" y="5263569"/>
                <a:chExt cx="809767" cy="833624"/>
              </a:xfrm>
            </p:grpSpPr>
            <p:sp>
              <p:nvSpPr>
                <p:cNvPr id="260" name="Teardrop 259">
                  <a:extLst>
                    <a:ext uri="{FF2B5EF4-FFF2-40B4-BE49-F238E27FC236}">
                      <a16:creationId xmlns:a16="http://schemas.microsoft.com/office/drawing/2014/main" id="{412B0D30-3FCC-1740-B70E-84F07B6B854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61" name="Picture 260">
                  <a:extLst>
                    <a:ext uri="{FF2B5EF4-FFF2-40B4-BE49-F238E27FC236}">
                      <a16:creationId xmlns:a16="http://schemas.microsoft.com/office/drawing/2014/main" id="{CBA09D1E-A8BD-C94D-838C-A5B8484537D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C2669A28-3505-EF40-A93D-8CB5DAEFE3FA}"/>
                  </a:ext>
                </a:extLst>
              </p:cNvPr>
              <p:cNvGrpSpPr/>
              <p:nvPr/>
            </p:nvGrpSpPr>
            <p:grpSpPr>
              <a:xfrm>
                <a:off x="5588700" y="5181339"/>
                <a:ext cx="146497" cy="152357"/>
                <a:chOff x="5383925" y="5263569"/>
                <a:chExt cx="809767" cy="833624"/>
              </a:xfrm>
            </p:grpSpPr>
            <p:sp>
              <p:nvSpPr>
                <p:cNvPr id="258" name="Teardrop 257">
                  <a:extLst>
                    <a:ext uri="{FF2B5EF4-FFF2-40B4-BE49-F238E27FC236}">
                      <a16:creationId xmlns:a16="http://schemas.microsoft.com/office/drawing/2014/main" id="{5CA51FDE-D536-7B41-A239-FA027393B34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9" name="Picture 258">
                  <a:extLst>
                    <a:ext uri="{FF2B5EF4-FFF2-40B4-BE49-F238E27FC236}">
                      <a16:creationId xmlns:a16="http://schemas.microsoft.com/office/drawing/2014/main" id="{F0EB23BF-AD60-BD4A-8A46-50866D4179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B6C3BCA2-5E4F-FF46-AA82-55B6772983EC}"/>
                  </a:ext>
                </a:extLst>
              </p:cNvPr>
              <p:cNvGrpSpPr/>
              <p:nvPr/>
            </p:nvGrpSpPr>
            <p:grpSpPr>
              <a:xfrm>
                <a:off x="4651129" y="5360305"/>
                <a:ext cx="146497" cy="152357"/>
                <a:chOff x="5889376" y="5712839"/>
                <a:chExt cx="809767" cy="833624"/>
              </a:xfrm>
            </p:grpSpPr>
            <p:sp>
              <p:nvSpPr>
                <p:cNvPr id="256" name="Teardrop 255">
                  <a:extLst>
                    <a:ext uri="{FF2B5EF4-FFF2-40B4-BE49-F238E27FC236}">
                      <a16:creationId xmlns:a16="http://schemas.microsoft.com/office/drawing/2014/main" id="{A358044F-BCDA-7E42-8B3E-2EFC8FA8EFAA}"/>
                    </a:ext>
                  </a:extLst>
                </p:cNvPr>
                <p:cNvSpPr/>
                <p:nvPr/>
              </p:nvSpPr>
              <p:spPr bwMode="auto">
                <a:xfrm rot="8100000">
                  <a:off x="5889376" y="571283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7" name="Picture 256">
                  <a:extLst>
                    <a:ext uri="{FF2B5EF4-FFF2-40B4-BE49-F238E27FC236}">
                      <a16:creationId xmlns:a16="http://schemas.microsoft.com/office/drawing/2014/main" id="{3885CEDB-1BE1-B14E-8C6A-E93D90A811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919622" y="5745344"/>
                  <a:ext cx="745986" cy="745982"/>
                </a:xfrm>
                <a:prstGeom prst="rect">
                  <a:avLst/>
                </a:prstGeom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26A05DB8-463B-A44C-8D7D-4FF17CA9DACD}"/>
                  </a:ext>
                </a:extLst>
              </p:cNvPr>
              <p:cNvGrpSpPr/>
              <p:nvPr/>
            </p:nvGrpSpPr>
            <p:grpSpPr>
              <a:xfrm>
                <a:off x="4493283" y="5438818"/>
                <a:ext cx="181601" cy="183782"/>
                <a:chOff x="5283679" y="5880084"/>
                <a:chExt cx="1003805" cy="1005568"/>
              </a:xfrm>
            </p:grpSpPr>
            <p:sp>
              <p:nvSpPr>
                <p:cNvPr id="254" name="Teardrop 253">
                  <a:extLst>
                    <a:ext uri="{FF2B5EF4-FFF2-40B4-BE49-F238E27FC236}">
                      <a16:creationId xmlns:a16="http://schemas.microsoft.com/office/drawing/2014/main" id="{8697BD70-AE3F-AD40-A6A0-F671667E5D3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8000" y="5880084"/>
                  <a:ext cx="809770" cy="833627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5" name="Picture 254">
                  <a:extLst>
                    <a:ext uri="{FF2B5EF4-FFF2-40B4-BE49-F238E27FC236}">
                      <a16:creationId xmlns:a16="http://schemas.microsoft.com/office/drawing/2014/main" id="{A0713FF9-5989-E041-80A3-34472115C7E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283680" y="5881848"/>
                  <a:ext cx="1003803" cy="1003805"/>
                </a:xfrm>
                <a:prstGeom prst="rect">
                  <a:avLst/>
                </a:prstGeom>
              </p:spPr>
            </p:pic>
          </p:grp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8CD9E262-B4A2-4C43-87DC-1965CC46E8DF}"/>
                  </a:ext>
                </a:extLst>
              </p:cNvPr>
              <p:cNvGrpSpPr/>
              <p:nvPr/>
            </p:nvGrpSpPr>
            <p:grpSpPr>
              <a:xfrm>
                <a:off x="4700743" y="5537906"/>
                <a:ext cx="146497" cy="152357"/>
                <a:chOff x="5383925" y="5263569"/>
                <a:chExt cx="809767" cy="833624"/>
              </a:xfrm>
            </p:grpSpPr>
            <p:sp>
              <p:nvSpPr>
                <p:cNvPr id="250" name="Teardrop 249">
                  <a:extLst>
                    <a:ext uri="{FF2B5EF4-FFF2-40B4-BE49-F238E27FC236}">
                      <a16:creationId xmlns:a16="http://schemas.microsoft.com/office/drawing/2014/main" id="{1D253DDA-9D5F-8948-9835-6B508920062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51" name="Picture 250">
                  <a:extLst>
                    <a:ext uri="{FF2B5EF4-FFF2-40B4-BE49-F238E27FC236}">
                      <a16:creationId xmlns:a16="http://schemas.microsoft.com/office/drawing/2014/main" id="{D7CED8B7-1AC7-3A4F-BFFE-45F0704A1C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EBD20493-9ACD-2349-8106-271611070DEA}"/>
                  </a:ext>
                </a:extLst>
              </p:cNvPr>
              <p:cNvGrpSpPr/>
              <p:nvPr/>
            </p:nvGrpSpPr>
            <p:grpSpPr>
              <a:xfrm>
                <a:off x="4611752" y="5824867"/>
                <a:ext cx="146497" cy="152357"/>
                <a:chOff x="5383925" y="5263569"/>
                <a:chExt cx="809767" cy="833624"/>
              </a:xfrm>
            </p:grpSpPr>
            <p:sp>
              <p:nvSpPr>
                <p:cNvPr id="248" name="Teardrop 247">
                  <a:extLst>
                    <a:ext uri="{FF2B5EF4-FFF2-40B4-BE49-F238E27FC236}">
                      <a16:creationId xmlns:a16="http://schemas.microsoft.com/office/drawing/2014/main" id="{18B1C24F-FB1C-044C-B382-54C9E0A851F1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9" name="Picture 248">
                  <a:extLst>
                    <a:ext uri="{FF2B5EF4-FFF2-40B4-BE49-F238E27FC236}">
                      <a16:creationId xmlns:a16="http://schemas.microsoft.com/office/drawing/2014/main" id="{E9AF5F45-CB1F-3243-B73B-2048365B24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C1E481B1-D936-294D-A969-C5C21CFE0AE0}"/>
                  </a:ext>
                </a:extLst>
              </p:cNvPr>
              <p:cNvGrpSpPr/>
              <p:nvPr/>
            </p:nvGrpSpPr>
            <p:grpSpPr>
              <a:xfrm>
                <a:off x="4708177" y="5791075"/>
                <a:ext cx="146497" cy="152357"/>
                <a:chOff x="5383925" y="5263569"/>
                <a:chExt cx="809767" cy="833624"/>
              </a:xfrm>
            </p:grpSpPr>
            <p:sp>
              <p:nvSpPr>
                <p:cNvPr id="246" name="Teardrop 245">
                  <a:extLst>
                    <a:ext uri="{FF2B5EF4-FFF2-40B4-BE49-F238E27FC236}">
                      <a16:creationId xmlns:a16="http://schemas.microsoft.com/office/drawing/2014/main" id="{A236A98F-12BB-1843-BB4D-BE99F2A6C0D8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7" name="Picture 246">
                  <a:extLst>
                    <a:ext uri="{FF2B5EF4-FFF2-40B4-BE49-F238E27FC236}">
                      <a16:creationId xmlns:a16="http://schemas.microsoft.com/office/drawing/2014/main" id="{8F6DC1AB-DDF5-BD4A-85C7-A0EFF337A6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BA64D0A8-34C1-9142-A064-C4977C3796C6}"/>
                  </a:ext>
                </a:extLst>
              </p:cNvPr>
              <p:cNvGrpSpPr/>
              <p:nvPr/>
            </p:nvGrpSpPr>
            <p:grpSpPr>
              <a:xfrm>
                <a:off x="4914014" y="6207128"/>
                <a:ext cx="209494" cy="172848"/>
                <a:chOff x="6598685" y="7056366"/>
                <a:chExt cx="1157981" cy="945744"/>
              </a:xfrm>
            </p:grpSpPr>
            <p:sp>
              <p:nvSpPr>
                <p:cNvPr id="244" name="Teardrop 243">
                  <a:extLst>
                    <a:ext uri="{FF2B5EF4-FFF2-40B4-BE49-F238E27FC236}">
                      <a16:creationId xmlns:a16="http://schemas.microsoft.com/office/drawing/2014/main" id="{E3BC99BF-148B-B749-AE46-9E0EEB392452}"/>
                    </a:ext>
                  </a:extLst>
                </p:cNvPr>
                <p:cNvSpPr/>
                <p:nvPr/>
              </p:nvSpPr>
              <p:spPr bwMode="auto">
                <a:xfrm rot="8100000">
                  <a:off x="6785850" y="7112195"/>
                  <a:ext cx="809767" cy="833621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5" name="Picture 244">
                  <a:extLst>
                    <a:ext uri="{FF2B5EF4-FFF2-40B4-BE49-F238E27FC236}">
                      <a16:creationId xmlns:a16="http://schemas.microsoft.com/office/drawing/2014/main" id="{5BE00990-360D-8D4B-B4B3-E471F519D6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 flipH="1">
                  <a:off x="6704804" y="6950247"/>
                  <a:ext cx="945744" cy="1157981"/>
                </a:xfrm>
                <a:prstGeom prst="rect">
                  <a:avLst/>
                </a:prstGeom>
              </p:spPr>
            </p:pic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16C61407-3843-1446-9AC2-1565F38CB2CC}"/>
                  </a:ext>
                </a:extLst>
              </p:cNvPr>
              <p:cNvGrpSpPr/>
              <p:nvPr/>
            </p:nvGrpSpPr>
            <p:grpSpPr>
              <a:xfrm>
                <a:off x="5402821" y="6117593"/>
                <a:ext cx="146497" cy="152357"/>
                <a:chOff x="5383925" y="5263569"/>
                <a:chExt cx="809767" cy="833624"/>
              </a:xfrm>
            </p:grpSpPr>
            <p:sp>
              <p:nvSpPr>
                <p:cNvPr id="242" name="Teardrop 241">
                  <a:extLst>
                    <a:ext uri="{FF2B5EF4-FFF2-40B4-BE49-F238E27FC236}">
                      <a16:creationId xmlns:a16="http://schemas.microsoft.com/office/drawing/2014/main" id="{A677B7DB-E82F-D942-ACBE-AC4128B7103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3" name="Picture 242">
                  <a:extLst>
                    <a:ext uri="{FF2B5EF4-FFF2-40B4-BE49-F238E27FC236}">
                      <a16:creationId xmlns:a16="http://schemas.microsoft.com/office/drawing/2014/main" id="{8E4ADA7C-F322-094A-847E-4B7018925E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6A559585-C27C-704A-8439-42F874307860}"/>
                  </a:ext>
                </a:extLst>
              </p:cNvPr>
              <p:cNvGrpSpPr/>
              <p:nvPr/>
            </p:nvGrpSpPr>
            <p:grpSpPr>
              <a:xfrm>
                <a:off x="5567769" y="6279664"/>
                <a:ext cx="146497" cy="152357"/>
                <a:chOff x="5383925" y="5263569"/>
                <a:chExt cx="809767" cy="833624"/>
              </a:xfrm>
            </p:grpSpPr>
            <p:sp>
              <p:nvSpPr>
                <p:cNvPr id="240" name="Teardrop 239">
                  <a:extLst>
                    <a:ext uri="{FF2B5EF4-FFF2-40B4-BE49-F238E27FC236}">
                      <a16:creationId xmlns:a16="http://schemas.microsoft.com/office/drawing/2014/main" id="{CE6DE827-031A-9144-A4B6-B6BD73A5C81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41" name="Picture 240">
                  <a:extLst>
                    <a:ext uri="{FF2B5EF4-FFF2-40B4-BE49-F238E27FC236}">
                      <a16:creationId xmlns:a16="http://schemas.microsoft.com/office/drawing/2014/main" id="{08C67FCB-6C24-1247-9F27-D31E481E62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007471D8-A564-F444-92D2-410F7697CB39}"/>
                  </a:ext>
                </a:extLst>
              </p:cNvPr>
              <p:cNvGrpSpPr/>
              <p:nvPr/>
            </p:nvGrpSpPr>
            <p:grpSpPr>
              <a:xfrm>
                <a:off x="5989896" y="6001134"/>
                <a:ext cx="146497" cy="152357"/>
                <a:chOff x="5383925" y="5263569"/>
                <a:chExt cx="809767" cy="833624"/>
              </a:xfrm>
            </p:grpSpPr>
            <p:sp>
              <p:nvSpPr>
                <p:cNvPr id="238" name="Teardrop 237">
                  <a:extLst>
                    <a:ext uri="{FF2B5EF4-FFF2-40B4-BE49-F238E27FC236}">
                      <a16:creationId xmlns:a16="http://schemas.microsoft.com/office/drawing/2014/main" id="{84080E25-90D9-374A-9F5B-01321DE299E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9" name="Picture 238">
                  <a:extLst>
                    <a:ext uri="{FF2B5EF4-FFF2-40B4-BE49-F238E27FC236}">
                      <a16:creationId xmlns:a16="http://schemas.microsoft.com/office/drawing/2014/main" id="{C7796F6A-893F-A54E-BD20-46DC29C6EFD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9726D085-CA41-124E-8AE4-F514DC895A61}"/>
                  </a:ext>
                </a:extLst>
              </p:cNvPr>
              <p:cNvGrpSpPr/>
              <p:nvPr/>
            </p:nvGrpSpPr>
            <p:grpSpPr>
              <a:xfrm>
                <a:off x="6316904" y="5422959"/>
                <a:ext cx="146497" cy="152357"/>
                <a:chOff x="5383925" y="5263569"/>
                <a:chExt cx="809767" cy="833624"/>
              </a:xfrm>
            </p:grpSpPr>
            <p:sp>
              <p:nvSpPr>
                <p:cNvPr id="236" name="Teardrop 235">
                  <a:extLst>
                    <a:ext uri="{FF2B5EF4-FFF2-40B4-BE49-F238E27FC236}">
                      <a16:creationId xmlns:a16="http://schemas.microsoft.com/office/drawing/2014/main" id="{3CB573B3-1AB9-AB4C-B528-0C769222689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7" name="Picture 236">
                  <a:extLst>
                    <a:ext uri="{FF2B5EF4-FFF2-40B4-BE49-F238E27FC236}">
                      <a16:creationId xmlns:a16="http://schemas.microsoft.com/office/drawing/2014/main" id="{035CE842-9591-2641-82EF-4A75E04011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D4F51CFA-14CD-7C4F-86C5-13C5F43D3FFB}"/>
                  </a:ext>
                </a:extLst>
              </p:cNvPr>
              <p:cNvGrpSpPr/>
              <p:nvPr/>
            </p:nvGrpSpPr>
            <p:grpSpPr>
              <a:xfrm>
                <a:off x="6838358" y="6768501"/>
                <a:ext cx="146497" cy="152357"/>
                <a:chOff x="5383925" y="5263569"/>
                <a:chExt cx="809767" cy="833624"/>
              </a:xfrm>
            </p:grpSpPr>
            <p:sp>
              <p:nvSpPr>
                <p:cNvPr id="234" name="Teardrop 233">
                  <a:extLst>
                    <a:ext uri="{FF2B5EF4-FFF2-40B4-BE49-F238E27FC236}">
                      <a16:creationId xmlns:a16="http://schemas.microsoft.com/office/drawing/2014/main" id="{16B323E3-CCFF-0844-8FD0-97CCA6A05B9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5" name="Picture 234">
                  <a:extLst>
                    <a:ext uri="{FF2B5EF4-FFF2-40B4-BE49-F238E27FC236}">
                      <a16:creationId xmlns:a16="http://schemas.microsoft.com/office/drawing/2014/main" id="{14DBF0E7-A194-144C-9C9E-414CF989F5A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6FCF2007-AA62-454E-A673-3FFDA1306A85}"/>
                  </a:ext>
                </a:extLst>
              </p:cNvPr>
              <p:cNvGrpSpPr/>
              <p:nvPr/>
            </p:nvGrpSpPr>
            <p:grpSpPr>
              <a:xfrm>
                <a:off x="6956281" y="6648339"/>
                <a:ext cx="146497" cy="152357"/>
                <a:chOff x="5383925" y="5263569"/>
                <a:chExt cx="809767" cy="833624"/>
              </a:xfrm>
            </p:grpSpPr>
            <p:sp>
              <p:nvSpPr>
                <p:cNvPr id="232" name="Teardrop 231">
                  <a:extLst>
                    <a:ext uri="{FF2B5EF4-FFF2-40B4-BE49-F238E27FC236}">
                      <a16:creationId xmlns:a16="http://schemas.microsoft.com/office/drawing/2014/main" id="{62B8FBAE-0752-8140-B780-C5648C906299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3" name="Picture 232">
                  <a:extLst>
                    <a:ext uri="{FF2B5EF4-FFF2-40B4-BE49-F238E27FC236}">
                      <a16:creationId xmlns:a16="http://schemas.microsoft.com/office/drawing/2014/main" id="{7DEF821F-115C-DC46-8BAD-4B4B02FC74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5E1D0512-0E70-424D-8AE5-CE746CB69589}"/>
                  </a:ext>
                </a:extLst>
              </p:cNvPr>
              <p:cNvGrpSpPr/>
              <p:nvPr/>
            </p:nvGrpSpPr>
            <p:grpSpPr>
              <a:xfrm>
                <a:off x="7093023" y="6518705"/>
                <a:ext cx="146497" cy="152357"/>
                <a:chOff x="5383925" y="5263569"/>
                <a:chExt cx="809767" cy="833624"/>
              </a:xfrm>
            </p:grpSpPr>
            <p:sp>
              <p:nvSpPr>
                <p:cNvPr id="230" name="Teardrop 229">
                  <a:extLst>
                    <a:ext uri="{FF2B5EF4-FFF2-40B4-BE49-F238E27FC236}">
                      <a16:creationId xmlns:a16="http://schemas.microsoft.com/office/drawing/2014/main" id="{B59BB439-2A4A-A745-B118-2A718814C19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31" name="Picture 230">
                  <a:extLst>
                    <a:ext uri="{FF2B5EF4-FFF2-40B4-BE49-F238E27FC236}">
                      <a16:creationId xmlns:a16="http://schemas.microsoft.com/office/drawing/2014/main" id="{60639157-020D-6C43-911F-88DEF1FBEE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9B7D5E5-B437-1B4E-BDE2-1947E1CE38EF}"/>
                  </a:ext>
                </a:extLst>
              </p:cNvPr>
              <p:cNvGrpSpPr/>
              <p:nvPr/>
            </p:nvGrpSpPr>
            <p:grpSpPr>
              <a:xfrm>
                <a:off x="7079346" y="6368900"/>
                <a:ext cx="146497" cy="152357"/>
                <a:chOff x="5383925" y="5263569"/>
                <a:chExt cx="809767" cy="833624"/>
              </a:xfrm>
            </p:grpSpPr>
            <p:sp>
              <p:nvSpPr>
                <p:cNvPr id="228" name="Teardrop 227">
                  <a:extLst>
                    <a:ext uri="{FF2B5EF4-FFF2-40B4-BE49-F238E27FC236}">
                      <a16:creationId xmlns:a16="http://schemas.microsoft.com/office/drawing/2014/main" id="{5C6FE2E1-7986-FD4F-90D1-F46BB0531B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9" name="Picture 228">
                  <a:extLst>
                    <a:ext uri="{FF2B5EF4-FFF2-40B4-BE49-F238E27FC236}">
                      <a16:creationId xmlns:a16="http://schemas.microsoft.com/office/drawing/2014/main" id="{7606C454-4E7E-7F48-AB12-7BBEB4B5F5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48A99D7D-E5F1-934F-8E5F-B3B02D6023D6}"/>
                  </a:ext>
                </a:extLst>
              </p:cNvPr>
              <p:cNvGrpSpPr/>
              <p:nvPr/>
            </p:nvGrpSpPr>
            <p:grpSpPr>
              <a:xfrm>
                <a:off x="7330734" y="6768501"/>
                <a:ext cx="146497" cy="152357"/>
                <a:chOff x="5383925" y="5263569"/>
                <a:chExt cx="809767" cy="833624"/>
              </a:xfrm>
            </p:grpSpPr>
            <p:sp>
              <p:nvSpPr>
                <p:cNvPr id="226" name="Teardrop 225">
                  <a:extLst>
                    <a:ext uri="{FF2B5EF4-FFF2-40B4-BE49-F238E27FC236}">
                      <a16:creationId xmlns:a16="http://schemas.microsoft.com/office/drawing/2014/main" id="{448D2E9B-9899-454B-9106-73D93F5E6B1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7" name="Picture 226">
                  <a:extLst>
                    <a:ext uri="{FF2B5EF4-FFF2-40B4-BE49-F238E27FC236}">
                      <a16:creationId xmlns:a16="http://schemas.microsoft.com/office/drawing/2014/main" id="{B759E0FA-438D-9E40-AB2C-9C2D054AA51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E35EB778-09B2-8143-B427-83FCE8C3A6B8}"/>
                  </a:ext>
                </a:extLst>
              </p:cNvPr>
              <p:cNvGrpSpPr/>
              <p:nvPr/>
            </p:nvGrpSpPr>
            <p:grpSpPr>
              <a:xfrm>
                <a:off x="7044901" y="5991805"/>
                <a:ext cx="146497" cy="152357"/>
                <a:chOff x="5383925" y="5263569"/>
                <a:chExt cx="809767" cy="833624"/>
              </a:xfrm>
            </p:grpSpPr>
            <p:sp>
              <p:nvSpPr>
                <p:cNvPr id="224" name="Teardrop 223">
                  <a:extLst>
                    <a:ext uri="{FF2B5EF4-FFF2-40B4-BE49-F238E27FC236}">
                      <a16:creationId xmlns:a16="http://schemas.microsoft.com/office/drawing/2014/main" id="{EA2B54D5-2BDD-D14D-B124-AA84FDD9D41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5" name="Picture 224">
                  <a:extLst>
                    <a:ext uri="{FF2B5EF4-FFF2-40B4-BE49-F238E27FC236}">
                      <a16:creationId xmlns:a16="http://schemas.microsoft.com/office/drawing/2014/main" id="{BFAB7F7A-4F59-A547-A5AB-45DBC391B0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2E2680E6-688E-4C4B-9761-46770985E2E4}"/>
                  </a:ext>
                </a:extLst>
              </p:cNvPr>
              <p:cNvGrpSpPr/>
              <p:nvPr/>
            </p:nvGrpSpPr>
            <p:grpSpPr>
              <a:xfrm>
                <a:off x="7514487" y="6278575"/>
                <a:ext cx="146497" cy="152357"/>
                <a:chOff x="5383925" y="5263569"/>
                <a:chExt cx="809767" cy="833624"/>
              </a:xfrm>
            </p:grpSpPr>
            <p:sp>
              <p:nvSpPr>
                <p:cNvPr id="222" name="Teardrop 221">
                  <a:extLst>
                    <a:ext uri="{FF2B5EF4-FFF2-40B4-BE49-F238E27FC236}">
                      <a16:creationId xmlns:a16="http://schemas.microsoft.com/office/drawing/2014/main" id="{7348E4CE-CAA1-5A47-AF32-00595230C27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3" name="Picture 222">
                  <a:extLst>
                    <a:ext uri="{FF2B5EF4-FFF2-40B4-BE49-F238E27FC236}">
                      <a16:creationId xmlns:a16="http://schemas.microsoft.com/office/drawing/2014/main" id="{F787BD18-5AA2-E44C-9CFF-781ECFB665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21BBCA62-3132-7A4D-A9B2-6620DBBB9D3F}"/>
                  </a:ext>
                </a:extLst>
              </p:cNvPr>
              <p:cNvGrpSpPr/>
              <p:nvPr/>
            </p:nvGrpSpPr>
            <p:grpSpPr>
              <a:xfrm>
                <a:off x="7528268" y="6421032"/>
                <a:ext cx="146497" cy="152357"/>
                <a:chOff x="5383925" y="5263569"/>
                <a:chExt cx="809767" cy="833624"/>
              </a:xfrm>
            </p:grpSpPr>
            <p:sp>
              <p:nvSpPr>
                <p:cNvPr id="220" name="Teardrop 219">
                  <a:extLst>
                    <a:ext uri="{FF2B5EF4-FFF2-40B4-BE49-F238E27FC236}">
                      <a16:creationId xmlns:a16="http://schemas.microsoft.com/office/drawing/2014/main" id="{E12AE7CA-1A2A-4F46-95C7-2084369ED3C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21" name="Picture 220">
                  <a:extLst>
                    <a:ext uri="{FF2B5EF4-FFF2-40B4-BE49-F238E27FC236}">
                      <a16:creationId xmlns:a16="http://schemas.microsoft.com/office/drawing/2014/main" id="{CBB59391-072A-6E4A-912C-BC45AAF0B1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DA96A229-DA3E-8346-9715-F1F9F8BBBB17}"/>
                  </a:ext>
                </a:extLst>
              </p:cNvPr>
              <p:cNvGrpSpPr/>
              <p:nvPr/>
            </p:nvGrpSpPr>
            <p:grpSpPr>
              <a:xfrm>
                <a:off x="7965189" y="6762159"/>
                <a:ext cx="146497" cy="152357"/>
                <a:chOff x="5383925" y="5263569"/>
                <a:chExt cx="809767" cy="833624"/>
              </a:xfrm>
            </p:grpSpPr>
            <p:sp>
              <p:nvSpPr>
                <p:cNvPr id="218" name="Teardrop 217">
                  <a:extLst>
                    <a:ext uri="{FF2B5EF4-FFF2-40B4-BE49-F238E27FC236}">
                      <a16:creationId xmlns:a16="http://schemas.microsoft.com/office/drawing/2014/main" id="{60A00E95-4AFF-9546-B00A-BB4F65FC005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9" name="Picture 218">
                  <a:extLst>
                    <a:ext uri="{FF2B5EF4-FFF2-40B4-BE49-F238E27FC236}">
                      <a16:creationId xmlns:a16="http://schemas.microsoft.com/office/drawing/2014/main" id="{F54476FF-0078-884A-A9C5-36C7CA47DB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60219B46-0A12-9949-9BA2-EE5A10296C17}"/>
                  </a:ext>
                </a:extLst>
              </p:cNvPr>
              <p:cNvGrpSpPr/>
              <p:nvPr/>
            </p:nvGrpSpPr>
            <p:grpSpPr>
              <a:xfrm>
                <a:off x="7664574" y="6094686"/>
                <a:ext cx="146497" cy="152357"/>
                <a:chOff x="5383925" y="5263569"/>
                <a:chExt cx="809767" cy="833624"/>
              </a:xfrm>
            </p:grpSpPr>
            <p:sp>
              <p:nvSpPr>
                <p:cNvPr id="216" name="Teardrop 215">
                  <a:extLst>
                    <a:ext uri="{FF2B5EF4-FFF2-40B4-BE49-F238E27FC236}">
                      <a16:creationId xmlns:a16="http://schemas.microsoft.com/office/drawing/2014/main" id="{85867876-AEDD-D644-9F16-820D14476FA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7" name="Picture 216">
                  <a:extLst>
                    <a:ext uri="{FF2B5EF4-FFF2-40B4-BE49-F238E27FC236}">
                      <a16:creationId xmlns:a16="http://schemas.microsoft.com/office/drawing/2014/main" id="{3ACEB0B1-DFFA-5145-8E35-F6782B163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9E9A9D79-7367-5C44-9C41-3817BB46BA5D}"/>
                  </a:ext>
                </a:extLst>
              </p:cNvPr>
              <p:cNvGrpSpPr/>
              <p:nvPr/>
            </p:nvGrpSpPr>
            <p:grpSpPr>
              <a:xfrm>
                <a:off x="7419574" y="5515411"/>
                <a:ext cx="146497" cy="152357"/>
                <a:chOff x="5383925" y="5263569"/>
                <a:chExt cx="809767" cy="833624"/>
              </a:xfrm>
            </p:grpSpPr>
            <p:sp>
              <p:nvSpPr>
                <p:cNvPr id="214" name="Teardrop 213">
                  <a:extLst>
                    <a:ext uri="{FF2B5EF4-FFF2-40B4-BE49-F238E27FC236}">
                      <a16:creationId xmlns:a16="http://schemas.microsoft.com/office/drawing/2014/main" id="{0BC56D5D-2826-5D45-BB12-B4E8006B6D6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5" name="Picture 214">
                  <a:extLst>
                    <a:ext uri="{FF2B5EF4-FFF2-40B4-BE49-F238E27FC236}">
                      <a16:creationId xmlns:a16="http://schemas.microsoft.com/office/drawing/2014/main" id="{355186FE-1429-7343-BD33-1FB7963C28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8E5A8F0E-F654-B642-AF0D-88653D0898FD}"/>
                  </a:ext>
                </a:extLst>
              </p:cNvPr>
              <p:cNvGrpSpPr/>
              <p:nvPr/>
            </p:nvGrpSpPr>
            <p:grpSpPr>
              <a:xfrm>
                <a:off x="7468254" y="4575099"/>
                <a:ext cx="146497" cy="152357"/>
                <a:chOff x="5383925" y="5263569"/>
                <a:chExt cx="809767" cy="833624"/>
              </a:xfrm>
            </p:grpSpPr>
            <p:sp>
              <p:nvSpPr>
                <p:cNvPr id="212" name="Teardrop 211">
                  <a:extLst>
                    <a:ext uri="{FF2B5EF4-FFF2-40B4-BE49-F238E27FC236}">
                      <a16:creationId xmlns:a16="http://schemas.microsoft.com/office/drawing/2014/main" id="{577754FD-DA17-374B-88B0-945DA85BA644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3" name="Picture 212">
                  <a:extLst>
                    <a:ext uri="{FF2B5EF4-FFF2-40B4-BE49-F238E27FC236}">
                      <a16:creationId xmlns:a16="http://schemas.microsoft.com/office/drawing/2014/main" id="{4CDF5DFF-1197-A041-BC5E-A09397B387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218FD464-8A4E-6B46-9C14-EF64E664FCF7}"/>
                  </a:ext>
                </a:extLst>
              </p:cNvPr>
              <p:cNvGrpSpPr/>
              <p:nvPr/>
            </p:nvGrpSpPr>
            <p:grpSpPr>
              <a:xfrm>
                <a:off x="7836564" y="5529038"/>
                <a:ext cx="146497" cy="152357"/>
                <a:chOff x="5383925" y="5263569"/>
                <a:chExt cx="809767" cy="833624"/>
              </a:xfrm>
            </p:grpSpPr>
            <p:sp>
              <p:nvSpPr>
                <p:cNvPr id="210" name="Teardrop 209">
                  <a:extLst>
                    <a:ext uri="{FF2B5EF4-FFF2-40B4-BE49-F238E27FC236}">
                      <a16:creationId xmlns:a16="http://schemas.microsoft.com/office/drawing/2014/main" id="{8CEA2ED2-275F-1248-B445-A8FC1B607E0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11" name="Picture 210">
                  <a:extLst>
                    <a:ext uri="{FF2B5EF4-FFF2-40B4-BE49-F238E27FC236}">
                      <a16:creationId xmlns:a16="http://schemas.microsoft.com/office/drawing/2014/main" id="{B93B15F8-8DC2-BC45-ACC0-ECE2CA62BA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8EF93216-ED66-8C4A-BA54-26B1581795E3}"/>
                  </a:ext>
                </a:extLst>
              </p:cNvPr>
              <p:cNvGrpSpPr/>
              <p:nvPr/>
            </p:nvGrpSpPr>
            <p:grpSpPr>
              <a:xfrm>
                <a:off x="7987190" y="4943366"/>
                <a:ext cx="146497" cy="152357"/>
                <a:chOff x="5383925" y="5263569"/>
                <a:chExt cx="809767" cy="833624"/>
              </a:xfrm>
            </p:grpSpPr>
            <p:sp>
              <p:nvSpPr>
                <p:cNvPr id="208" name="Teardrop 207">
                  <a:extLst>
                    <a:ext uri="{FF2B5EF4-FFF2-40B4-BE49-F238E27FC236}">
                      <a16:creationId xmlns:a16="http://schemas.microsoft.com/office/drawing/2014/main" id="{FC1BF532-0CDB-F146-8349-B322ADEBDE2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9" name="Picture 208">
                  <a:extLst>
                    <a:ext uri="{FF2B5EF4-FFF2-40B4-BE49-F238E27FC236}">
                      <a16:creationId xmlns:a16="http://schemas.microsoft.com/office/drawing/2014/main" id="{15D521F6-4B4F-1C4C-8855-A0E51609BB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692993AA-F2DE-1043-B6B4-BC2446085584}"/>
                  </a:ext>
                </a:extLst>
              </p:cNvPr>
              <p:cNvGrpSpPr/>
              <p:nvPr/>
            </p:nvGrpSpPr>
            <p:grpSpPr>
              <a:xfrm>
                <a:off x="8028319" y="5140051"/>
                <a:ext cx="146497" cy="152357"/>
                <a:chOff x="5383925" y="5263569"/>
                <a:chExt cx="809767" cy="833624"/>
              </a:xfrm>
            </p:grpSpPr>
            <p:sp>
              <p:nvSpPr>
                <p:cNvPr id="206" name="Teardrop 205">
                  <a:extLst>
                    <a:ext uri="{FF2B5EF4-FFF2-40B4-BE49-F238E27FC236}">
                      <a16:creationId xmlns:a16="http://schemas.microsoft.com/office/drawing/2014/main" id="{2B6CC9DE-7AA2-1144-B7A4-7E73E9CF074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7" name="Picture 206">
                  <a:extLst>
                    <a:ext uri="{FF2B5EF4-FFF2-40B4-BE49-F238E27FC236}">
                      <a16:creationId xmlns:a16="http://schemas.microsoft.com/office/drawing/2014/main" id="{918CD4AF-4611-4848-8DA0-A3A2104646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0CEFF915-0A04-2F40-BC21-3E7CFD587400}"/>
                  </a:ext>
                </a:extLst>
              </p:cNvPr>
              <p:cNvGrpSpPr/>
              <p:nvPr/>
            </p:nvGrpSpPr>
            <p:grpSpPr>
              <a:xfrm>
                <a:off x="8245710" y="5344303"/>
                <a:ext cx="146497" cy="152357"/>
                <a:chOff x="5383925" y="5263569"/>
                <a:chExt cx="809767" cy="833624"/>
              </a:xfrm>
            </p:grpSpPr>
            <p:sp>
              <p:nvSpPr>
                <p:cNvPr id="204" name="Teardrop 203">
                  <a:extLst>
                    <a:ext uri="{FF2B5EF4-FFF2-40B4-BE49-F238E27FC236}">
                      <a16:creationId xmlns:a16="http://schemas.microsoft.com/office/drawing/2014/main" id="{98751DE5-E180-654C-9599-B6C50B3EEF8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5" name="Picture 204">
                  <a:extLst>
                    <a:ext uri="{FF2B5EF4-FFF2-40B4-BE49-F238E27FC236}">
                      <a16:creationId xmlns:a16="http://schemas.microsoft.com/office/drawing/2014/main" id="{C22EB815-24C0-1041-802B-43CF8DF8DA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429F2861-EE7F-904C-A3C5-96827E7AC50B}"/>
                  </a:ext>
                </a:extLst>
              </p:cNvPr>
              <p:cNvGrpSpPr/>
              <p:nvPr/>
            </p:nvGrpSpPr>
            <p:grpSpPr>
              <a:xfrm>
                <a:off x="7939035" y="6012673"/>
                <a:ext cx="146497" cy="152357"/>
                <a:chOff x="5383925" y="5263569"/>
                <a:chExt cx="809767" cy="833624"/>
              </a:xfrm>
            </p:grpSpPr>
            <p:sp>
              <p:nvSpPr>
                <p:cNvPr id="202" name="Teardrop 201">
                  <a:extLst>
                    <a:ext uri="{FF2B5EF4-FFF2-40B4-BE49-F238E27FC236}">
                      <a16:creationId xmlns:a16="http://schemas.microsoft.com/office/drawing/2014/main" id="{9EB54A5C-89C5-884A-BF28-28DB2E9D6FF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3" name="Picture 202">
                  <a:extLst>
                    <a:ext uri="{FF2B5EF4-FFF2-40B4-BE49-F238E27FC236}">
                      <a16:creationId xmlns:a16="http://schemas.microsoft.com/office/drawing/2014/main" id="{0FCC24A8-2017-CF43-8974-8BF79F53385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92D2172D-3C2C-5F42-A360-72E581C6CE92}"/>
                  </a:ext>
                </a:extLst>
              </p:cNvPr>
              <p:cNvGrpSpPr/>
              <p:nvPr/>
            </p:nvGrpSpPr>
            <p:grpSpPr>
              <a:xfrm>
                <a:off x="8313860" y="6263858"/>
                <a:ext cx="146497" cy="152357"/>
                <a:chOff x="5383925" y="5263569"/>
                <a:chExt cx="809767" cy="833624"/>
              </a:xfrm>
            </p:grpSpPr>
            <p:sp>
              <p:nvSpPr>
                <p:cNvPr id="200" name="Teardrop 199">
                  <a:extLst>
                    <a:ext uri="{FF2B5EF4-FFF2-40B4-BE49-F238E27FC236}">
                      <a16:creationId xmlns:a16="http://schemas.microsoft.com/office/drawing/2014/main" id="{F36E30A4-2471-494D-B339-5F66D9BE425B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201" name="Picture 200">
                  <a:extLst>
                    <a:ext uri="{FF2B5EF4-FFF2-40B4-BE49-F238E27FC236}">
                      <a16:creationId xmlns:a16="http://schemas.microsoft.com/office/drawing/2014/main" id="{10BF9F69-B957-FC4A-8F34-D6B538B0609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A8C87747-2B5B-984A-AF87-2D398CA5ADF9}"/>
                  </a:ext>
                </a:extLst>
              </p:cNvPr>
              <p:cNvGrpSpPr/>
              <p:nvPr/>
            </p:nvGrpSpPr>
            <p:grpSpPr>
              <a:xfrm>
                <a:off x="8279907" y="6585177"/>
                <a:ext cx="146497" cy="152357"/>
                <a:chOff x="5383925" y="5263569"/>
                <a:chExt cx="809767" cy="833624"/>
              </a:xfrm>
            </p:grpSpPr>
            <p:sp>
              <p:nvSpPr>
                <p:cNvPr id="198" name="Teardrop 197">
                  <a:extLst>
                    <a:ext uri="{FF2B5EF4-FFF2-40B4-BE49-F238E27FC236}">
                      <a16:creationId xmlns:a16="http://schemas.microsoft.com/office/drawing/2014/main" id="{91141DD2-0A1D-3D4B-AD1E-1990AD79B8A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9" name="Picture 198">
                  <a:extLst>
                    <a:ext uri="{FF2B5EF4-FFF2-40B4-BE49-F238E27FC236}">
                      <a16:creationId xmlns:a16="http://schemas.microsoft.com/office/drawing/2014/main" id="{5297FB58-479C-BA45-BD53-19441C7E0E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148571BD-F15B-D246-BA4C-C832F565A78A}"/>
                  </a:ext>
                </a:extLst>
              </p:cNvPr>
              <p:cNvGrpSpPr/>
              <p:nvPr/>
            </p:nvGrpSpPr>
            <p:grpSpPr>
              <a:xfrm>
                <a:off x="8211765" y="5890728"/>
                <a:ext cx="146497" cy="152357"/>
                <a:chOff x="5383925" y="5263569"/>
                <a:chExt cx="809767" cy="833624"/>
              </a:xfrm>
            </p:grpSpPr>
            <p:sp>
              <p:nvSpPr>
                <p:cNvPr id="196" name="Teardrop 195">
                  <a:extLst>
                    <a:ext uri="{FF2B5EF4-FFF2-40B4-BE49-F238E27FC236}">
                      <a16:creationId xmlns:a16="http://schemas.microsoft.com/office/drawing/2014/main" id="{B225709C-C5C7-8448-ACDA-95A2ABFBC19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7" name="Picture 196">
                  <a:extLst>
                    <a:ext uri="{FF2B5EF4-FFF2-40B4-BE49-F238E27FC236}">
                      <a16:creationId xmlns:a16="http://schemas.microsoft.com/office/drawing/2014/main" id="{BEBF4B1F-2097-4348-9284-3E4906583F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F7FADF0-9C73-1344-A185-B88A0CA0FBE3}"/>
                  </a:ext>
                </a:extLst>
              </p:cNvPr>
              <p:cNvGrpSpPr/>
              <p:nvPr/>
            </p:nvGrpSpPr>
            <p:grpSpPr>
              <a:xfrm>
                <a:off x="8361551" y="5577046"/>
                <a:ext cx="146497" cy="152357"/>
                <a:chOff x="5383925" y="5263569"/>
                <a:chExt cx="809767" cy="833624"/>
              </a:xfrm>
            </p:grpSpPr>
            <p:sp>
              <p:nvSpPr>
                <p:cNvPr id="194" name="Teardrop 193">
                  <a:extLst>
                    <a:ext uri="{FF2B5EF4-FFF2-40B4-BE49-F238E27FC236}">
                      <a16:creationId xmlns:a16="http://schemas.microsoft.com/office/drawing/2014/main" id="{24A2A492-ED48-D641-AD78-43D3D77EC16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5" name="Picture 194">
                  <a:extLst>
                    <a:ext uri="{FF2B5EF4-FFF2-40B4-BE49-F238E27FC236}">
                      <a16:creationId xmlns:a16="http://schemas.microsoft.com/office/drawing/2014/main" id="{D180393E-891E-764E-887E-00F4353752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3C6713F6-8747-8A4C-AA0E-3497D7FCD2AE}"/>
                  </a:ext>
                </a:extLst>
              </p:cNvPr>
              <p:cNvGrpSpPr/>
              <p:nvPr/>
            </p:nvGrpSpPr>
            <p:grpSpPr>
              <a:xfrm>
                <a:off x="8476429" y="54271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92" name="Teardrop 191">
                  <a:extLst>
                    <a:ext uri="{FF2B5EF4-FFF2-40B4-BE49-F238E27FC236}">
                      <a16:creationId xmlns:a16="http://schemas.microsoft.com/office/drawing/2014/main" id="{E5D9C767-DADF-1D47-B643-D26B3639B73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3" name="Picture 192">
                  <a:extLst>
                    <a:ext uri="{FF2B5EF4-FFF2-40B4-BE49-F238E27FC236}">
                      <a16:creationId xmlns:a16="http://schemas.microsoft.com/office/drawing/2014/main" id="{B2BB54D6-3866-214D-BFD1-1BF00E013F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0" name="Group 89">
                <a:extLst>
                  <a:ext uri="{FF2B5EF4-FFF2-40B4-BE49-F238E27FC236}">
                    <a16:creationId xmlns:a16="http://schemas.microsoft.com/office/drawing/2014/main" id="{CF5B79CD-089A-1E47-9786-27819C3C74A0}"/>
                  </a:ext>
                </a:extLst>
              </p:cNvPr>
              <p:cNvGrpSpPr/>
              <p:nvPr/>
            </p:nvGrpSpPr>
            <p:grpSpPr>
              <a:xfrm>
                <a:off x="8279066" y="4978120"/>
                <a:ext cx="146497" cy="152357"/>
                <a:chOff x="5383925" y="5263569"/>
                <a:chExt cx="809767" cy="833624"/>
              </a:xfrm>
            </p:grpSpPr>
            <p:sp>
              <p:nvSpPr>
                <p:cNvPr id="190" name="Teardrop 189">
                  <a:extLst>
                    <a:ext uri="{FF2B5EF4-FFF2-40B4-BE49-F238E27FC236}">
                      <a16:creationId xmlns:a16="http://schemas.microsoft.com/office/drawing/2014/main" id="{78088916-E49F-D042-A5F2-C7A4A0EBC7C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91" name="Picture 190">
                  <a:extLst>
                    <a:ext uri="{FF2B5EF4-FFF2-40B4-BE49-F238E27FC236}">
                      <a16:creationId xmlns:a16="http://schemas.microsoft.com/office/drawing/2014/main" id="{6A310B95-65A8-6E4B-99F9-9B02FD325E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6D4DB41F-F4BC-A446-A1DB-D8B0646D2E71}"/>
                  </a:ext>
                </a:extLst>
              </p:cNvPr>
              <p:cNvGrpSpPr/>
              <p:nvPr/>
            </p:nvGrpSpPr>
            <p:grpSpPr>
              <a:xfrm>
                <a:off x="8443132" y="5029636"/>
                <a:ext cx="149855" cy="152356"/>
                <a:chOff x="5389817" y="5880760"/>
                <a:chExt cx="828330" cy="833621"/>
              </a:xfrm>
            </p:grpSpPr>
            <p:sp>
              <p:nvSpPr>
                <p:cNvPr id="188" name="Teardrop 187">
                  <a:extLst>
                    <a:ext uri="{FF2B5EF4-FFF2-40B4-BE49-F238E27FC236}">
                      <a16:creationId xmlns:a16="http://schemas.microsoft.com/office/drawing/2014/main" id="{BE5F4278-B593-5341-A033-346D3B2A6FE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9817" y="5880760"/>
                  <a:ext cx="809767" cy="833621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89" name="Picture 188">
                  <a:extLst>
                    <a:ext uri="{FF2B5EF4-FFF2-40B4-BE49-F238E27FC236}">
                      <a16:creationId xmlns:a16="http://schemas.microsoft.com/office/drawing/2014/main" id="{8FA9101C-17B0-604F-B3EE-16D5D7E101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72163" y="5961208"/>
                  <a:ext cx="745983" cy="745985"/>
                </a:xfrm>
                <a:prstGeom prst="rect">
                  <a:avLst/>
                </a:prstGeom>
              </p:spPr>
            </p:pic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A5CFE56C-139B-5A41-B492-4105281B5537}"/>
                  </a:ext>
                </a:extLst>
              </p:cNvPr>
              <p:cNvGrpSpPr/>
              <p:nvPr/>
            </p:nvGrpSpPr>
            <p:grpSpPr>
              <a:xfrm>
                <a:off x="8652809" y="6259573"/>
                <a:ext cx="146497" cy="152357"/>
                <a:chOff x="5383925" y="5263569"/>
                <a:chExt cx="809767" cy="833624"/>
              </a:xfrm>
            </p:grpSpPr>
            <p:sp>
              <p:nvSpPr>
                <p:cNvPr id="178" name="Teardrop 177">
                  <a:extLst>
                    <a:ext uri="{FF2B5EF4-FFF2-40B4-BE49-F238E27FC236}">
                      <a16:creationId xmlns:a16="http://schemas.microsoft.com/office/drawing/2014/main" id="{77F18932-38E2-CF46-8CB7-7F2350FF315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9" name="Picture 178">
                  <a:extLst>
                    <a:ext uri="{FF2B5EF4-FFF2-40B4-BE49-F238E27FC236}">
                      <a16:creationId xmlns:a16="http://schemas.microsoft.com/office/drawing/2014/main" id="{A8F55D76-B03A-C24F-9379-5D5CF022FB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6EE5AEE1-2025-6849-A570-72B53AAE1B30}"/>
                  </a:ext>
                </a:extLst>
              </p:cNvPr>
              <p:cNvGrpSpPr/>
              <p:nvPr/>
            </p:nvGrpSpPr>
            <p:grpSpPr>
              <a:xfrm>
                <a:off x="8931967" y="6620747"/>
                <a:ext cx="146497" cy="152357"/>
                <a:chOff x="5383925" y="5263569"/>
                <a:chExt cx="809767" cy="833624"/>
              </a:xfrm>
            </p:grpSpPr>
            <p:sp>
              <p:nvSpPr>
                <p:cNvPr id="176" name="Teardrop 175">
                  <a:extLst>
                    <a:ext uri="{FF2B5EF4-FFF2-40B4-BE49-F238E27FC236}">
                      <a16:creationId xmlns:a16="http://schemas.microsoft.com/office/drawing/2014/main" id="{ED7B97E4-C69B-1F4B-9D81-4059061268AD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7" name="Picture 176">
                  <a:extLst>
                    <a:ext uri="{FF2B5EF4-FFF2-40B4-BE49-F238E27FC236}">
                      <a16:creationId xmlns:a16="http://schemas.microsoft.com/office/drawing/2014/main" id="{9BAA90F4-6F45-2F45-B72B-0DB5C1620A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AA4C12F-DF5C-4343-9D67-03F44CBB7219}"/>
                  </a:ext>
                </a:extLst>
              </p:cNvPr>
              <p:cNvGrpSpPr/>
              <p:nvPr/>
            </p:nvGrpSpPr>
            <p:grpSpPr>
              <a:xfrm>
                <a:off x="8956986" y="6776052"/>
                <a:ext cx="146497" cy="152357"/>
                <a:chOff x="5383925" y="5263569"/>
                <a:chExt cx="809767" cy="833624"/>
              </a:xfrm>
            </p:grpSpPr>
            <p:sp>
              <p:nvSpPr>
                <p:cNvPr id="174" name="Teardrop 173">
                  <a:extLst>
                    <a:ext uri="{FF2B5EF4-FFF2-40B4-BE49-F238E27FC236}">
                      <a16:creationId xmlns:a16="http://schemas.microsoft.com/office/drawing/2014/main" id="{B93AD5E3-44A9-F743-BC9D-FE4ECA839949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5" name="Picture 174">
                  <a:extLst>
                    <a:ext uri="{FF2B5EF4-FFF2-40B4-BE49-F238E27FC236}">
                      <a16:creationId xmlns:a16="http://schemas.microsoft.com/office/drawing/2014/main" id="{1D4496D2-4755-9447-BA18-E66981F41F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2BE1BE52-B4E9-C047-95D9-50462BEE72AB}"/>
                  </a:ext>
                </a:extLst>
              </p:cNvPr>
              <p:cNvGrpSpPr/>
              <p:nvPr/>
            </p:nvGrpSpPr>
            <p:grpSpPr>
              <a:xfrm>
                <a:off x="8888322" y="6904779"/>
                <a:ext cx="146497" cy="152357"/>
                <a:chOff x="5383925" y="5263569"/>
                <a:chExt cx="809767" cy="833624"/>
              </a:xfrm>
            </p:grpSpPr>
            <p:sp>
              <p:nvSpPr>
                <p:cNvPr id="172" name="Teardrop 171">
                  <a:extLst>
                    <a:ext uri="{FF2B5EF4-FFF2-40B4-BE49-F238E27FC236}">
                      <a16:creationId xmlns:a16="http://schemas.microsoft.com/office/drawing/2014/main" id="{B1CACB52-20DF-6443-BF4D-8544A503D65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3" name="Picture 172">
                  <a:extLst>
                    <a:ext uri="{FF2B5EF4-FFF2-40B4-BE49-F238E27FC236}">
                      <a16:creationId xmlns:a16="http://schemas.microsoft.com/office/drawing/2014/main" id="{78F2FA38-3188-0F46-B756-3DEABF2813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78B06803-F87D-0A46-B9E6-5FC2FAEDE83E}"/>
                  </a:ext>
                </a:extLst>
              </p:cNvPr>
              <p:cNvGrpSpPr/>
              <p:nvPr/>
            </p:nvGrpSpPr>
            <p:grpSpPr>
              <a:xfrm>
                <a:off x="9147368" y="7064866"/>
                <a:ext cx="146497" cy="152357"/>
                <a:chOff x="5383925" y="5263569"/>
                <a:chExt cx="809767" cy="833624"/>
              </a:xfrm>
            </p:grpSpPr>
            <p:sp>
              <p:nvSpPr>
                <p:cNvPr id="170" name="Teardrop 169">
                  <a:extLst>
                    <a:ext uri="{FF2B5EF4-FFF2-40B4-BE49-F238E27FC236}">
                      <a16:creationId xmlns:a16="http://schemas.microsoft.com/office/drawing/2014/main" id="{8A1276C4-8D37-ED44-B932-D56B9B60AAF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71" name="Picture 170">
                  <a:extLst>
                    <a:ext uri="{FF2B5EF4-FFF2-40B4-BE49-F238E27FC236}">
                      <a16:creationId xmlns:a16="http://schemas.microsoft.com/office/drawing/2014/main" id="{69C074A9-AB7C-574C-AB54-75A5E70353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241A09AE-E5F3-4049-B10E-43C8466F2154}"/>
                  </a:ext>
                </a:extLst>
              </p:cNvPr>
              <p:cNvGrpSpPr/>
              <p:nvPr/>
            </p:nvGrpSpPr>
            <p:grpSpPr>
              <a:xfrm>
                <a:off x="9349158" y="7296997"/>
                <a:ext cx="146497" cy="152357"/>
                <a:chOff x="5383925" y="5263569"/>
                <a:chExt cx="809767" cy="833624"/>
              </a:xfrm>
            </p:grpSpPr>
            <p:sp>
              <p:nvSpPr>
                <p:cNvPr id="168" name="Teardrop 167">
                  <a:extLst>
                    <a:ext uri="{FF2B5EF4-FFF2-40B4-BE49-F238E27FC236}">
                      <a16:creationId xmlns:a16="http://schemas.microsoft.com/office/drawing/2014/main" id="{54E50916-7675-444E-B3D8-9141437981F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9" name="Picture 168">
                  <a:extLst>
                    <a:ext uri="{FF2B5EF4-FFF2-40B4-BE49-F238E27FC236}">
                      <a16:creationId xmlns:a16="http://schemas.microsoft.com/office/drawing/2014/main" id="{7F3BEAC8-2BB1-A542-A0D7-A7B59B36AE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3F0EDFFD-A96A-7247-97C5-15F32E1151FC}"/>
                  </a:ext>
                </a:extLst>
              </p:cNvPr>
              <p:cNvGrpSpPr/>
              <p:nvPr/>
            </p:nvGrpSpPr>
            <p:grpSpPr>
              <a:xfrm>
                <a:off x="9430749" y="73329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66" name="Teardrop 165">
                  <a:extLst>
                    <a:ext uri="{FF2B5EF4-FFF2-40B4-BE49-F238E27FC236}">
                      <a16:creationId xmlns:a16="http://schemas.microsoft.com/office/drawing/2014/main" id="{E222B5A9-3AF6-0946-9CED-0B12AEBDCA2A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7" name="Picture 166">
                  <a:extLst>
                    <a:ext uri="{FF2B5EF4-FFF2-40B4-BE49-F238E27FC236}">
                      <a16:creationId xmlns:a16="http://schemas.microsoft.com/office/drawing/2014/main" id="{DECE3313-02FA-7849-B3E5-5C3F40B931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90D443B5-8C94-9C42-83B7-0FDAD044E707}"/>
                  </a:ext>
                </a:extLst>
              </p:cNvPr>
              <p:cNvGrpSpPr/>
              <p:nvPr/>
            </p:nvGrpSpPr>
            <p:grpSpPr>
              <a:xfrm>
                <a:off x="9423167" y="7266263"/>
                <a:ext cx="146497" cy="152357"/>
                <a:chOff x="5383925" y="5263569"/>
                <a:chExt cx="809767" cy="833624"/>
              </a:xfrm>
            </p:grpSpPr>
            <p:sp>
              <p:nvSpPr>
                <p:cNvPr id="164" name="Teardrop 163">
                  <a:extLst>
                    <a:ext uri="{FF2B5EF4-FFF2-40B4-BE49-F238E27FC236}">
                      <a16:creationId xmlns:a16="http://schemas.microsoft.com/office/drawing/2014/main" id="{505C8F7F-8DBD-2944-88D7-B5E6BC758AAE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5" name="Picture 164">
                  <a:extLst>
                    <a:ext uri="{FF2B5EF4-FFF2-40B4-BE49-F238E27FC236}">
                      <a16:creationId xmlns:a16="http://schemas.microsoft.com/office/drawing/2014/main" id="{7E4E5831-81BA-6841-9D4E-4612A9F802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A4DB2D5B-9CFE-E749-9293-A4DE0B618CD7}"/>
                  </a:ext>
                </a:extLst>
              </p:cNvPr>
              <p:cNvGrpSpPr/>
              <p:nvPr/>
            </p:nvGrpSpPr>
            <p:grpSpPr>
              <a:xfrm>
                <a:off x="8911784" y="5876697"/>
                <a:ext cx="146497" cy="152357"/>
                <a:chOff x="5383925" y="5263569"/>
                <a:chExt cx="809767" cy="833624"/>
              </a:xfrm>
            </p:grpSpPr>
            <p:sp>
              <p:nvSpPr>
                <p:cNvPr id="160" name="Teardrop 159">
                  <a:extLst>
                    <a:ext uri="{FF2B5EF4-FFF2-40B4-BE49-F238E27FC236}">
                      <a16:creationId xmlns:a16="http://schemas.microsoft.com/office/drawing/2014/main" id="{15394881-4B83-D444-B809-7FC113EA016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61" name="Picture 160">
                  <a:extLst>
                    <a:ext uri="{FF2B5EF4-FFF2-40B4-BE49-F238E27FC236}">
                      <a16:creationId xmlns:a16="http://schemas.microsoft.com/office/drawing/2014/main" id="{44C8D630-1CB8-064D-A4E9-059937B47BB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FBAF4039-71AF-E24C-9DDA-4259EFADDB29}"/>
                  </a:ext>
                </a:extLst>
              </p:cNvPr>
              <p:cNvGrpSpPr/>
              <p:nvPr/>
            </p:nvGrpSpPr>
            <p:grpSpPr>
              <a:xfrm>
                <a:off x="9159730" y="5828626"/>
                <a:ext cx="146497" cy="152357"/>
                <a:chOff x="5383925" y="5263569"/>
                <a:chExt cx="809767" cy="833624"/>
              </a:xfrm>
            </p:grpSpPr>
            <p:sp>
              <p:nvSpPr>
                <p:cNvPr id="156" name="Teardrop 155">
                  <a:extLst>
                    <a:ext uri="{FF2B5EF4-FFF2-40B4-BE49-F238E27FC236}">
                      <a16:creationId xmlns:a16="http://schemas.microsoft.com/office/drawing/2014/main" id="{0DD6DB94-6C31-644A-8778-BDA2D15C461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7" name="Picture 156">
                  <a:extLst>
                    <a:ext uri="{FF2B5EF4-FFF2-40B4-BE49-F238E27FC236}">
                      <a16:creationId xmlns:a16="http://schemas.microsoft.com/office/drawing/2014/main" id="{22B3A42B-6189-4B49-982C-4D9B8460DA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8165600B-D44E-CF49-9D84-F53500025428}"/>
                  </a:ext>
                </a:extLst>
              </p:cNvPr>
              <p:cNvGrpSpPr/>
              <p:nvPr/>
            </p:nvGrpSpPr>
            <p:grpSpPr>
              <a:xfrm>
                <a:off x="9316480" y="5624325"/>
                <a:ext cx="146497" cy="152357"/>
                <a:chOff x="5383925" y="5263569"/>
                <a:chExt cx="809767" cy="833624"/>
              </a:xfrm>
            </p:grpSpPr>
            <p:sp>
              <p:nvSpPr>
                <p:cNvPr id="154" name="Teardrop 153">
                  <a:extLst>
                    <a:ext uri="{FF2B5EF4-FFF2-40B4-BE49-F238E27FC236}">
                      <a16:creationId xmlns:a16="http://schemas.microsoft.com/office/drawing/2014/main" id="{08291354-2E12-A844-865F-6C3AED58B0CF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5" name="Picture 154">
                  <a:extLst>
                    <a:ext uri="{FF2B5EF4-FFF2-40B4-BE49-F238E27FC236}">
                      <a16:creationId xmlns:a16="http://schemas.microsoft.com/office/drawing/2014/main" id="{F455FEF2-3B31-8D4F-8F93-BB816B5F4CA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04BCD779-AC55-724E-94CB-12B205CE40EA}"/>
                  </a:ext>
                </a:extLst>
              </p:cNvPr>
              <p:cNvGrpSpPr/>
              <p:nvPr/>
            </p:nvGrpSpPr>
            <p:grpSpPr>
              <a:xfrm>
                <a:off x="9261740" y="5358547"/>
                <a:ext cx="146497" cy="152357"/>
                <a:chOff x="5383925" y="5263569"/>
                <a:chExt cx="809767" cy="833624"/>
              </a:xfrm>
            </p:grpSpPr>
            <p:sp>
              <p:nvSpPr>
                <p:cNvPr id="152" name="Teardrop 151">
                  <a:extLst>
                    <a:ext uri="{FF2B5EF4-FFF2-40B4-BE49-F238E27FC236}">
                      <a16:creationId xmlns:a16="http://schemas.microsoft.com/office/drawing/2014/main" id="{38C6AC22-A8AD-7F4D-8DBB-7570C60751BC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3" name="Picture 152">
                  <a:extLst>
                    <a:ext uri="{FF2B5EF4-FFF2-40B4-BE49-F238E27FC236}">
                      <a16:creationId xmlns:a16="http://schemas.microsoft.com/office/drawing/2014/main" id="{4EB97351-2BF7-0A4F-B3EB-7064D6A7787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FE6596E-C14F-E24F-95F9-910F2D5170FB}"/>
                  </a:ext>
                </a:extLst>
              </p:cNvPr>
              <p:cNvGrpSpPr/>
              <p:nvPr/>
            </p:nvGrpSpPr>
            <p:grpSpPr>
              <a:xfrm>
                <a:off x="8880131" y="5215908"/>
                <a:ext cx="146497" cy="152357"/>
                <a:chOff x="5383925" y="5263569"/>
                <a:chExt cx="809767" cy="833624"/>
              </a:xfrm>
            </p:grpSpPr>
            <p:sp>
              <p:nvSpPr>
                <p:cNvPr id="150" name="Teardrop 149">
                  <a:extLst>
                    <a:ext uri="{FF2B5EF4-FFF2-40B4-BE49-F238E27FC236}">
                      <a16:creationId xmlns:a16="http://schemas.microsoft.com/office/drawing/2014/main" id="{CA905CEE-B63F-DD41-BA7E-7B2E4126C378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51" name="Picture 150">
                  <a:extLst>
                    <a:ext uri="{FF2B5EF4-FFF2-40B4-BE49-F238E27FC236}">
                      <a16:creationId xmlns:a16="http://schemas.microsoft.com/office/drawing/2014/main" id="{85309803-31E2-FD41-9CC1-9AD154CF0CC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E287282A-934E-854C-B62E-438C63A605AC}"/>
                  </a:ext>
                </a:extLst>
              </p:cNvPr>
              <p:cNvGrpSpPr/>
              <p:nvPr/>
            </p:nvGrpSpPr>
            <p:grpSpPr>
              <a:xfrm>
                <a:off x="9350249" y="5134721"/>
                <a:ext cx="146497" cy="152357"/>
                <a:chOff x="5383925" y="5263569"/>
                <a:chExt cx="809767" cy="833624"/>
              </a:xfrm>
            </p:grpSpPr>
            <p:sp>
              <p:nvSpPr>
                <p:cNvPr id="146" name="Teardrop 145">
                  <a:extLst>
                    <a:ext uri="{FF2B5EF4-FFF2-40B4-BE49-F238E27FC236}">
                      <a16:creationId xmlns:a16="http://schemas.microsoft.com/office/drawing/2014/main" id="{FB8754C9-CAB7-A34C-A8B5-D50BB331C5A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7" name="Picture 146">
                  <a:extLst>
                    <a:ext uri="{FF2B5EF4-FFF2-40B4-BE49-F238E27FC236}">
                      <a16:creationId xmlns:a16="http://schemas.microsoft.com/office/drawing/2014/main" id="{01B7385C-3524-664D-B10E-E3A523D9D1D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18CB329E-2A06-5A49-92F6-C27FCA65295F}"/>
                  </a:ext>
                </a:extLst>
              </p:cNvPr>
              <p:cNvGrpSpPr/>
              <p:nvPr/>
            </p:nvGrpSpPr>
            <p:grpSpPr>
              <a:xfrm>
                <a:off x="9411139" y="5080262"/>
                <a:ext cx="146497" cy="152357"/>
                <a:chOff x="5383925" y="5263569"/>
                <a:chExt cx="809767" cy="833624"/>
              </a:xfrm>
            </p:grpSpPr>
            <p:sp>
              <p:nvSpPr>
                <p:cNvPr id="144" name="Teardrop 143">
                  <a:extLst>
                    <a:ext uri="{FF2B5EF4-FFF2-40B4-BE49-F238E27FC236}">
                      <a16:creationId xmlns:a16="http://schemas.microsoft.com/office/drawing/2014/main" id="{FBE3CAFF-B245-524D-80D2-A1EC80111C67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5" name="Picture 144">
                  <a:extLst>
                    <a:ext uri="{FF2B5EF4-FFF2-40B4-BE49-F238E27FC236}">
                      <a16:creationId xmlns:a16="http://schemas.microsoft.com/office/drawing/2014/main" id="{D9FC5783-DA1D-5E42-99D3-4A0B6E31B6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C7409D78-64D5-B140-B65D-E5EF862CB567}"/>
                  </a:ext>
                </a:extLst>
              </p:cNvPr>
              <p:cNvGrpSpPr/>
              <p:nvPr/>
            </p:nvGrpSpPr>
            <p:grpSpPr>
              <a:xfrm>
                <a:off x="9533645" y="4991420"/>
                <a:ext cx="146497" cy="152357"/>
                <a:chOff x="5383925" y="5263569"/>
                <a:chExt cx="809767" cy="833624"/>
              </a:xfrm>
            </p:grpSpPr>
            <p:sp>
              <p:nvSpPr>
                <p:cNvPr id="142" name="Teardrop 141">
                  <a:extLst>
                    <a:ext uri="{FF2B5EF4-FFF2-40B4-BE49-F238E27FC236}">
                      <a16:creationId xmlns:a16="http://schemas.microsoft.com/office/drawing/2014/main" id="{C398CB74-C74F-DB44-9CE7-9884D4866A73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3" name="Picture 142">
                  <a:extLst>
                    <a:ext uri="{FF2B5EF4-FFF2-40B4-BE49-F238E27FC236}">
                      <a16:creationId xmlns:a16="http://schemas.microsoft.com/office/drawing/2014/main" id="{89356468-ABF9-1647-B757-2A2C0B506C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3FC664B6-D4A6-8647-BCB1-6098F5247F62}"/>
                  </a:ext>
                </a:extLst>
              </p:cNvPr>
              <p:cNvGrpSpPr/>
              <p:nvPr/>
            </p:nvGrpSpPr>
            <p:grpSpPr>
              <a:xfrm>
                <a:off x="9145186" y="4793467"/>
                <a:ext cx="146497" cy="152357"/>
                <a:chOff x="5383925" y="5263569"/>
                <a:chExt cx="809767" cy="833624"/>
              </a:xfrm>
            </p:grpSpPr>
            <p:sp>
              <p:nvSpPr>
                <p:cNvPr id="140" name="Teardrop 139">
                  <a:extLst>
                    <a:ext uri="{FF2B5EF4-FFF2-40B4-BE49-F238E27FC236}">
                      <a16:creationId xmlns:a16="http://schemas.microsoft.com/office/drawing/2014/main" id="{E286C477-83E5-C147-B0A3-349801D10560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41" name="Picture 140">
                  <a:extLst>
                    <a:ext uri="{FF2B5EF4-FFF2-40B4-BE49-F238E27FC236}">
                      <a16:creationId xmlns:a16="http://schemas.microsoft.com/office/drawing/2014/main" id="{B8847BFB-738B-044E-812C-06160241FA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9F846A25-7DC3-ED4E-A01E-17092F6AC15A}"/>
                  </a:ext>
                </a:extLst>
              </p:cNvPr>
              <p:cNvGrpSpPr/>
              <p:nvPr/>
            </p:nvGrpSpPr>
            <p:grpSpPr>
              <a:xfrm>
                <a:off x="9621896" y="4766117"/>
                <a:ext cx="146497" cy="152357"/>
                <a:chOff x="5383925" y="5263569"/>
                <a:chExt cx="809767" cy="833624"/>
              </a:xfrm>
            </p:grpSpPr>
            <p:sp>
              <p:nvSpPr>
                <p:cNvPr id="138" name="Teardrop 137">
                  <a:extLst>
                    <a:ext uri="{FF2B5EF4-FFF2-40B4-BE49-F238E27FC236}">
                      <a16:creationId xmlns:a16="http://schemas.microsoft.com/office/drawing/2014/main" id="{4F4B7AF7-AA79-0C49-9B24-34455F2789C6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9" name="Picture 138">
                  <a:extLst>
                    <a:ext uri="{FF2B5EF4-FFF2-40B4-BE49-F238E27FC236}">
                      <a16:creationId xmlns:a16="http://schemas.microsoft.com/office/drawing/2014/main" id="{2A3ADCDC-5A27-C540-810B-86B04F240D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BA33F5E-D5A9-B54A-A523-236261F1E011}"/>
                  </a:ext>
                </a:extLst>
              </p:cNvPr>
              <p:cNvGrpSpPr/>
              <p:nvPr/>
            </p:nvGrpSpPr>
            <p:grpSpPr>
              <a:xfrm>
                <a:off x="9669791" y="4684903"/>
                <a:ext cx="146497" cy="152357"/>
                <a:chOff x="5383925" y="5263569"/>
                <a:chExt cx="809767" cy="833624"/>
              </a:xfrm>
            </p:grpSpPr>
            <p:sp>
              <p:nvSpPr>
                <p:cNvPr id="136" name="Teardrop 135">
                  <a:extLst>
                    <a:ext uri="{FF2B5EF4-FFF2-40B4-BE49-F238E27FC236}">
                      <a16:creationId xmlns:a16="http://schemas.microsoft.com/office/drawing/2014/main" id="{B53BC85E-D087-1943-8D0B-D748C25878C5}"/>
                    </a:ext>
                  </a:extLst>
                </p:cNvPr>
                <p:cNvSpPr/>
                <p:nvPr/>
              </p:nvSpPr>
              <p:spPr bwMode="auto">
                <a:xfrm rot="8100000">
                  <a:off x="5383925" y="5263569"/>
                  <a:ext cx="809767" cy="833624"/>
                </a:xfrm>
                <a:prstGeom prst="teardrop">
                  <a:avLst/>
                </a:prstGeom>
                <a:solidFill>
                  <a:srgbClr val="F9711C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3728CEE5-46FB-4E46-84D5-A9234C6316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5417640" y="5339584"/>
                  <a:ext cx="745986" cy="745986"/>
                </a:xfrm>
                <a:prstGeom prst="rect">
                  <a:avLst/>
                </a:prstGeom>
              </p:spPr>
            </p:pic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75BC8E8F-283B-C640-AEF6-6FB0B4A6152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892450" y="3851626"/>
                <a:ext cx="150265" cy="155448"/>
                <a:chOff x="317047" y="4829599"/>
                <a:chExt cx="411480" cy="425673"/>
              </a:xfrm>
            </p:grpSpPr>
            <p:sp>
              <p:nvSpPr>
                <p:cNvPr id="134" name="Teardrop 133">
                  <a:extLst>
                    <a:ext uri="{FF2B5EF4-FFF2-40B4-BE49-F238E27FC236}">
                      <a16:creationId xmlns:a16="http://schemas.microsoft.com/office/drawing/2014/main" id="{94396659-B948-A743-A0EB-99499A090B70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5" name="Picture 134">
                  <a:extLst>
                    <a:ext uri="{FF2B5EF4-FFF2-40B4-BE49-F238E27FC236}">
                      <a16:creationId xmlns:a16="http://schemas.microsoft.com/office/drawing/2014/main" id="{9848F726-FE81-6549-98F8-ADBBCFB9DE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DA54CA29-6C6C-0945-942C-1B275A9544C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658085" y="3876126"/>
                <a:ext cx="150265" cy="155448"/>
                <a:chOff x="317047" y="4829599"/>
                <a:chExt cx="411480" cy="425673"/>
              </a:xfrm>
            </p:grpSpPr>
            <p:sp>
              <p:nvSpPr>
                <p:cNvPr id="132" name="Teardrop 131">
                  <a:extLst>
                    <a:ext uri="{FF2B5EF4-FFF2-40B4-BE49-F238E27FC236}">
                      <a16:creationId xmlns:a16="http://schemas.microsoft.com/office/drawing/2014/main" id="{E1F43136-3907-9547-A929-E04C36A241EB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3" name="Picture 132">
                  <a:extLst>
                    <a:ext uri="{FF2B5EF4-FFF2-40B4-BE49-F238E27FC236}">
                      <a16:creationId xmlns:a16="http://schemas.microsoft.com/office/drawing/2014/main" id="{3A981881-7C8C-144C-A6F3-6B8757685B1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D4B6F0D6-3A7D-EB43-8371-304C284AFD3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37374" y="3545785"/>
                <a:ext cx="150265" cy="155448"/>
                <a:chOff x="317047" y="4829599"/>
                <a:chExt cx="411480" cy="425673"/>
              </a:xfrm>
            </p:grpSpPr>
            <p:sp>
              <p:nvSpPr>
                <p:cNvPr id="130" name="Teardrop 129">
                  <a:extLst>
                    <a:ext uri="{FF2B5EF4-FFF2-40B4-BE49-F238E27FC236}">
                      <a16:creationId xmlns:a16="http://schemas.microsoft.com/office/drawing/2014/main" id="{76A34552-8776-BB48-86AA-EBC720D44B4E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31" name="Picture 130">
                  <a:extLst>
                    <a:ext uri="{FF2B5EF4-FFF2-40B4-BE49-F238E27FC236}">
                      <a16:creationId xmlns:a16="http://schemas.microsoft.com/office/drawing/2014/main" id="{E4D55583-58D9-E143-85D6-1D502F508D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CD4A785C-0FAD-A245-B80B-AC1EAA6EC32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234081" y="4104718"/>
                <a:ext cx="150265" cy="155448"/>
                <a:chOff x="317047" y="4829599"/>
                <a:chExt cx="411480" cy="425673"/>
              </a:xfrm>
            </p:grpSpPr>
            <p:sp>
              <p:nvSpPr>
                <p:cNvPr id="128" name="Teardrop 127">
                  <a:extLst>
                    <a:ext uri="{FF2B5EF4-FFF2-40B4-BE49-F238E27FC236}">
                      <a16:creationId xmlns:a16="http://schemas.microsoft.com/office/drawing/2014/main" id="{4503772A-322B-004A-9EDC-6C7542749137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EFDE630D-F420-E541-8FCB-AF0C6A5C9B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972709B3-BFB5-9146-A5B6-8D7B772CEE5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783619" y="4718230"/>
                <a:ext cx="288800" cy="225672"/>
                <a:chOff x="317047" y="4632252"/>
                <a:chExt cx="790837" cy="617971"/>
              </a:xfrm>
            </p:grpSpPr>
            <p:sp>
              <p:nvSpPr>
                <p:cNvPr id="126" name="Teardrop 125">
                  <a:extLst>
                    <a:ext uri="{FF2B5EF4-FFF2-40B4-BE49-F238E27FC236}">
                      <a16:creationId xmlns:a16="http://schemas.microsoft.com/office/drawing/2014/main" id="{D245744E-235D-E34B-9986-8DCC6C2A03B1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EEABD533-AA9B-F047-BB8B-830FF9C5EB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730147" y="4630920"/>
                  <a:ext cx="376405" cy="379069"/>
                </a:xfrm>
                <a:prstGeom prst="rect">
                  <a:avLst/>
                </a:prstGeom>
              </p:spPr>
            </p:pic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4839DC8D-28BD-5044-8FD6-685F1FB4F53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316283" y="4421698"/>
                <a:ext cx="150265" cy="155448"/>
                <a:chOff x="317047" y="4829599"/>
                <a:chExt cx="411480" cy="425673"/>
              </a:xfrm>
            </p:grpSpPr>
            <p:sp>
              <p:nvSpPr>
                <p:cNvPr id="124" name="Teardrop 123">
                  <a:extLst>
                    <a:ext uri="{FF2B5EF4-FFF2-40B4-BE49-F238E27FC236}">
                      <a16:creationId xmlns:a16="http://schemas.microsoft.com/office/drawing/2014/main" id="{3AAE040A-E8F2-C64A-AD64-EC0C60A3578B}"/>
                    </a:ext>
                  </a:extLst>
                </p:cNvPr>
                <p:cNvSpPr/>
                <p:nvPr/>
              </p:nvSpPr>
              <p:spPr bwMode="auto">
                <a:xfrm rot="8100000">
                  <a:off x="317047" y="4829599"/>
                  <a:ext cx="411480" cy="420624"/>
                </a:xfrm>
                <a:prstGeom prst="teardrop">
                  <a:avLst/>
                </a:prstGeom>
                <a:solidFill>
                  <a:srgbClr val="FF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lIns="64321" tIns="32161" rIns="64321" bIns="32161" anchor="ctr"/>
                <a:lstStyle/>
                <a:p>
                  <a:pPr algn="ctr" defTabSz="851306">
                    <a:defRPr/>
                  </a:pPr>
                  <a:endParaRPr lang="en-US" sz="1055" b="1" kern="0" dirty="0">
                    <a:solidFill>
                      <a:srgbClr val="44546A">
                        <a:lumMod val="50000"/>
                      </a:srgbClr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125" name="Picture 124">
                  <a:extLst>
                    <a:ext uri="{FF2B5EF4-FFF2-40B4-BE49-F238E27FC236}">
                      <a16:creationId xmlns:a16="http://schemas.microsoft.com/office/drawing/2014/main" id="{E828E658-C75E-644D-A385-2CD71CE55A7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35512" y="4877535"/>
                  <a:ext cx="376404" cy="37907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60" name="Group 459">
              <a:extLst>
                <a:ext uri="{FF2B5EF4-FFF2-40B4-BE49-F238E27FC236}">
                  <a16:creationId xmlns:a16="http://schemas.microsoft.com/office/drawing/2014/main" id="{2E629B0D-4DC2-C44B-87A2-E58D988F9B2A}"/>
                </a:ext>
              </a:extLst>
            </p:cNvPr>
            <p:cNvGrpSpPr/>
            <p:nvPr/>
          </p:nvGrpSpPr>
          <p:grpSpPr>
            <a:xfrm>
              <a:off x="8275590" y="4060772"/>
              <a:ext cx="209337" cy="185161"/>
              <a:chOff x="9436847" y="2410387"/>
              <a:chExt cx="714838" cy="730722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461" name="Teardrop 460">
                <a:extLst>
                  <a:ext uri="{FF2B5EF4-FFF2-40B4-BE49-F238E27FC236}">
                    <a16:creationId xmlns:a16="http://schemas.microsoft.com/office/drawing/2014/main" id="{0F5AD18C-1A90-EF4D-A97B-AAE69E78A94A}"/>
                  </a:ext>
                </a:extLst>
              </p:cNvPr>
              <p:cNvSpPr/>
              <p:nvPr/>
            </p:nvSpPr>
            <p:spPr bwMode="auto">
              <a:xfrm rot="8100000">
                <a:off x="9436847" y="2410387"/>
                <a:ext cx="714838" cy="730722"/>
              </a:xfrm>
              <a:prstGeom prst="teardrop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4321" tIns="32161" rIns="64321" bIns="32161" anchor="ctr"/>
              <a:lstStyle/>
              <a:p>
                <a:pPr algn="ctr">
                  <a:defRPr/>
                </a:pPr>
                <a:endParaRPr lang="en-US" sz="1055" b="1" dirty="0">
                  <a:solidFill>
                    <a:schemeClr val="tx2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462" name="Picture 461">
                <a:extLst>
                  <a:ext uri="{FF2B5EF4-FFF2-40B4-BE49-F238E27FC236}">
                    <a16:creationId xmlns:a16="http://schemas.microsoft.com/office/drawing/2014/main" id="{B4EB372E-012E-DA4F-9BA5-692309D2B8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77746" y="2497191"/>
                <a:ext cx="469966" cy="469965"/>
              </a:xfrm>
              <a:prstGeom prst="rect">
                <a:avLst/>
              </a:prstGeom>
              <a:grpFill/>
            </p:spPr>
          </p:pic>
        </p:grpSp>
        <p:pic>
          <p:nvPicPr>
            <p:cNvPr id="473" name="Picture 472">
              <a:extLst>
                <a:ext uri="{FF2B5EF4-FFF2-40B4-BE49-F238E27FC236}">
                  <a16:creationId xmlns:a16="http://schemas.microsoft.com/office/drawing/2014/main" id="{EEABD533-AA9B-F047-BB8B-830FF9C5E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8677795" y="3209523"/>
              <a:ext cx="108892" cy="110755"/>
            </a:xfrm>
            <a:prstGeom prst="rect">
              <a:avLst/>
            </a:prstGeom>
          </p:spPr>
        </p:pic>
      </p:grpSp>
      <p:sp>
        <p:nvSpPr>
          <p:cNvPr id="5" name="Rectangle 4"/>
          <p:cNvSpPr/>
          <p:nvPr/>
        </p:nvSpPr>
        <p:spPr>
          <a:xfrm>
            <a:off x="512160" y="4969997"/>
            <a:ext cx="56929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66"/>
              </a:spcBef>
              <a:spcAft>
                <a:spcPts val="466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l facilities operate on the same advanced ERP, forecast and demand planning systems which effectively manage branch fulfillment and inventory levels across an expansive North American footprint. </a:t>
            </a:r>
          </a:p>
        </p:txBody>
      </p:sp>
      <p:sp>
        <p:nvSpPr>
          <p:cNvPr id="46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9463864" y="6644392"/>
            <a:ext cx="2349927" cy="110800"/>
          </a:xfrm>
        </p:spPr>
        <p:txBody>
          <a:bodyPr/>
          <a:lstStyle/>
          <a:p>
            <a:r>
              <a:rPr lang="en-US" sz="800" dirty="0" smtClean="0">
                <a:solidFill>
                  <a:schemeClr val="bg1"/>
                </a:solidFill>
              </a:rPr>
              <a:t>Transtar industries, LLC    Confidential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7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676992" y="6446837"/>
            <a:ext cx="323419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z="1400" b="1" smtClean="0">
                <a:solidFill>
                  <a:schemeClr val="bg1"/>
                </a:solidFill>
              </a:rPr>
              <a:pPr/>
              <a:t>4</a:t>
            </a:fld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91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29" name="object 26"/>
          <p:cNvGrpSpPr/>
          <p:nvPr/>
        </p:nvGrpSpPr>
        <p:grpSpPr>
          <a:xfrm>
            <a:off x="1401812" y="903359"/>
            <a:ext cx="2672080" cy="2254250"/>
            <a:chOff x="479805" y="3809999"/>
            <a:chExt cx="2672080" cy="2254250"/>
          </a:xfrm>
        </p:grpSpPr>
        <p:sp>
          <p:nvSpPr>
            <p:cNvPr id="30" name="object 27"/>
            <p:cNvSpPr/>
            <p:nvPr/>
          </p:nvSpPr>
          <p:spPr>
            <a:xfrm>
              <a:off x="489965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28"/>
            <p:cNvSpPr/>
            <p:nvPr/>
          </p:nvSpPr>
          <p:spPr>
            <a:xfrm>
              <a:off x="632459" y="3809999"/>
              <a:ext cx="2365375" cy="228600"/>
            </a:xfrm>
            <a:custGeom>
              <a:avLst/>
              <a:gdLst/>
              <a:ahLst/>
              <a:cxnLst/>
              <a:rect l="l" t="t" r="r" b="b"/>
              <a:pathLst>
                <a:path w="2365375" h="228600">
                  <a:moveTo>
                    <a:pt x="2365248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2365248" y="228600"/>
                  </a:lnTo>
                  <a:lnTo>
                    <a:pt x="23652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2" name="object 29"/>
          <p:cNvSpPr txBox="1"/>
          <p:nvPr/>
        </p:nvSpPr>
        <p:spPr>
          <a:xfrm>
            <a:off x="1599913" y="892036"/>
            <a:ext cx="228854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260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90" dirty="0">
                <a:solidFill>
                  <a:srgbClr val="16375E"/>
                </a:solidFill>
                <a:latin typeface="Arial"/>
                <a:cs typeface="Arial"/>
              </a:rPr>
              <a:t>e</a:t>
            </a:r>
            <a:r>
              <a:rPr sz="1400" b="1" spc="-120" dirty="0">
                <a:solidFill>
                  <a:srgbClr val="16375E"/>
                </a:solidFill>
                <a:latin typeface="Arial"/>
                <a:cs typeface="Arial"/>
              </a:rPr>
              <a:t>m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u</a:t>
            </a:r>
            <a:r>
              <a:rPr sz="1400" b="1" spc="-65" dirty="0">
                <a:solidFill>
                  <a:srgbClr val="16375E"/>
                </a:solidFill>
                <a:latin typeface="Arial"/>
                <a:cs typeface="Arial"/>
              </a:rPr>
              <a:t>f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210" dirty="0">
                <a:solidFill>
                  <a:srgbClr val="16375E"/>
                </a:solidFill>
                <a:latin typeface="Arial"/>
                <a:cs typeface="Arial"/>
              </a:rPr>
              <a:t>c</a:t>
            </a:r>
            <a:r>
              <a:rPr sz="1400" b="1" spc="10" dirty="0">
                <a:solidFill>
                  <a:srgbClr val="16375E"/>
                </a:solidFill>
                <a:latin typeface="Arial"/>
                <a:cs typeface="Arial"/>
              </a:rPr>
              <a:t>t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u</a:t>
            </a:r>
            <a:r>
              <a:rPr sz="1400" b="1" spc="-70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e</a:t>
            </a:r>
            <a:r>
              <a:rPr sz="1400" b="1" spc="-105" dirty="0">
                <a:solidFill>
                  <a:srgbClr val="16375E"/>
                </a:solidFill>
                <a:latin typeface="Arial"/>
                <a:cs typeface="Arial"/>
              </a:rPr>
              <a:t>d</a:t>
            </a:r>
            <a:r>
              <a:rPr sz="1400" b="1" spc="-135" dirty="0">
                <a:solidFill>
                  <a:srgbClr val="16375E"/>
                </a:solidFill>
                <a:latin typeface="Arial"/>
                <a:cs typeface="Arial"/>
              </a:rPr>
              <a:t> </a:t>
            </a:r>
            <a:r>
              <a:rPr sz="1400" b="1" spc="-245" dirty="0">
                <a:solidFill>
                  <a:srgbClr val="16375E"/>
                </a:solidFill>
                <a:latin typeface="Arial"/>
                <a:cs typeface="Arial"/>
              </a:rPr>
              <a:t>T</a:t>
            </a:r>
            <a:r>
              <a:rPr sz="1400" b="1" spc="-95" dirty="0">
                <a:solidFill>
                  <a:srgbClr val="16375E"/>
                </a:solidFill>
                <a:latin typeface="Arial"/>
                <a:cs typeface="Arial"/>
              </a:rPr>
              <a:t>r</a:t>
            </a:r>
            <a:r>
              <a:rPr sz="1400" b="1" spc="-100" dirty="0">
                <a:solidFill>
                  <a:srgbClr val="16375E"/>
                </a:solidFill>
                <a:latin typeface="Arial"/>
                <a:cs typeface="Arial"/>
              </a:rPr>
              <a:t>a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</a:t>
            </a:r>
            <a:r>
              <a:rPr sz="1400" b="1" spc="-135" dirty="0">
                <a:solidFill>
                  <a:srgbClr val="16375E"/>
                </a:solidFill>
                <a:latin typeface="Arial"/>
                <a:cs typeface="Arial"/>
              </a:rPr>
              <a:t>s</a:t>
            </a:r>
            <a:r>
              <a:rPr sz="1400" b="1" spc="-215" dirty="0">
                <a:solidFill>
                  <a:srgbClr val="16375E"/>
                </a:solidFill>
                <a:latin typeface="Arial"/>
                <a:cs typeface="Arial"/>
              </a:rPr>
              <a:t>m</a:t>
            </a:r>
            <a:r>
              <a:rPr sz="1400" b="1" spc="-55" dirty="0">
                <a:solidFill>
                  <a:srgbClr val="16375E"/>
                </a:solidFill>
                <a:latin typeface="Arial"/>
                <a:cs typeface="Arial"/>
              </a:rPr>
              <a:t>i</a:t>
            </a:r>
            <a:r>
              <a:rPr sz="1400" b="1" spc="-175" dirty="0">
                <a:solidFill>
                  <a:srgbClr val="16375E"/>
                </a:solidFill>
                <a:latin typeface="Arial"/>
                <a:cs typeface="Arial"/>
              </a:rPr>
              <a:t>ssi</a:t>
            </a:r>
            <a:r>
              <a:rPr sz="1400" b="1" spc="-120" dirty="0">
                <a:solidFill>
                  <a:srgbClr val="16375E"/>
                </a:solidFill>
                <a:latin typeface="Arial"/>
                <a:cs typeface="Arial"/>
              </a:rPr>
              <a:t>o</a:t>
            </a:r>
            <a:r>
              <a:rPr sz="1400" b="1" spc="-114" dirty="0">
                <a:solidFill>
                  <a:srgbClr val="16375E"/>
                </a:solidFill>
                <a:latin typeface="Arial"/>
                <a:cs typeface="Arial"/>
              </a:rPr>
              <a:t>n</a:t>
            </a:r>
            <a:r>
              <a:rPr sz="1400" b="1" spc="-220" dirty="0">
                <a:solidFill>
                  <a:srgbClr val="16375E"/>
                </a:solidFill>
                <a:latin typeface="Arial"/>
                <a:cs typeface="Arial"/>
              </a:rPr>
              <a:t>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3" name="object 30"/>
          <p:cNvSpPr txBox="1"/>
          <p:nvPr/>
        </p:nvSpPr>
        <p:spPr>
          <a:xfrm>
            <a:off x="1500133" y="1213920"/>
            <a:ext cx="2472690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tar's</a:t>
            </a:r>
            <a:r>
              <a:rPr sz="1000" spc="-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full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 line</a:t>
            </a:r>
            <a:r>
              <a:rPr sz="1000" spc="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of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OE-quality</a:t>
            </a:r>
            <a:r>
              <a:rPr sz="1000" spc="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utomatic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standard transmissions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fer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cas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units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re remanufactured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in the U.S.A. </a:t>
            </a:r>
            <a:r>
              <a:rPr sz="1000" spc="-26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 the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latest O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Updates 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re backed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by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n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industry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leading warranty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34" name="object 31"/>
          <p:cNvGrpSpPr/>
          <p:nvPr/>
        </p:nvGrpSpPr>
        <p:grpSpPr>
          <a:xfrm>
            <a:off x="4516868" y="912503"/>
            <a:ext cx="2672080" cy="2245360"/>
            <a:chOff x="3594861" y="3819143"/>
            <a:chExt cx="2672080" cy="2245360"/>
          </a:xfrm>
        </p:grpSpPr>
        <p:sp>
          <p:nvSpPr>
            <p:cNvPr id="35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7" name="object 34"/>
          <p:cNvSpPr txBox="1"/>
          <p:nvPr/>
        </p:nvSpPr>
        <p:spPr>
          <a:xfrm>
            <a:off x="5185954" y="900399"/>
            <a:ext cx="1468100" cy="2289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85" dirty="0" smtClean="0">
                <a:solidFill>
                  <a:srgbClr val="16375E"/>
                </a:solidFill>
                <a:latin typeface="Arial"/>
                <a:cs typeface="Arial"/>
              </a:rPr>
              <a:t>Filters &amp; Filter Kit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8" name="object 35"/>
          <p:cNvSpPr txBox="1"/>
          <p:nvPr/>
        </p:nvSpPr>
        <p:spPr>
          <a:xfrm>
            <a:off x="4614209" y="1213920"/>
            <a:ext cx="2419985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dirty="0">
                <a:latin typeface="Arial"/>
                <a:cs typeface="Arial"/>
              </a:rPr>
              <a:t>Transtar offers transmission filters and transmission filter kits for every budget with a line of OE quality and aftermarket quality filters across many applications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39" name="object 36"/>
          <p:cNvGrpSpPr/>
          <p:nvPr/>
        </p:nvGrpSpPr>
        <p:grpSpPr>
          <a:xfrm>
            <a:off x="7640560" y="882023"/>
            <a:ext cx="2651760" cy="2244471"/>
            <a:chOff x="6718553" y="3788663"/>
            <a:chExt cx="2651760" cy="2244471"/>
          </a:xfrm>
        </p:grpSpPr>
        <p:sp>
          <p:nvSpPr>
            <p:cNvPr id="40" name="object 37"/>
            <p:cNvSpPr/>
            <p:nvPr/>
          </p:nvSpPr>
          <p:spPr>
            <a:xfrm>
              <a:off x="6718553" y="3912869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59" h="2120265">
                  <a:moveTo>
                    <a:pt x="0" y="2119706"/>
                  </a:moveTo>
                  <a:lnTo>
                    <a:pt x="2651759" y="2119706"/>
                  </a:lnTo>
                  <a:lnTo>
                    <a:pt x="2651759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1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38"/>
            <p:cNvSpPr/>
            <p:nvPr/>
          </p:nvSpPr>
          <p:spPr>
            <a:xfrm>
              <a:off x="7360920" y="3788663"/>
              <a:ext cx="1284256" cy="228600"/>
            </a:xfrm>
            <a:custGeom>
              <a:avLst/>
              <a:gdLst/>
              <a:ahLst/>
              <a:cxnLst/>
              <a:rect l="l" t="t" r="r" b="b"/>
              <a:pathLst>
                <a:path w="1565275" h="228600">
                  <a:moveTo>
                    <a:pt x="1565148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565148" y="228600"/>
                  </a:lnTo>
                  <a:lnTo>
                    <a:pt x="15651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2" name="object 39"/>
          <p:cNvSpPr txBox="1"/>
          <p:nvPr/>
        </p:nvSpPr>
        <p:spPr>
          <a:xfrm>
            <a:off x="8457470" y="879714"/>
            <a:ext cx="939527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145" dirty="0" smtClean="0">
                <a:solidFill>
                  <a:srgbClr val="16375E"/>
                </a:solidFill>
                <a:latin typeface="Arial"/>
                <a:cs typeface="Arial"/>
              </a:rPr>
              <a:t>Fluid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3" name="object 40"/>
          <p:cNvSpPr txBox="1"/>
          <p:nvPr/>
        </p:nvSpPr>
        <p:spPr>
          <a:xfrm>
            <a:off x="7716429" y="1138236"/>
            <a:ext cx="2453005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We </a:t>
            </a:r>
            <a:r>
              <a:rPr lang="en-US" sz="1000" spc="-5" dirty="0">
                <a:solidFill>
                  <a:srgbClr val="333333"/>
                </a:solidFill>
                <a:latin typeface="Arial"/>
                <a:cs typeface="Arial"/>
              </a:rPr>
              <a:t>carry a large selection of Transtar-branded transmission fluids, which include Allison </a:t>
            </a: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Certified. A</a:t>
            </a:r>
            <a:r>
              <a:rPr lang="en-US" sz="1000" dirty="0" smtClean="0">
                <a:solidFill>
                  <a:srgbClr val="505050"/>
                </a:solidFill>
                <a:latin typeface="system-ui"/>
              </a:rPr>
              <a:t>vailable in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quarts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, 2.5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gallons</a:t>
            </a:r>
            <a:r>
              <a:rPr lang="en-US" sz="1000" dirty="0">
                <a:solidFill>
                  <a:srgbClr val="505050"/>
                </a:solidFill>
                <a:latin typeface="system-ui"/>
              </a:rPr>
              <a:t>, and </a:t>
            </a:r>
            <a:r>
              <a:rPr lang="en-US" sz="1000" i="1" dirty="0">
                <a:solidFill>
                  <a:srgbClr val="505050"/>
                </a:solidFill>
                <a:latin typeface="system-ui"/>
              </a:rPr>
              <a:t>55-gallon </a:t>
            </a:r>
            <a:r>
              <a:rPr lang="en-US" sz="1000" i="1" dirty="0" smtClean="0">
                <a:solidFill>
                  <a:srgbClr val="505050"/>
                </a:solidFill>
                <a:latin typeface="system-ui"/>
              </a:rPr>
              <a:t>drums</a:t>
            </a:r>
            <a:r>
              <a:rPr lang="en-US" sz="1000" dirty="0" smtClean="0">
                <a:solidFill>
                  <a:srgbClr val="505050"/>
                </a:solidFill>
                <a:latin typeface="system-ui"/>
              </a:rPr>
              <a:t>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44" name="object 4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54923" y="2136276"/>
            <a:ext cx="1144523" cy="931163"/>
          </a:xfrm>
          <a:prstGeom prst="rect">
            <a:avLst/>
          </a:prstGeom>
        </p:spPr>
      </p:pic>
      <p:sp>
        <p:nvSpPr>
          <p:cNvPr id="48" name="object 53"/>
          <p:cNvSpPr txBox="1"/>
          <p:nvPr/>
        </p:nvSpPr>
        <p:spPr>
          <a:xfrm>
            <a:off x="156755" y="5933858"/>
            <a:ext cx="11929950" cy="279564"/>
          </a:xfrm>
          <a:prstGeom prst="rect">
            <a:avLst/>
          </a:prstGeom>
          <a:ln w="9144">
            <a:solidFill>
              <a:srgbClr val="16375E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2707640" marR="195580" indent="-2496185">
              <a:lnSpc>
                <a:spcPct val="100000"/>
              </a:lnSpc>
              <a:spcBef>
                <a:spcPts val="260"/>
              </a:spcBef>
            </a:pPr>
            <a:r>
              <a:rPr sz="1600" spc="-90" dirty="0">
                <a:latin typeface="Arial"/>
                <a:cs typeface="Arial"/>
              </a:rPr>
              <a:t>Transtar </a:t>
            </a:r>
            <a:r>
              <a:rPr sz="1600" spc="-50" dirty="0">
                <a:latin typeface="Arial"/>
                <a:cs typeface="Arial"/>
              </a:rPr>
              <a:t>offers </a:t>
            </a:r>
            <a:r>
              <a:rPr sz="1600" spc="-55" dirty="0">
                <a:latin typeface="Arial"/>
                <a:cs typeface="Arial"/>
              </a:rPr>
              <a:t>more </a:t>
            </a:r>
            <a:r>
              <a:rPr sz="1600" spc="-35" dirty="0">
                <a:latin typeface="Arial"/>
                <a:cs typeface="Arial"/>
              </a:rPr>
              <a:t>than </a:t>
            </a:r>
            <a:r>
              <a:rPr sz="1600" spc="-80" dirty="0">
                <a:latin typeface="Arial"/>
                <a:cs typeface="Arial"/>
              </a:rPr>
              <a:t>40,000 </a:t>
            </a:r>
            <a:r>
              <a:rPr sz="1600" spc="-60" dirty="0">
                <a:latin typeface="Arial"/>
                <a:cs typeface="Arial"/>
              </a:rPr>
              <a:t>active </a:t>
            </a:r>
            <a:r>
              <a:rPr sz="1600" spc="-229" dirty="0" smtClean="0">
                <a:latin typeface="Arial"/>
                <a:cs typeface="Arial"/>
              </a:rPr>
              <a:t>S</a:t>
            </a:r>
            <a:r>
              <a:rPr lang="en-US" sz="1600" spc="-229" dirty="0" smtClean="0">
                <a:latin typeface="Arial"/>
                <a:cs typeface="Arial"/>
              </a:rPr>
              <a:t> </a:t>
            </a:r>
            <a:r>
              <a:rPr sz="1600" spc="-229" dirty="0" smtClean="0">
                <a:latin typeface="Arial"/>
                <a:cs typeface="Arial"/>
              </a:rPr>
              <a:t>K</a:t>
            </a:r>
            <a:r>
              <a:rPr lang="en-US" sz="1600" spc="-229" dirty="0" smtClean="0">
                <a:latin typeface="Arial"/>
                <a:cs typeface="Arial"/>
              </a:rPr>
              <a:t> </a:t>
            </a:r>
            <a:r>
              <a:rPr sz="1600" spc="-229" dirty="0" smtClean="0">
                <a:latin typeface="Arial"/>
                <a:cs typeface="Arial"/>
              </a:rPr>
              <a:t>U</a:t>
            </a:r>
            <a:r>
              <a:rPr lang="en-US" sz="1600" spc="-229" dirty="0">
                <a:latin typeface="Arial"/>
                <a:cs typeface="Arial"/>
              </a:rPr>
              <a:t> </a:t>
            </a:r>
            <a:r>
              <a:rPr lang="en-US" sz="1600" spc="-229" dirty="0" smtClean="0">
                <a:latin typeface="Arial"/>
                <a:cs typeface="Arial"/>
              </a:rPr>
              <a:t>‘ </a:t>
            </a:r>
            <a:r>
              <a:rPr sz="1600" spc="-229" dirty="0" smtClean="0">
                <a:latin typeface="Arial"/>
                <a:cs typeface="Arial"/>
              </a:rPr>
              <a:t>s</a:t>
            </a:r>
            <a:r>
              <a:rPr sz="1600" spc="-225" dirty="0" smtClean="0">
                <a:latin typeface="Arial"/>
                <a:cs typeface="Arial"/>
              </a:rPr>
              <a:t> </a:t>
            </a:r>
            <a:r>
              <a:rPr lang="en-US" sz="1600" spc="-225" dirty="0" smtClean="0">
                <a:latin typeface="Arial"/>
                <a:cs typeface="Arial"/>
              </a:rPr>
              <a:t> </a:t>
            </a:r>
            <a:r>
              <a:rPr sz="1600" spc="-65" dirty="0" smtClean="0">
                <a:latin typeface="Arial"/>
                <a:cs typeface="Arial"/>
              </a:rPr>
              <a:t>comprising </a:t>
            </a:r>
            <a:r>
              <a:rPr sz="1600" spc="-20" dirty="0">
                <a:latin typeface="Arial"/>
                <a:cs typeface="Arial"/>
              </a:rPr>
              <a:t>the </a:t>
            </a:r>
            <a:r>
              <a:rPr sz="1600" spc="-55" dirty="0">
                <a:latin typeface="Arial"/>
                <a:cs typeface="Arial"/>
              </a:rPr>
              <a:t>most </a:t>
            </a:r>
            <a:r>
              <a:rPr sz="1600" spc="-75" dirty="0">
                <a:latin typeface="Arial"/>
                <a:cs typeface="Arial"/>
              </a:rPr>
              <a:t>comprehensive </a:t>
            </a:r>
            <a:r>
              <a:rPr sz="1600" spc="-70" dirty="0">
                <a:latin typeface="Arial"/>
                <a:cs typeface="Arial"/>
              </a:rPr>
              <a:t>transmission </a:t>
            </a:r>
            <a:r>
              <a:rPr sz="1600" spc="-80" dirty="0">
                <a:latin typeface="Arial"/>
                <a:cs typeface="Arial"/>
              </a:rPr>
              <a:t>and </a:t>
            </a:r>
            <a:r>
              <a:rPr sz="1600" spc="-430" dirty="0">
                <a:latin typeface="Arial"/>
                <a:cs typeface="Arial"/>
              </a:rPr>
              <a:t> </a:t>
            </a:r>
            <a:r>
              <a:rPr sz="1600" spc="-20" dirty="0">
                <a:latin typeface="Arial"/>
                <a:cs typeface="Arial"/>
              </a:rPr>
              <a:t>d</a:t>
            </a:r>
            <a:r>
              <a:rPr sz="1600" spc="-25" dirty="0">
                <a:latin typeface="Arial"/>
                <a:cs typeface="Arial"/>
              </a:rPr>
              <a:t>r</a:t>
            </a:r>
            <a:r>
              <a:rPr sz="1600" spc="15" dirty="0">
                <a:latin typeface="Arial"/>
                <a:cs typeface="Arial"/>
              </a:rPr>
              <a:t>i</a:t>
            </a:r>
            <a:r>
              <a:rPr sz="1600" spc="-95" dirty="0">
                <a:latin typeface="Arial"/>
                <a:cs typeface="Arial"/>
              </a:rPr>
              <a:t>v</a:t>
            </a:r>
            <a:r>
              <a:rPr sz="1600" spc="-105" dirty="0">
                <a:latin typeface="Arial"/>
                <a:cs typeface="Arial"/>
              </a:rPr>
              <a:t>e</a:t>
            </a:r>
            <a:r>
              <a:rPr sz="1600" spc="15" dirty="0">
                <a:latin typeface="Arial"/>
                <a:cs typeface="Arial"/>
              </a:rPr>
              <a:t>li</a:t>
            </a:r>
            <a:r>
              <a:rPr sz="1600" spc="-75" dirty="0">
                <a:latin typeface="Arial"/>
                <a:cs typeface="Arial"/>
              </a:rPr>
              <a:t>ne</a:t>
            </a:r>
            <a:r>
              <a:rPr sz="1600" spc="-90" dirty="0">
                <a:latin typeface="Arial"/>
                <a:cs typeface="Arial"/>
              </a:rPr>
              <a:t> </a:t>
            </a:r>
            <a:r>
              <a:rPr sz="1600" spc="-20" dirty="0">
                <a:latin typeface="Arial"/>
                <a:cs typeface="Arial"/>
              </a:rPr>
              <a:t>p</a:t>
            </a:r>
            <a:r>
              <a:rPr sz="1600" spc="-45" dirty="0">
                <a:latin typeface="Arial"/>
                <a:cs typeface="Arial"/>
              </a:rPr>
              <a:t>r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-80" dirty="0">
                <a:latin typeface="Arial"/>
                <a:cs typeface="Arial"/>
              </a:rPr>
              <a:t>duc</a:t>
            </a:r>
            <a:r>
              <a:rPr sz="1600" spc="90" dirty="0">
                <a:latin typeface="Arial"/>
                <a:cs typeface="Arial"/>
              </a:rPr>
              <a:t>t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30" dirty="0">
                <a:latin typeface="Arial"/>
                <a:cs typeface="Arial"/>
              </a:rPr>
              <a:t>f</a:t>
            </a:r>
            <a:r>
              <a:rPr sz="1600" spc="5" dirty="0">
                <a:latin typeface="Arial"/>
                <a:cs typeface="Arial"/>
              </a:rPr>
              <a:t>f</a:t>
            </a:r>
            <a:r>
              <a:rPr sz="1600" spc="-105" dirty="0">
                <a:latin typeface="Arial"/>
                <a:cs typeface="Arial"/>
              </a:rPr>
              <a:t>e</a:t>
            </a:r>
            <a:r>
              <a:rPr sz="1600" spc="15" dirty="0">
                <a:latin typeface="Arial"/>
                <a:cs typeface="Arial"/>
              </a:rPr>
              <a:t>ri</a:t>
            </a:r>
            <a:r>
              <a:rPr sz="1600" spc="-95" dirty="0">
                <a:latin typeface="Arial"/>
                <a:cs typeface="Arial"/>
              </a:rPr>
              <a:t>ng</a:t>
            </a:r>
            <a:r>
              <a:rPr sz="1600" spc="-85" dirty="0">
                <a:latin typeface="Arial"/>
                <a:cs typeface="Arial"/>
              </a:rPr>
              <a:t> </a:t>
            </a:r>
            <a:r>
              <a:rPr sz="1600" spc="15" dirty="0">
                <a:latin typeface="Arial"/>
                <a:cs typeface="Arial"/>
              </a:rPr>
              <a:t>i</a:t>
            </a:r>
            <a:r>
              <a:rPr sz="1600" spc="-55" dirty="0">
                <a:latin typeface="Arial"/>
                <a:cs typeface="Arial"/>
              </a:rPr>
              <a:t>n</a:t>
            </a:r>
            <a:r>
              <a:rPr sz="1600" spc="-100" dirty="0">
                <a:latin typeface="Arial"/>
                <a:cs typeface="Arial"/>
              </a:rPr>
              <a:t> </a:t>
            </a:r>
            <a:r>
              <a:rPr sz="1600" spc="95" dirty="0">
                <a:latin typeface="Arial"/>
                <a:cs typeface="Arial"/>
              </a:rPr>
              <a:t>t</a:t>
            </a:r>
            <a:r>
              <a:rPr sz="1600" spc="-75" dirty="0">
                <a:latin typeface="Arial"/>
                <a:cs typeface="Arial"/>
              </a:rPr>
              <a:t>he</a:t>
            </a:r>
            <a:r>
              <a:rPr sz="1600" spc="-90" dirty="0">
                <a:latin typeface="Arial"/>
                <a:cs typeface="Arial"/>
              </a:rPr>
              <a:t> </a:t>
            </a:r>
            <a:r>
              <a:rPr sz="1600" spc="-30" dirty="0">
                <a:latin typeface="Arial"/>
                <a:cs typeface="Arial"/>
              </a:rPr>
              <a:t>w</a:t>
            </a:r>
            <a:r>
              <a:rPr sz="1600" spc="-55" dirty="0">
                <a:latin typeface="Arial"/>
                <a:cs typeface="Arial"/>
              </a:rPr>
              <a:t>o</a:t>
            </a:r>
            <a:r>
              <a:rPr sz="1600" spc="15" dirty="0">
                <a:latin typeface="Arial"/>
                <a:cs typeface="Arial"/>
              </a:rPr>
              <a:t>rl</a:t>
            </a:r>
            <a:r>
              <a:rPr sz="1600" spc="-50" dirty="0">
                <a:latin typeface="Arial"/>
                <a:cs typeface="Arial"/>
              </a:rPr>
              <a:t>d.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49" name="object 51"/>
          <p:cNvSpPr txBox="1">
            <a:spLocks noGrp="1"/>
          </p:cNvSpPr>
          <p:nvPr>
            <p:ph type="title"/>
          </p:nvPr>
        </p:nvSpPr>
        <p:spPr>
          <a:xfrm>
            <a:off x="156754" y="164698"/>
            <a:ext cx="100584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1" spc="-40" dirty="0">
                <a:latin typeface="+mn-lt"/>
                <a:cs typeface="Arial"/>
              </a:rPr>
              <a:t>I</a:t>
            </a:r>
            <a:r>
              <a:rPr sz="3600" b="1" spc="-155" dirty="0">
                <a:latin typeface="+mn-lt"/>
                <a:cs typeface="Arial"/>
              </a:rPr>
              <a:t>N</a:t>
            </a:r>
            <a:r>
              <a:rPr sz="3600" b="1" spc="-150" dirty="0">
                <a:latin typeface="+mn-lt"/>
                <a:cs typeface="Arial"/>
              </a:rPr>
              <a:t>D</a:t>
            </a:r>
            <a:r>
              <a:rPr sz="3600" b="1" spc="-265" dirty="0">
                <a:latin typeface="+mn-lt"/>
                <a:cs typeface="Arial"/>
              </a:rPr>
              <a:t>U</a:t>
            </a:r>
            <a:r>
              <a:rPr sz="3600" b="1" spc="-254" dirty="0">
                <a:latin typeface="+mn-lt"/>
                <a:cs typeface="Arial"/>
              </a:rPr>
              <a:t>S</a:t>
            </a:r>
            <a:r>
              <a:rPr sz="3600" b="1" spc="-229" dirty="0">
                <a:latin typeface="+mn-lt"/>
                <a:cs typeface="Arial"/>
              </a:rPr>
              <a:t>T</a:t>
            </a:r>
            <a:r>
              <a:rPr sz="3600" b="1" spc="-345" dirty="0">
                <a:latin typeface="+mn-lt"/>
                <a:cs typeface="Arial"/>
              </a:rPr>
              <a:t>R</a:t>
            </a:r>
            <a:r>
              <a:rPr sz="3600" b="1" spc="-270" dirty="0">
                <a:latin typeface="+mn-lt"/>
                <a:cs typeface="Arial"/>
              </a:rPr>
              <a:t>Y</a:t>
            </a:r>
            <a:r>
              <a:rPr sz="3600" b="1" spc="-105" dirty="0">
                <a:latin typeface="+mn-lt"/>
                <a:cs typeface="Arial"/>
              </a:rPr>
              <a:t> </a:t>
            </a:r>
            <a:r>
              <a:rPr sz="3600" b="1" spc="-360" dirty="0">
                <a:latin typeface="+mn-lt"/>
                <a:cs typeface="Arial"/>
              </a:rPr>
              <a:t>L</a:t>
            </a:r>
            <a:r>
              <a:rPr sz="3600" b="1" spc="-365" dirty="0">
                <a:latin typeface="+mn-lt"/>
                <a:cs typeface="Arial"/>
              </a:rPr>
              <a:t>E</a:t>
            </a:r>
            <a:r>
              <a:rPr sz="3600" b="1" spc="-204" dirty="0">
                <a:latin typeface="+mn-lt"/>
                <a:cs typeface="Arial"/>
              </a:rPr>
              <a:t>A</a:t>
            </a:r>
            <a:r>
              <a:rPr sz="3600" b="1" spc="-200" dirty="0">
                <a:latin typeface="+mn-lt"/>
                <a:cs typeface="Arial"/>
              </a:rPr>
              <a:t>D</a:t>
            </a:r>
            <a:r>
              <a:rPr sz="3600" b="1" spc="-40" dirty="0">
                <a:latin typeface="+mn-lt"/>
                <a:cs typeface="Arial"/>
              </a:rPr>
              <a:t>I</a:t>
            </a:r>
            <a:r>
              <a:rPr sz="3600" b="1" spc="-195" dirty="0">
                <a:latin typeface="+mn-lt"/>
                <a:cs typeface="Arial"/>
              </a:rPr>
              <a:t>NG</a:t>
            </a:r>
            <a:r>
              <a:rPr sz="3600" b="1" spc="-100" dirty="0">
                <a:latin typeface="+mn-lt"/>
                <a:cs typeface="Arial"/>
              </a:rPr>
              <a:t> </a:t>
            </a:r>
            <a:r>
              <a:rPr sz="3600" b="1" spc="-254" dirty="0">
                <a:latin typeface="+mn-lt"/>
                <a:cs typeface="Arial"/>
              </a:rPr>
              <a:t>P</a:t>
            </a:r>
            <a:r>
              <a:rPr sz="3600" b="1" spc="-320" dirty="0">
                <a:latin typeface="+mn-lt"/>
                <a:cs typeface="Arial"/>
              </a:rPr>
              <a:t>R</a:t>
            </a:r>
            <a:r>
              <a:rPr sz="3600" b="1" spc="-204" dirty="0">
                <a:latin typeface="+mn-lt"/>
                <a:cs typeface="Arial"/>
              </a:rPr>
              <a:t>O</a:t>
            </a:r>
            <a:r>
              <a:rPr sz="3600" b="1" spc="-180" dirty="0">
                <a:latin typeface="+mn-lt"/>
                <a:cs typeface="Arial"/>
              </a:rPr>
              <a:t>D</a:t>
            </a:r>
            <a:r>
              <a:rPr sz="3600" b="1" spc="-254" dirty="0">
                <a:latin typeface="+mn-lt"/>
                <a:cs typeface="Arial"/>
              </a:rPr>
              <a:t>U</a:t>
            </a:r>
            <a:r>
              <a:rPr sz="3600" b="1" spc="-245" dirty="0">
                <a:latin typeface="+mn-lt"/>
                <a:cs typeface="Arial"/>
              </a:rPr>
              <a:t>C</a:t>
            </a:r>
            <a:r>
              <a:rPr sz="3600" b="1" spc="-240" dirty="0">
                <a:latin typeface="+mn-lt"/>
                <a:cs typeface="Arial"/>
              </a:rPr>
              <a:t>T</a:t>
            </a:r>
            <a:r>
              <a:rPr sz="3600" b="1" spc="-350" dirty="0">
                <a:latin typeface="+mn-lt"/>
                <a:cs typeface="Arial"/>
              </a:rPr>
              <a:t>S</a:t>
            </a:r>
            <a:endParaRPr sz="3600" dirty="0">
              <a:latin typeface="+mn-lt"/>
              <a:cs typeface="Arial"/>
            </a:endParaRPr>
          </a:p>
        </p:txBody>
      </p:sp>
      <p:grpSp>
        <p:nvGrpSpPr>
          <p:cNvPr id="50" name="object 31"/>
          <p:cNvGrpSpPr/>
          <p:nvPr/>
        </p:nvGrpSpPr>
        <p:grpSpPr>
          <a:xfrm>
            <a:off x="1391652" y="3321428"/>
            <a:ext cx="2672080" cy="2245360"/>
            <a:chOff x="3594861" y="3819143"/>
            <a:chExt cx="2672080" cy="2245360"/>
          </a:xfrm>
        </p:grpSpPr>
        <p:sp>
          <p:nvSpPr>
            <p:cNvPr id="51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3" name="object 34"/>
          <p:cNvSpPr txBox="1"/>
          <p:nvPr/>
        </p:nvSpPr>
        <p:spPr>
          <a:xfrm>
            <a:off x="2087608" y="3309324"/>
            <a:ext cx="1385056" cy="228909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400" b="1" spc="-85" dirty="0" smtClean="0">
                <a:solidFill>
                  <a:srgbClr val="16375E"/>
                </a:solidFill>
                <a:latin typeface="Arial"/>
                <a:cs typeface="Arial"/>
              </a:rPr>
              <a:t>Air Conditioning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54" name="object 35"/>
          <p:cNvSpPr txBox="1"/>
          <p:nvPr/>
        </p:nvSpPr>
        <p:spPr>
          <a:xfrm>
            <a:off x="1488993" y="3622845"/>
            <a:ext cx="2419985" cy="473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r>
              <a:rPr lang="en-US" sz="1000" dirty="0" smtClean="0">
                <a:solidFill>
                  <a:srgbClr val="323232"/>
                </a:solidFill>
                <a:latin typeface="Arial" panose="020B0604020202020204" pitchFamily="34" charset="0"/>
              </a:rPr>
              <a:t>Transtar’s private </a:t>
            </a:r>
            <a:r>
              <a:rPr lang="en-US" sz="1000" dirty="0">
                <a:solidFill>
                  <a:srgbClr val="323232"/>
                </a:solidFill>
                <a:latin typeface="Arial" panose="020B0604020202020204" pitchFamily="34" charset="0"/>
              </a:rPr>
              <a:t>label AC products meet or exceed OE specifications. Coverage extends from 1970 to today.</a:t>
            </a:r>
            <a:endParaRPr sz="1000" dirty="0">
              <a:latin typeface="Arial"/>
              <a:cs typeface="Arial"/>
            </a:endParaRPr>
          </a:p>
        </p:txBody>
      </p:sp>
      <p:grpSp>
        <p:nvGrpSpPr>
          <p:cNvPr id="56" name="object 31"/>
          <p:cNvGrpSpPr/>
          <p:nvPr/>
        </p:nvGrpSpPr>
        <p:grpSpPr>
          <a:xfrm>
            <a:off x="4527028" y="3338182"/>
            <a:ext cx="2672080" cy="2245360"/>
            <a:chOff x="3594861" y="3819143"/>
            <a:chExt cx="2672080" cy="2245360"/>
          </a:xfrm>
        </p:grpSpPr>
        <p:sp>
          <p:nvSpPr>
            <p:cNvPr id="57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9" name="object 34"/>
          <p:cNvSpPr txBox="1"/>
          <p:nvPr/>
        </p:nvSpPr>
        <p:spPr>
          <a:xfrm>
            <a:off x="5407920" y="3326078"/>
            <a:ext cx="92138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85" dirty="0">
                <a:solidFill>
                  <a:srgbClr val="16375E"/>
                </a:solidFill>
                <a:latin typeface="Arial"/>
                <a:cs typeface="Arial"/>
              </a:rPr>
              <a:t>Differentials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60" name="object 35"/>
          <p:cNvSpPr txBox="1"/>
          <p:nvPr/>
        </p:nvSpPr>
        <p:spPr>
          <a:xfrm>
            <a:off x="4624369" y="3639599"/>
            <a:ext cx="2419985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Transtar's differential program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is built on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5" dirty="0">
                <a:solidFill>
                  <a:srgbClr val="333333"/>
                </a:solidFill>
                <a:latin typeface="Arial"/>
                <a:cs typeface="Arial"/>
              </a:rPr>
              <a:t>quality,</a:t>
            </a:r>
            <a:r>
              <a:rPr sz="1000" spc="3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</a:t>
            </a:r>
            <a:r>
              <a:rPr sz="1000" spc="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the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most</a:t>
            </a:r>
            <a:r>
              <a:rPr sz="1000" spc="-2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extensive,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up-to-date </a:t>
            </a:r>
            <a:r>
              <a:rPr sz="1000" spc="-260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and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accurat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coverage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on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our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parts,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with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dirty="0">
                <a:solidFill>
                  <a:srgbClr val="333333"/>
                </a:solidFill>
                <a:latin typeface="Arial"/>
                <a:cs typeface="Arial"/>
              </a:rPr>
              <a:t>more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than 7,000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items </a:t>
            </a:r>
            <a:r>
              <a:rPr sz="1000" spc="-10" dirty="0">
                <a:solidFill>
                  <a:srgbClr val="333333"/>
                </a:solidFill>
                <a:latin typeface="Arial"/>
                <a:cs typeface="Arial"/>
              </a:rPr>
              <a:t>covering over 150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 differential</a:t>
            </a:r>
            <a:r>
              <a:rPr sz="1000" spc="-25" dirty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333333"/>
                </a:solidFill>
                <a:latin typeface="Arial"/>
                <a:cs typeface="Arial"/>
              </a:rPr>
              <a:t>series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61" name="object 4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403582" y="4586338"/>
            <a:ext cx="886967" cy="903731"/>
          </a:xfrm>
          <a:prstGeom prst="rect">
            <a:avLst/>
          </a:prstGeom>
        </p:spPr>
      </p:pic>
      <p:grpSp>
        <p:nvGrpSpPr>
          <p:cNvPr id="62" name="object 31"/>
          <p:cNvGrpSpPr/>
          <p:nvPr/>
        </p:nvGrpSpPr>
        <p:grpSpPr>
          <a:xfrm>
            <a:off x="7679962" y="3361827"/>
            <a:ext cx="2672080" cy="2245360"/>
            <a:chOff x="3594861" y="3819143"/>
            <a:chExt cx="2672080" cy="2245360"/>
          </a:xfrm>
        </p:grpSpPr>
        <p:sp>
          <p:nvSpPr>
            <p:cNvPr id="63" name="object 32"/>
            <p:cNvSpPr/>
            <p:nvPr/>
          </p:nvSpPr>
          <p:spPr>
            <a:xfrm>
              <a:off x="3605021" y="3934205"/>
              <a:ext cx="2651760" cy="2120265"/>
            </a:xfrm>
            <a:custGeom>
              <a:avLst/>
              <a:gdLst/>
              <a:ahLst/>
              <a:cxnLst/>
              <a:rect l="l" t="t" r="r" b="b"/>
              <a:pathLst>
                <a:path w="2651760" h="2120265">
                  <a:moveTo>
                    <a:pt x="0" y="2119706"/>
                  </a:moveTo>
                  <a:lnTo>
                    <a:pt x="2651760" y="2119706"/>
                  </a:lnTo>
                  <a:lnTo>
                    <a:pt x="2651760" y="0"/>
                  </a:lnTo>
                  <a:lnTo>
                    <a:pt x="0" y="0"/>
                  </a:lnTo>
                  <a:lnTo>
                    <a:pt x="0" y="2119706"/>
                  </a:lnTo>
                  <a:close/>
                </a:path>
              </a:pathLst>
            </a:custGeom>
            <a:ln w="19812">
              <a:solidFill>
                <a:srgbClr val="16375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33"/>
            <p:cNvSpPr/>
            <p:nvPr/>
          </p:nvSpPr>
          <p:spPr>
            <a:xfrm>
              <a:off x="4378451" y="3819143"/>
              <a:ext cx="1103630" cy="228600"/>
            </a:xfrm>
            <a:custGeom>
              <a:avLst/>
              <a:gdLst/>
              <a:ahLst/>
              <a:cxnLst/>
              <a:rect l="l" t="t" r="r" b="b"/>
              <a:pathLst>
                <a:path w="1103629" h="228600">
                  <a:moveTo>
                    <a:pt x="1103376" y="0"/>
                  </a:moveTo>
                  <a:lnTo>
                    <a:pt x="0" y="0"/>
                  </a:lnTo>
                  <a:lnTo>
                    <a:pt x="0" y="228600"/>
                  </a:lnTo>
                  <a:lnTo>
                    <a:pt x="1103376" y="228600"/>
                  </a:lnTo>
                  <a:lnTo>
                    <a:pt x="1103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5" name="object 34"/>
          <p:cNvSpPr txBox="1"/>
          <p:nvPr/>
        </p:nvSpPr>
        <p:spPr>
          <a:xfrm>
            <a:off x="7817784" y="3349723"/>
            <a:ext cx="2351650" cy="21352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n-US" sz="1300" b="1" spc="-85" dirty="0" smtClean="0">
                <a:solidFill>
                  <a:srgbClr val="16375E"/>
                </a:solidFill>
                <a:latin typeface="Arial"/>
                <a:cs typeface="Arial"/>
              </a:rPr>
              <a:t>Remote Assisted Programming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66" name="object 35"/>
          <p:cNvSpPr txBox="1"/>
          <p:nvPr/>
        </p:nvSpPr>
        <p:spPr>
          <a:xfrm>
            <a:off x="7777303" y="3663244"/>
            <a:ext cx="2419985" cy="78162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lang="en-US" sz="1000" spc="-5" dirty="0" smtClean="0">
                <a:solidFill>
                  <a:srgbClr val="333333"/>
                </a:solidFill>
                <a:latin typeface="Arial"/>
                <a:cs typeface="Arial"/>
              </a:rPr>
              <a:t>With Rap2 </a:t>
            </a:r>
            <a:r>
              <a:rPr lang="en-US" sz="1000" spc="-5" dirty="0">
                <a:solidFill>
                  <a:srgbClr val="333333"/>
                </a:solidFill>
                <a:latin typeface="Arial"/>
                <a:cs typeface="Arial"/>
              </a:rPr>
              <a:t>you can flash vehicles in your shop quickly and accurately without the costs of an outside mobile programmer, subscription services, or getting the vehicle to a dealership.</a:t>
            </a:r>
            <a:endParaRPr sz="1000" dirty="0">
              <a:latin typeface="Arial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276" y="4354357"/>
            <a:ext cx="1185596" cy="11855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4740" y="1941728"/>
            <a:ext cx="1121517" cy="112151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751" y="1869319"/>
            <a:ext cx="1220683" cy="12206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971" y="4441297"/>
            <a:ext cx="1093716" cy="11359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873" y="1877733"/>
            <a:ext cx="1383389" cy="170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23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8" name="object 53"/>
          <p:cNvSpPr txBox="1"/>
          <p:nvPr/>
        </p:nvSpPr>
        <p:spPr>
          <a:xfrm>
            <a:off x="156755" y="5933858"/>
            <a:ext cx="11929950" cy="279564"/>
          </a:xfrm>
          <a:prstGeom prst="rect">
            <a:avLst/>
          </a:prstGeom>
          <a:solidFill>
            <a:srgbClr val="FFFF00"/>
          </a:solidFill>
          <a:ln w="9144">
            <a:solidFill>
              <a:srgbClr val="16375E"/>
            </a:solidFill>
          </a:ln>
        </p:spPr>
        <p:txBody>
          <a:bodyPr vert="horz" wrap="square" lIns="0" tIns="33020" rIns="0" bIns="0" rtlCol="0">
            <a:spAutoFit/>
          </a:bodyPr>
          <a:lstStyle/>
          <a:p>
            <a:pPr marL="2707640" marR="195580" indent="-2496185" algn="ctr">
              <a:lnSpc>
                <a:spcPct val="100000"/>
              </a:lnSpc>
              <a:spcBef>
                <a:spcPts val="260"/>
              </a:spcBef>
            </a:pPr>
            <a:r>
              <a:rPr lang="en-US" sz="1600" b="1" dirty="0" smtClean="0">
                <a:latin typeface="Arial"/>
                <a:cs typeface="Arial"/>
              </a:rPr>
              <a:t>A great alternative for your cost-conscious customers!</a:t>
            </a:r>
            <a:endParaRPr sz="1600" b="1" dirty="0">
              <a:latin typeface="Arial"/>
              <a:cs typeface="Arial"/>
            </a:endParaRPr>
          </a:p>
        </p:txBody>
      </p:sp>
      <p:sp>
        <p:nvSpPr>
          <p:cNvPr id="49" name="object 51"/>
          <p:cNvSpPr txBox="1">
            <a:spLocks noGrp="1"/>
          </p:cNvSpPr>
          <p:nvPr>
            <p:ph type="title"/>
          </p:nvPr>
        </p:nvSpPr>
        <p:spPr>
          <a:xfrm>
            <a:off x="156754" y="164698"/>
            <a:ext cx="1005840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dirty="0" smtClean="0">
                <a:latin typeface="+mn-lt"/>
                <a:cs typeface="Arial"/>
              </a:rPr>
              <a:t>OE Recycled Transmissions</a:t>
            </a:r>
            <a:endParaRPr sz="3600" dirty="0">
              <a:latin typeface="+mn-lt"/>
              <a:cs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479" y="731520"/>
            <a:ext cx="4024561" cy="519839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0764" y="750712"/>
            <a:ext cx="4055050" cy="518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73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Brands you trust &amp; know</a:t>
            </a:r>
            <a:endParaRPr lang="en-US" dirty="0">
              <a:latin typeface="+mn-l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44" name="Group 43"/>
          <p:cNvGrpSpPr/>
          <p:nvPr/>
        </p:nvGrpSpPr>
        <p:grpSpPr>
          <a:xfrm>
            <a:off x="427955" y="853289"/>
            <a:ext cx="10649511" cy="5191059"/>
            <a:chOff x="1256866" y="1140666"/>
            <a:chExt cx="10649511" cy="5191059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707590" y="2363471"/>
              <a:ext cx="1572354" cy="581556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56118" y="5556318"/>
              <a:ext cx="1155931" cy="775407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55003" y="4645849"/>
              <a:ext cx="919001" cy="761048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272072" y="5619186"/>
              <a:ext cx="1608252" cy="60309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643139" y="1277794"/>
              <a:ext cx="1823310" cy="428007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651901" y="1782845"/>
              <a:ext cx="1572354" cy="617454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11989" y="5533029"/>
              <a:ext cx="1435940" cy="775408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263720" y="5697882"/>
              <a:ext cx="1557995" cy="545657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19220" y="3093493"/>
              <a:ext cx="1622612" cy="610274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794294" y="1140666"/>
              <a:ext cx="976439" cy="768228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319220" y="5077074"/>
              <a:ext cx="1636971" cy="380524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463258" y="2038238"/>
              <a:ext cx="1443119" cy="796946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21688" y="4362251"/>
              <a:ext cx="1565174" cy="567196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029188" y="3038510"/>
              <a:ext cx="847204" cy="71079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829645" y="4802170"/>
              <a:ext cx="1450299" cy="538477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639155" y="3185102"/>
              <a:ext cx="1529276" cy="423602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287987" y="4645849"/>
              <a:ext cx="1385682" cy="725150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256866" y="3786257"/>
              <a:ext cx="1629792" cy="430782"/>
            </a:xfrm>
            <a:prstGeom prst="rect">
              <a:avLst/>
            </a:prstGeom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144155" y="3117487"/>
              <a:ext cx="1428760" cy="552837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7625195" y="3836101"/>
              <a:ext cx="947720" cy="732329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912760" y="3056459"/>
              <a:ext cx="739509" cy="674892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475580" y="4004709"/>
              <a:ext cx="1601073" cy="445141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349877" y="3289370"/>
              <a:ext cx="1471838" cy="280008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10402848" y="3992875"/>
              <a:ext cx="1400041" cy="452321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1277954" y="5698163"/>
              <a:ext cx="1450299" cy="524118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3449084" y="4784211"/>
              <a:ext cx="1414401" cy="581556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587064" y="3914108"/>
              <a:ext cx="1378502" cy="624634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000908" y="4823777"/>
              <a:ext cx="1593893" cy="495399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229948" y="1594948"/>
              <a:ext cx="1952866" cy="672885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829645" y="3900248"/>
              <a:ext cx="1199010" cy="617454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0852444" y="5607550"/>
              <a:ext cx="699771" cy="65023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6673669" y="1337883"/>
              <a:ext cx="1540281" cy="1131144"/>
            </a:xfrm>
            <a:prstGeom prst="rect">
              <a:avLst/>
            </a:prstGeom>
          </p:spPr>
        </p:pic>
      </p:grpSp>
      <p:pic>
        <p:nvPicPr>
          <p:cNvPr id="43" name="Picture 2" descr="Berkeley Standard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33" y="1136753"/>
            <a:ext cx="2030469" cy="678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2" descr="MOOG Logo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46" y="2160738"/>
            <a:ext cx="2209737" cy="48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Tracerline Logo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28" y="2200136"/>
            <a:ext cx="2907104" cy="303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32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45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Meineke Program with Transt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8764" y="4194893"/>
            <a:ext cx="5755676" cy="2251944"/>
          </a:xfrm>
        </p:spPr>
        <p:txBody>
          <a:bodyPr>
            <a:normAutofit fontScale="62500" lnSpcReduction="20000"/>
          </a:bodyPr>
          <a:lstStyle/>
          <a:p>
            <a:pPr marL="201168" lvl="1" indent="0">
              <a:buNone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2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 smtClean="0"/>
              <a:t>Easy online ordering at </a:t>
            </a:r>
            <a:r>
              <a:rPr lang="en-US" sz="3800" dirty="0" smtClean="0">
                <a:hlinkClick r:id="rId6"/>
              </a:rPr>
              <a:t>www.transend.us</a:t>
            </a:r>
            <a:r>
              <a:rPr lang="en-US" sz="3800" dirty="0" smtClean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 smtClean="0"/>
              <a:t>Eligible </a:t>
            </a:r>
            <a:r>
              <a:rPr lang="en-US" sz="3800" dirty="0"/>
              <a:t>for all Transtar promot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/>
              <a:t>Credit available for </a:t>
            </a:r>
            <a:r>
              <a:rPr lang="en-US" sz="3800" dirty="0" smtClean="0"/>
              <a:t>all locations</a:t>
            </a:r>
            <a:endParaRPr lang="en-US" sz="3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3800" dirty="0"/>
              <a:t>Net 30 day terms</a:t>
            </a:r>
          </a:p>
          <a:p>
            <a:pPr marL="201168" lvl="1" indent="0">
              <a:buNone/>
            </a:pP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648788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3.5%</a:t>
            </a:r>
            <a:br>
              <a:rPr lang="en-US" sz="2000" dirty="0" smtClean="0"/>
            </a:br>
            <a:r>
              <a:rPr lang="en-US" sz="1050" dirty="0" smtClean="0"/>
              <a:t>Rebate</a:t>
            </a:r>
            <a:endParaRPr lang="en-US" sz="1050" dirty="0"/>
          </a:p>
        </p:txBody>
      </p:sp>
      <p:sp>
        <p:nvSpPr>
          <p:cNvPr id="8" name="Oval 7"/>
          <p:cNvSpPr/>
          <p:nvPr/>
        </p:nvSpPr>
        <p:spPr>
          <a:xfrm>
            <a:off x="4140925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/>
              <a:t>36</a:t>
            </a:r>
            <a:br>
              <a:rPr lang="en-US" sz="3200" dirty="0" smtClean="0"/>
            </a:br>
            <a:r>
              <a:rPr lang="en-US" sz="1400" dirty="0" smtClean="0"/>
              <a:t>Month</a:t>
            </a:r>
            <a:endParaRPr lang="en-US" sz="1400" dirty="0"/>
          </a:p>
        </p:txBody>
      </p:sp>
      <p:sp>
        <p:nvSpPr>
          <p:cNvPr id="9" name="Oval 8"/>
          <p:cNvSpPr/>
          <p:nvPr/>
        </p:nvSpPr>
        <p:spPr>
          <a:xfrm>
            <a:off x="7942222" y="1586004"/>
            <a:ext cx="1045029" cy="1062446"/>
          </a:xfrm>
          <a:prstGeom prst="ellipse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FREE</a:t>
            </a:r>
            <a:endParaRPr lang="en-US" sz="1050" dirty="0"/>
          </a:p>
        </p:txBody>
      </p:sp>
      <p:sp>
        <p:nvSpPr>
          <p:cNvPr id="10" name="TextBox 9"/>
          <p:cNvSpPr txBox="1"/>
          <p:nvPr/>
        </p:nvSpPr>
        <p:spPr>
          <a:xfrm>
            <a:off x="1693817" y="1757273"/>
            <a:ext cx="17765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ransmissions and </a:t>
            </a:r>
            <a:r>
              <a:rPr lang="en-US" b="1" dirty="0" smtClean="0"/>
              <a:t>Engines included!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347062" y="1586004"/>
            <a:ext cx="202038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100,000 mile PREMIUM warranty on </a:t>
            </a:r>
            <a:r>
              <a:rPr lang="en-US" sz="1400" b="1" dirty="0" err="1" smtClean="0"/>
              <a:t>Reman</a:t>
            </a:r>
            <a:r>
              <a:rPr lang="en-US" sz="1400" b="1" dirty="0" smtClean="0"/>
              <a:t> Transmissions included with Ultimate Upgrade Available</a:t>
            </a:r>
            <a:endParaRPr lang="en-US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9196793" y="1757274"/>
            <a:ext cx="17765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ap2 Kit!</a:t>
            </a:r>
          </a:p>
          <a:p>
            <a:r>
              <a:rPr lang="en-US" sz="1200" b="1" dirty="0" smtClean="0"/>
              <a:t>Requires 2 programming events per month</a:t>
            </a:r>
            <a:endParaRPr lang="en-US" sz="1200" b="1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3570514" y="1265444"/>
            <a:ext cx="0" cy="1880388"/>
          </a:xfrm>
          <a:prstGeom prst="line">
            <a:avLst/>
          </a:prstGeom>
          <a:ln w="9525" cap="flat" cmpd="sng" algn="ctr">
            <a:solidFill>
              <a:srgbClr val="79232E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467600" y="1232580"/>
            <a:ext cx="0" cy="1880388"/>
          </a:xfrm>
          <a:prstGeom prst="line">
            <a:avLst/>
          </a:prstGeom>
          <a:ln w="9525" cap="flat" cmpd="sng" algn="ctr">
            <a:solidFill>
              <a:srgbClr val="79232E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6" name="Picture 15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84" y="3187890"/>
            <a:ext cx="584879" cy="635274"/>
          </a:xfrm>
          <a:prstGeom prst="rect">
            <a:avLst/>
          </a:prstGeom>
        </p:spPr>
      </p:pic>
      <p:pic>
        <p:nvPicPr>
          <p:cNvPr id="17" name="Picture 16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742" y="3260125"/>
            <a:ext cx="558758" cy="578805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1059827" y="3363896"/>
            <a:ext cx="599067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/>
              <a:t>Sales </a:t>
            </a:r>
            <a:r>
              <a:rPr lang="en-US" sz="2400" dirty="0" err="1" smtClean="0"/>
              <a:t>Mgr</a:t>
            </a:r>
            <a:r>
              <a:rPr lang="en-US" sz="2400" dirty="0" smtClean="0"/>
              <a:t> </a:t>
            </a:r>
            <a:r>
              <a:rPr lang="en-US" sz="2400" dirty="0"/>
              <a:t>– J.R. (James) Reville (440) 359-7690</a:t>
            </a:r>
          </a:p>
          <a:p>
            <a:r>
              <a:rPr lang="en-US" sz="2400" dirty="0" smtClean="0"/>
              <a:t>Dedicated </a:t>
            </a:r>
            <a:r>
              <a:rPr lang="en-US" sz="2400" dirty="0"/>
              <a:t>Customer Service: </a:t>
            </a:r>
            <a:r>
              <a:rPr lang="en-US" sz="2400" dirty="0" smtClean="0"/>
              <a:t>1-833-363-1938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292500" y="3284326"/>
            <a:ext cx="314316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hlinkClick r:id="rId9"/>
              </a:rPr>
              <a:t>jreville@Transtar1.com</a:t>
            </a:r>
            <a:r>
              <a:rPr lang="en-US" sz="2400" dirty="0"/>
              <a:t> </a:t>
            </a:r>
          </a:p>
          <a:p>
            <a:r>
              <a:rPr lang="en-US" sz="2400" dirty="0" smtClean="0">
                <a:hlinkClick r:id="rId10"/>
              </a:rPr>
              <a:t>GR@Transtar1.com</a:t>
            </a:r>
            <a:endParaRPr lang="en-US" sz="2400" dirty="0" smtClean="0"/>
          </a:p>
        </p:txBody>
      </p:sp>
      <p:sp>
        <p:nvSpPr>
          <p:cNvPr id="21" name="Rounded Rectangle 20"/>
          <p:cNvSpPr/>
          <p:nvPr/>
        </p:nvSpPr>
        <p:spPr>
          <a:xfrm>
            <a:off x="7684136" y="4294095"/>
            <a:ext cx="3660262" cy="1580612"/>
          </a:xfrm>
          <a:prstGeom prst="roundRect">
            <a:avLst/>
          </a:prstGeom>
          <a:solidFill>
            <a:srgbClr val="792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01168" lvl="1" indent="0" algn="ctr">
              <a:buNone/>
            </a:pPr>
            <a:r>
              <a:rPr lang="en-US" sz="4000" b="1" dirty="0" smtClean="0"/>
              <a:t>PROGRAM UPDATE!!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19797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459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4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Transmission Removal and Replac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Transtar industries, LLC   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687977" y="1489166"/>
            <a:ext cx="9527177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ake the fear out of installing complete </a:t>
            </a:r>
            <a:r>
              <a:rPr lang="en-US" sz="2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manufactured </a:t>
            </a:r>
            <a:r>
              <a:rPr lang="en-US" sz="2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ransmissions</a:t>
            </a:r>
            <a:r>
              <a:rPr lang="en-US" sz="2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!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2WD Lincoln Blackwood Transmission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moving the transmission</a:t>
            </a:r>
          </a:p>
          <a:p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https://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cdn.jwplayer.com/previews/1F8gJEb8-K8fwWdbc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placing the transmission  </a:t>
            </a:r>
          </a:p>
          <a:p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</a:t>
            </a:r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cdn.jwplayer.com/previews/XpPZSvxD-K8fwWdbc</a:t>
            </a:r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nce we get some feedback, we will move towards printing QR code stickers that will be placed on outside of the crates for the 2WD units.</a:t>
            </a:r>
          </a:p>
          <a:p>
            <a:endParaRPr lang="en-US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dditional videos coming soon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050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Transtar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8232E"/>
      </a:accent1>
      <a:accent2>
        <a:srgbClr val="F16624"/>
      </a:accent2>
      <a:accent3>
        <a:srgbClr val="87D6F7"/>
      </a:accent3>
      <a:accent4>
        <a:srgbClr val="C8E1A3"/>
      </a:accent4>
      <a:accent5>
        <a:srgbClr val="708B80"/>
      </a:accent5>
      <a:accent6>
        <a:srgbClr val="E8DAB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124DC199BAD240AE5C86757F23A378" ma:contentTypeVersion="18" ma:contentTypeDescription="Create a new document." ma:contentTypeScope="" ma:versionID="8eadce4278c80423b64dd894981486e3">
  <xsd:schema xmlns:xsd="http://www.w3.org/2001/XMLSchema" xmlns:xs="http://www.w3.org/2001/XMLSchema" xmlns:p="http://schemas.microsoft.com/office/2006/metadata/properties" xmlns:ns2="53b7c027-e93b-44b7-bf09-830e9f61eaa0" xmlns:ns3="588a2ab9-90a0-4a2d-8135-ab7bfe566fdd" targetNamespace="http://schemas.microsoft.com/office/2006/metadata/properties" ma:root="true" ma:fieldsID="29c6c5a9086a6f9691fbd7539ab06c72" ns2:_="" ns3:_="">
    <xsd:import namespace="53b7c027-e93b-44b7-bf09-830e9f61eaa0"/>
    <xsd:import namespace="588a2ab9-90a0-4a2d-8135-ab7bfe566f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b7c027-e93b-44b7-bf09-830e9f61ea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62348a0-ce81-4631-ad02-f999ee87ed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8a2ab9-90a0-4a2d-8135-ab7bfe566fd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9ad8cc9-66e7-43da-a634-8e4e674dfcc3}" ma:internalName="TaxCatchAll" ma:showField="CatchAllData" ma:web="588a2ab9-90a0-4a2d-8135-ab7bfe566f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AE92DD-4447-4CC9-96F2-365330439A69}"/>
</file>

<file path=customXml/itemProps2.xml><?xml version="1.0" encoding="utf-8"?>
<ds:datastoreItem xmlns:ds="http://schemas.openxmlformats.org/officeDocument/2006/customXml" ds:itemID="{94697027-14D5-44EA-A168-13C1981572C1}"/>
</file>

<file path=docProps/app.xml><?xml version="1.0" encoding="utf-8"?>
<Properties xmlns="http://schemas.openxmlformats.org/officeDocument/2006/extended-properties" xmlns:vt="http://schemas.openxmlformats.org/officeDocument/2006/docPropsVTypes">
  <TotalTime>33071</TotalTime>
  <Words>1139</Words>
  <Application>Microsoft Office PowerPoint</Application>
  <PresentationFormat>Widescreen</PresentationFormat>
  <Paragraphs>193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Courier New</vt:lpstr>
      <vt:lpstr>Oswald</vt:lpstr>
      <vt:lpstr>system-ui</vt:lpstr>
      <vt:lpstr>Wingdings</vt:lpstr>
      <vt:lpstr>Custom Design</vt:lpstr>
      <vt:lpstr>1_Custom Design</vt:lpstr>
      <vt:lpstr>Retrospect</vt:lpstr>
      <vt:lpstr>think-cell Slide</vt:lpstr>
      <vt:lpstr>Transtar Overview   Mike Melaragno</vt:lpstr>
      <vt:lpstr>Agenda</vt:lpstr>
      <vt:lpstr>Who are we</vt:lpstr>
      <vt:lpstr>Company Locations and Service</vt:lpstr>
      <vt:lpstr>INDUSTRY LEADING PRODUCTS</vt:lpstr>
      <vt:lpstr>OE Recycled Transmissions</vt:lpstr>
      <vt:lpstr>Brands you trust &amp; know</vt:lpstr>
      <vt:lpstr>Meineke Program with Transtar</vt:lpstr>
      <vt:lpstr>Transmission Removal and Replacement</vt:lpstr>
      <vt:lpstr>Air Conditioning </vt:lpstr>
      <vt:lpstr>Product Category Expansion – Happening Now!! </vt:lpstr>
      <vt:lpstr>Q3 2023 Rebate Results</vt:lpstr>
      <vt:lpstr>Transend Online Ordering Platform</vt:lpstr>
      <vt:lpstr>Transend.us </vt:lpstr>
      <vt:lpstr>Transend – Account Management</vt:lpstr>
      <vt:lpstr>Asking for a Core Return</vt:lpstr>
      <vt:lpstr>The Warranty Center – www.transtarcts.com/warranty-center</vt:lpstr>
      <vt:lpstr>Contact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TITLE OF A SLIDE</dc:title>
  <dc:creator>Drew Auld</dc:creator>
  <cp:lastModifiedBy>Mike Melaragno</cp:lastModifiedBy>
  <cp:revision>417</cp:revision>
  <dcterms:created xsi:type="dcterms:W3CDTF">2018-10-15T19:22:12Z</dcterms:created>
  <dcterms:modified xsi:type="dcterms:W3CDTF">2023-10-07T14:57:27Z</dcterms:modified>
</cp:coreProperties>
</file>